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4.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6.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7.xml" ContentType="application/vnd.openxmlformats-officedocument.presentationml.notesSlide+xml"/>
  <Override PartName="/ppt/media/image167.jpg" ContentType="image/jpg"/>
  <Override PartName="/ppt/media/image168.jpg" ContentType="image/jpg"/>
  <Override PartName="/ppt/media/image170.jpg" ContentType="image/jpg"/>
  <Override PartName="/ppt/media/image171.jpg" ContentType="image/jpg"/>
  <Override PartName="/ppt/media/image172.jpg" ContentType="image/jpg"/>
  <Override PartName="/ppt/media/image173.jpg" ContentType="image/jpg"/>
  <Override PartName="/ppt/media/image174.jpg" ContentType="image/jpg"/>
  <Override PartName="/ppt/media/image175.jpg" ContentType="image/jpg"/>
  <Override PartName="/ppt/media/image178.jpg" ContentType="image/jpg"/>
  <Override PartName="/ppt/media/image179.jpg" ContentType="image/jpg"/>
  <Override PartName="/ppt/media/image180.jpg" ContentType="image/jpg"/>
  <Override PartName="/ppt/media/image181.jpg" ContentType="image/jpg"/>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34"/>
  </p:notesMasterIdLst>
  <p:sldIdLst>
    <p:sldId id="256" r:id="rId5"/>
    <p:sldId id="424" r:id="rId6"/>
    <p:sldId id="425" r:id="rId7"/>
    <p:sldId id="404" r:id="rId8"/>
    <p:sldId id="259" r:id="rId9"/>
    <p:sldId id="433" r:id="rId10"/>
    <p:sldId id="292" r:id="rId11"/>
    <p:sldId id="438" r:id="rId12"/>
    <p:sldId id="439" r:id="rId13"/>
    <p:sldId id="257" r:id="rId14"/>
    <p:sldId id="258" r:id="rId15"/>
    <p:sldId id="440" r:id="rId16"/>
    <p:sldId id="260" r:id="rId17"/>
    <p:sldId id="262" r:id="rId18"/>
    <p:sldId id="441" r:id="rId19"/>
    <p:sldId id="442" r:id="rId20"/>
    <p:sldId id="443" r:id="rId21"/>
    <p:sldId id="435" r:id="rId22"/>
    <p:sldId id="430" r:id="rId23"/>
    <p:sldId id="436" r:id="rId24"/>
    <p:sldId id="431" r:id="rId25"/>
    <p:sldId id="445" r:id="rId26"/>
    <p:sldId id="446" r:id="rId27"/>
    <p:sldId id="447" r:id="rId28"/>
    <p:sldId id="448" r:id="rId29"/>
    <p:sldId id="449" r:id="rId30"/>
    <p:sldId id="450" r:id="rId31"/>
    <p:sldId id="451" r:id="rId32"/>
    <p:sldId id="452" r:id="rId33"/>
  </p:sldIdLst>
  <p:sldSz cx="9144000" cy="5145088"/>
  <p:notesSz cx="6858000" cy="9144000"/>
  <p:custDataLst>
    <p:tags r:id="rId35"/>
  </p:custDataLst>
  <p:defaultTextStyle>
    <a:defPPr>
      <a:defRPr lang="nb-N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anne Strand" initials="MS" lastIdx="3" clrIdx="0">
    <p:extLst>
      <p:ext uri="{19B8F6BF-5375-455C-9EA6-DF929625EA0E}">
        <p15:presenceInfo xmlns:p15="http://schemas.microsoft.com/office/powerpoint/2012/main" userId="S-1-5-21-4149539216-2853062737-2785310745-10588" providerId="AD"/>
      </p:ext>
    </p:extLst>
  </p:cmAuthor>
  <p:cmAuthor id="2" name="Webjørn Jarnes" initials="WJ" lastIdx="1" clrIdx="1">
    <p:extLst>
      <p:ext uri="{19B8F6BF-5375-455C-9EA6-DF929625EA0E}">
        <p15:presenceInfo xmlns:p15="http://schemas.microsoft.com/office/powerpoint/2012/main" userId="S-1-5-21-4149539216-2853062737-2785310745-32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7D8636"/>
    <a:srgbClr val="91959B"/>
    <a:srgbClr val="DA543C"/>
    <a:srgbClr val="E38633"/>
    <a:srgbClr val="BDD7EE"/>
    <a:srgbClr val="C6E0B4"/>
    <a:srgbClr val="D2E6C4"/>
    <a:srgbClr val="FD9D9D"/>
    <a:srgbClr val="4D4F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C8FB1C-4828-4EC2-9038-E9BFC9796E5F}" v="67" dt="2021-03-17T16:52:11.977"/>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ys sti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Ingen stil, ingen rutenet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Ingen stil, tabellrutenett">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4"/>
    <p:restoredTop sz="94643"/>
  </p:normalViewPr>
  <p:slideViewPr>
    <p:cSldViewPr snapToGrid="0">
      <p:cViewPr varScale="1">
        <p:scale>
          <a:sx n="159" d="100"/>
          <a:sy n="159" d="100"/>
        </p:scale>
        <p:origin x="192" y="192"/>
      </p:cViewPr>
      <p:guideLst/>
    </p:cSldViewPr>
  </p:slideViewPr>
  <p:notesTextViewPr>
    <p:cViewPr>
      <p:scale>
        <a:sx n="1" d="1"/>
        <a:sy n="1" d="1"/>
      </p:scale>
      <p:origin x="0" y="0"/>
    </p:cViewPr>
  </p:notesTextViewPr>
  <p:sorterViewPr>
    <p:cViewPr varScale="1">
      <p:scale>
        <a:sx n="100" d="100"/>
        <a:sy n="100" d="100"/>
      </p:scale>
      <p:origin x="0" y="-616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US"/>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739020-A60F-4668-8813-B556F745C554}" type="datetimeFigureOut">
              <a:rPr lang="en-US" smtClean="0"/>
              <a:t>4/11/21</a:t>
            </a:fld>
            <a:endParaRPr lang="en-US"/>
          </a:p>
        </p:txBody>
      </p:sp>
      <p:sp>
        <p:nvSpPr>
          <p:cNvPr id="4" name="Plassholder for lysbilde 3"/>
          <p:cNvSpPr>
            <a:spLocks noGrp="1" noRot="1" noChangeAspect="1"/>
          </p:cNvSpPr>
          <p:nvPr>
            <p:ph type="sldImg" idx="2"/>
          </p:nvPr>
        </p:nvSpPr>
        <p:spPr>
          <a:xfrm>
            <a:off x="687388" y="1143000"/>
            <a:ext cx="5483225"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Rediger tekststiler i malen</a:t>
            </a:r>
          </a:p>
          <a:p>
            <a:pPr lvl="1"/>
            <a:r>
              <a:rPr lang="en-US"/>
              <a:t>Andre nivå</a:t>
            </a:r>
          </a:p>
          <a:p>
            <a:pPr lvl="2"/>
            <a:r>
              <a:rPr lang="en-US"/>
              <a:t>Tredje nivå</a:t>
            </a:r>
          </a:p>
          <a:p>
            <a:pPr lvl="3"/>
            <a:r>
              <a:rPr lang="en-US"/>
              <a:t>Fjerde nivå</a:t>
            </a:r>
          </a:p>
          <a:p>
            <a:pPr lvl="4"/>
            <a:r>
              <a:rPr lang="en-US"/>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US"/>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A7F3DB-EC38-4BA4-97FC-DEE4DA0AAA73}" type="slidenum">
              <a:rPr lang="en-US" smtClean="0"/>
              <a:t>‹#›</a:t>
            </a:fld>
            <a:endParaRPr lang="en-US"/>
          </a:p>
        </p:txBody>
      </p:sp>
    </p:spTree>
    <p:extLst>
      <p:ext uri="{BB962C8B-B14F-4D97-AF65-F5344CB8AC3E}">
        <p14:creationId xmlns:p14="http://schemas.microsoft.com/office/powerpoint/2010/main" val="2653175692"/>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6A7F3DB-EC38-4BA4-97FC-DEE4DA0AAA73}" type="slidenum">
              <a:rPr lang="en-US" smtClean="0"/>
              <a:t>1</a:t>
            </a:fld>
            <a:endParaRPr lang="en-US"/>
          </a:p>
        </p:txBody>
      </p:sp>
    </p:spTree>
    <p:extLst>
      <p:ext uri="{BB962C8B-B14F-4D97-AF65-F5344CB8AC3E}">
        <p14:creationId xmlns:p14="http://schemas.microsoft.com/office/powerpoint/2010/main" val="2224449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6A7F3DB-EC38-4BA4-97FC-DEE4DA0AAA73}" type="slidenum">
              <a:rPr lang="en-US" smtClean="0"/>
              <a:t>7</a:t>
            </a:fld>
            <a:endParaRPr lang="en-US"/>
          </a:p>
        </p:txBody>
      </p:sp>
    </p:spTree>
    <p:extLst>
      <p:ext uri="{BB962C8B-B14F-4D97-AF65-F5344CB8AC3E}">
        <p14:creationId xmlns:p14="http://schemas.microsoft.com/office/powerpoint/2010/main" val="4287292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6A7F3DB-EC38-4BA4-97FC-DEE4DA0AAA73}" type="slidenum">
              <a:rPr lang="en-US" smtClean="0"/>
              <a:t>8</a:t>
            </a:fld>
            <a:endParaRPr lang="en-US"/>
          </a:p>
        </p:txBody>
      </p:sp>
    </p:spTree>
    <p:extLst>
      <p:ext uri="{BB962C8B-B14F-4D97-AF65-F5344CB8AC3E}">
        <p14:creationId xmlns:p14="http://schemas.microsoft.com/office/powerpoint/2010/main" val="2114901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6A7F3DB-EC38-4BA4-97FC-DEE4DA0AAA73}" type="slidenum">
              <a:rPr lang="en-US" smtClean="0"/>
              <a:t>18</a:t>
            </a:fld>
            <a:endParaRPr lang="en-US"/>
          </a:p>
        </p:txBody>
      </p:sp>
    </p:spTree>
    <p:extLst>
      <p:ext uri="{BB962C8B-B14F-4D97-AF65-F5344CB8AC3E}">
        <p14:creationId xmlns:p14="http://schemas.microsoft.com/office/powerpoint/2010/main" val="791294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6A7F3DB-EC38-4BA4-97FC-DEE4DA0AAA73}" type="slidenum">
              <a:rPr lang="en-US" smtClean="0"/>
              <a:t>19</a:t>
            </a:fld>
            <a:endParaRPr lang="en-US"/>
          </a:p>
        </p:txBody>
      </p:sp>
    </p:spTree>
    <p:extLst>
      <p:ext uri="{BB962C8B-B14F-4D97-AF65-F5344CB8AC3E}">
        <p14:creationId xmlns:p14="http://schemas.microsoft.com/office/powerpoint/2010/main" val="5291971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6A7F3DB-EC38-4BA4-97FC-DEE4DA0AAA73}" type="slidenum">
              <a:rPr lang="en-US" smtClean="0"/>
              <a:t>20</a:t>
            </a:fld>
            <a:endParaRPr lang="en-US"/>
          </a:p>
        </p:txBody>
      </p:sp>
    </p:spTree>
    <p:extLst>
      <p:ext uri="{BB962C8B-B14F-4D97-AF65-F5344CB8AC3E}">
        <p14:creationId xmlns:p14="http://schemas.microsoft.com/office/powerpoint/2010/main" val="1213075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6A7F3DB-EC38-4BA4-97FC-DEE4DA0AAA73}" type="slidenum">
              <a:rPr lang="en-US" smtClean="0"/>
              <a:t>21</a:t>
            </a:fld>
            <a:endParaRPr lang="en-US"/>
          </a:p>
        </p:txBody>
      </p:sp>
    </p:spTree>
    <p:extLst>
      <p:ext uri="{BB962C8B-B14F-4D97-AF65-F5344CB8AC3E}">
        <p14:creationId xmlns:p14="http://schemas.microsoft.com/office/powerpoint/2010/main" val="33288774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6.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8.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8.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7E7071-B645-4A4A-A78A-7C92F051B8A3}"/>
              </a:ext>
            </a:extLst>
          </p:cNvPr>
          <p:cNvGraphicFramePr>
            <a:graphicFrameLocks noChangeAspect="1"/>
          </p:cNvGraphicFramePr>
          <p:nvPr userDrawn="1">
            <p:custDataLst>
              <p:tags r:id="rId2"/>
            </p:custDataLst>
            <p:extLst>
              <p:ext uri="{D42A27DB-BD31-4B8C-83A1-F6EECF244321}">
                <p14:modId xmlns:p14="http://schemas.microsoft.com/office/powerpoint/2010/main" val="904247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6" imgW="353" imgH="353" progId="TCLayout.ActiveDocument.1">
                  <p:embed/>
                </p:oleObj>
              </mc:Choice>
              <mc:Fallback>
                <p:oleObj name="think-cell Slide" r:id="rId6" imgW="353" imgH="353" progId="TCLayout.ActiveDocument.1">
                  <p:embed/>
                  <p:pic>
                    <p:nvPicPr>
                      <p:cNvPr id="8" name="Object 7" hidden="1">
                        <a:extLst>
                          <a:ext uri="{FF2B5EF4-FFF2-40B4-BE49-F238E27FC236}">
                            <a16:creationId xmlns:a16="http://schemas.microsoft.com/office/drawing/2014/main" id="{C37E7071-B645-4A4A-A78A-7C92F051B8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61C905-E397-4FDB-89E9-D56869BEECF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0" i="0" baseline="0">
              <a:latin typeface="Lato Regular"/>
              <a:ea typeface="+mj-ea"/>
              <a:cs typeface="+mj-cs"/>
              <a:sym typeface="Lato Regular"/>
            </a:endParaRPr>
          </a:p>
        </p:txBody>
      </p:sp>
      <p:sp>
        <p:nvSpPr>
          <p:cNvPr id="2" name="Tittel 1">
            <a:extLst>
              <a:ext uri="{FF2B5EF4-FFF2-40B4-BE49-F238E27FC236}">
                <a16:creationId xmlns:a16="http://schemas.microsoft.com/office/drawing/2014/main" id="{D2F791FC-9311-4229-B29C-70F5D99AA754}"/>
              </a:ext>
            </a:extLst>
          </p:cNvPr>
          <p:cNvSpPr>
            <a:spLocks noGrp="1"/>
          </p:cNvSpPr>
          <p:nvPr>
            <p:ph type="ctrTitle" hasCustomPrompt="1"/>
          </p:nvPr>
        </p:nvSpPr>
        <p:spPr>
          <a:xfrm>
            <a:off x="1008126" y="2267217"/>
            <a:ext cx="6858000" cy="1107996"/>
          </a:xfrm>
        </p:spPr>
        <p:txBody>
          <a:bodyPr anchor="b">
            <a:noAutofit/>
          </a:bodyPr>
          <a:lstStyle>
            <a:lvl1pPr algn="l">
              <a:defRPr sz="3600" b="0">
                <a:solidFill>
                  <a:schemeClr val="bg1"/>
                </a:solidFill>
              </a:defRPr>
            </a:lvl1pPr>
          </a:lstStyle>
          <a:p>
            <a:r>
              <a:rPr lang="en-US"/>
              <a:t>Click to add title</a:t>
            </a:r>
          </a:p>
        </p:txBody>
      </p:sp>
      <p:sp>
        <p:nvSpPr>
          <p:cNvPr id="3" name="Undertittel 2">
            <a:extLst>
              <a:ext uri="{FF2B5EF4-FFF2-40B4-BE49-F238E27FC236}">
                <a16:creationId xmlns:a16="http://schemas.microsoft.com/office/drawing/2014/main" id="{40668168-508F-4A6F-932E-9CA0373A227E}"/>
              </a:ext>
            </a:extLst>
          </p:cNvPr>
          <p:cNvSpPr>
            <a:spLocks noGrp="1"/>
          </p:cNvSpPr>
          <p:nvPr>
            <p:ph type="subTitle" idx="1" hasCustomPrompt="1"/>
          </p:nvPr>
        </p:nvSpPr>
        <p:spPr>
          <a:xfrm>
            <a:off x="1008126" y="3574295"/>
            <a:ext cx="6858000" cy="273088"/>
          </a:xfrm>
        </p:spPr>
        <p:txBody>
          <a:bodyPr>
            <a:spAutoFit/>
          </a:bodyPr>
          <a:lstStyle>
            <a:lvl1pPr marL="0" indent="0" algn="l">
              <a:buNone/>
              <a:defRPr sz="1700" b="0">
                <a:solidFill>
                  <a:schemeClr val="l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Plassholder for dato 3">
            <a:extLst>
              <a:ext uri="{FF2B5EF4-FFF2-40B4-BE49-F238E27FC236}">
                <a16:creationId xmlns:a16="http://schemas.microsoft.com/office/drawing/2014/main" id="{4BE97674-7FC7-47FE-AC7C-D77C1D13A05C}"/>
              </a:ext>
            </a:extLst>
          </p:cNvPr>
          <p:cNvSpPr>
            <a:spLocks noGrp="1"/>
          </p:cNvSpPr>
          <p:nvPr>
            <p:ph type="dt" sz="half" idx="10"/>
          </p:nvPr>
        </p:nvSpPr>
        <p:spPr>
          <a:xfrm>
            <a:off x="-75570" y="-78744"/>
            <a:ext cx="3600" cy="153888"/>
          </a:xfrm>
        </p:spPr>
        <p:txBody>
          <a:bodyPr/>
          <a:lstStyle>
            <a:lvl1pPr>
              <a:defRPr sz="100"/>
            </a:lvl1pPr>
          </a:lstStyle>
          <a:p>
            <a:fld id="{F4E495D2-26DB-49E8-B9A2-2560F584F8B1}" type="datetime1">
              <a:rPr lang="en-US" smtClean="0"/>
              <a:t>4/11/21</a:t>
            </a:fld>
            <a:endParaRPr lang="en-US"/>
          </a:p>
        </p:txBody>
      </p:sp>
      <p:sp>
        <p:nvSpPr>
          <p:cNvPr id="5" name="Plassholder for bunntekst 4">
            <a:extLst>
              <a:ext uri="{FF2B5EF4-FFF2-40B4-BE49-F238E27FC236}">
                <a16:creationId xmlns:a16="http://schemas.microsoft.com/office/drawing/2014/main" id="{7A961EBE-0513-4A28-9ACE-EB18C66A1CB6}"/>
              </a:ext>
            </a:extLst>
          </p:cNvPr>
          <p:cNvSpPr>
            <a:spLocks noGrp="1"/>
          </p:cNvSpPr>
          <p:nvPr>
            <p:ph type="ftr" sz="quarter" idx="11"/>
          </p:nvPr>
        </p:nvSpPr>
        <p:spPr>
          <a:xfrm>
            <a:off x="-75570" y="-47966"/>
            <a:ext cx="3600" cy="92333"/>
          </a:xfrm>
        </p:spPr>
        <p:txBody>
          <a:bodyPr/>
          <a:lstStyle>
            <a:lvl1pPr>
              <a:defRPr sz="100"/>
            </a:lvl1pPr>
          </a:lstStyle>
          <a:p>
            <a:r>
              <a:rPr lang="en-US"/>
              <a:t>Footer</a:t>
            </a:r>
          </a:p>
        </p:txBody>
      </p:sp>
      <p:sp>
        <p:nvSpPr>
          <p:cNvPr id="6" name="Plassholder for lysbildenummer 5">
            <a:extLst>
              <a:ext uri="{FF2B5EF4-FFF2-40B4-BE49-F238E27FC236}">
                <a16:creationId xmlns:a16="http://schemas.microsoft.com/office/drawing/2014/main" id="{41E834FA-4927-41C9-9DBC-006B6BE5C9F5}"/>
              </a:ext>
            </a:extLst>
          </p:cNvPr>
          <p:cNvSpPr>
            <a:spLocks noGrp="1"/>
          </p:cNvSpPr>
          <p:nvPr>
            <p:ph type="sldNum" sz="quarter" idx="12"/>
          </p:nvPr>
        </p:nvSpPr>
        <p:spPr>
          <a:xfrm>
            <a:off x="-75570" y="-24883"/>
            <a:ext cx="3600" cy="46166"/>
          </a:xfrm>
        </p:spPr>
        <p:txBody>
          <a:bodyPr/>
          <a:lstStyle>
            <a:lvl1pPr>
              <a:defRPr sz="100"/>
            </a:lvl1pPr>
          </a:lstStyle>
          <a:p>
            <a:fld id="{7BE74CFF-2C60-4519-94DA-E8FC82378F73}" type="slidenum">
              <a:rPr lang="en-US" smtClean="0"/>
              <a:pPr/>
              <a:t>‹#›</a:t>
            </a:fld>
            <a:endParaRPr lang="en-US"/>
          </a:p>
        </p:txBody>
      </p:sp>
      <p:sp>
        <p:nvSpPr>
          <p:cNvPr id="14" name="Plassholder for tekst 13">
            <a:extLst>
              <a:ext uri="{FF2B5EF4-FFF2-40B4-BE49-F238E27FC236}">
                <a16:creationId xmlns:a16="http://schemas.microsoft.com/office/drawing/2014/main" id="{125185FF-838E-4F49-A44F-2B46FC3B3D9E}"/>
              </a:ext>
            </a:extLst>
          </p:cNvPr>
          <p:cNvSpPr>
            <a:spLocks noGrp="1"/>
          </p:cNvSpPr>
          <p:nvPr>
            <p:ph type="body" sz="quarter" idx="13" hasCustomPrompt="1"/>
          </p:nvPr>
        </p:nvSpPr>
        <p:spPr>
          <a:xfrm>
            <a:off x="1008126" y="3861352"/>
            <a:ext cx="6858000" cy="240900"/>
          </a:xfrm>
        </p:spPr>
        <p:txBody>
          <a:bodyPr lIns="0" tIns="0" rIns="0" bIns="0">
            <a:spAutoFit/>
          </a:bodyPr>
          <a:lstStyle>
            <a:lvl1pPr marL="0" indent="0">
              <a:buNone/>
              <a:defRPr sz="1500" b="0">
                <a:solidFill>
                  <a:schemeClr val="lt1"/>
                </a:solidFill>
              </a:defRPr>
            </a:lvl1pPr>
            <a:lvl2pPr marL="469800" indent="0">
              <a:buNone/>
              <a:defRPr/>
            </a:lvl2pPr>
          </a:lstStyle>
          <a:p>
            <a:pPr lvl="0"/>
            <a:r>
              <a:rPr lang="en-US"/>
              <a:t>Click to add text</a:t>
            </a:r>
          </a:p>
        </p:txBody>
      </p:sp>
      <p:pic>
        <p:nvPicPr>
          <p:cNvPr id="13" name="Bilde 12">
            <a:extLst>
              <a:ext uri="{FF2B5EF4-FFF2-40B4-BE49-F238E27FC236}">
                <a16:creationId xmlns:a16="http://schemas.microsoft.com/office/drawing/2014/main" id="{B94477AC-4F85-4D67-BD9C-6E194B0FD96F}"/>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285831" y="423013"/>
            <a:ext cx="1255714" cy="691114"/>
          </a:xfrm>
          <a:prstGeom prst="rect">
            <a:avLst/>
          </a:prstGeom>
        </p:spPr>
      </p:pic>
    </p:spTree>
    <p:extLst>
      <p:ext uri="{BB962C8B-B14F-4D97-AF65-F5344CB8AC3E}">
        <p14:creationId xmlns:p14="http://schemas.microsoft.com/office/powerpoint/2010/main" val="35392435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FC2036-8E63-486F-8068-600BAADEE721}"/>
              </a:ext>
            </a:extLst>
          </p:cNvPr>
          <p:cNvGraphicFramePr>
            <a:graphicFrameLocks noChangeAspect="1"/>
          </p:cNvGraphicFramePr>
          <p:nvPr userDrawn="1">
            <p:custDataLst>
              <p:tags r:id="rId2"/>
            </p:custDataLst>
            <p:extLst>
              <p:ext uri="{D42A27DB-BD31-4B8C-83A1-F6EECF244321}">
                <p14:modId xmlns:p14="http://schemas.microsoft.com/office/powerpoint/2010/main" val="3673159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5" name="think-cell Slide" r:id="rId5" imgW="353" imgH="353" progId="TCLayout.ActiveDocument.1">
                  <p:embed/>
                </p:oleObj>
              </mc:Choice>
              <mc:Fallback>
                <p:oleObj name="think-cell Slide" r:id="rId5" imgW="353" imgH="353" progId="TCLayout.ActiveDocument.1">
                  <p:embed/>
                  <p:pic>
                    <p:nvPicPr>
                      <p:cNvPr id="4" name="Object 3" hidden="1">
                        <a:extLst>
                          <a:ext uri="{FF2B5EF4-FFF2-40B4-BE49-F238E27FC236}">
                            <a16:creationId xmlns:a16="http://schemas.microsoft.com/office/drawing/2014/main" id="{ADFC2036-8E63-486F-8068-600BAADEE7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D6BED20-76A3-472D-A10C-907DA05DB28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Lato Regular"/>
              <a:ea typeface="+mj-ea"/>
              <a:cs typeface="+mj-cs"/>
              <a:sym typeface="Lato Regular"/>
            </a:endParaRPr>
          </a:p>
        </p:txBody>
      </p:sp>
      <p:sp>
        <p:nvSpPr>
          <p:cNvPr id="2" name="Tittel 1">
            <a:extLst>
              <a:ext uri="{FF2B5EF4-FFF2-40B4-BE49-F238E27FC236}">
                <a16:creationId xmlns:a16="http://schemas.microsoft.com/office/drawing/2014/main" id="{122EB9A6-F47D-45B8-BFEC-934F9F9C9F98}"/>
              </a:ext>
            </a:extLst>
          </p:cNvPr>
          <p:cNvSpPr>
            <a:spLocks noGrp="1"/>
          </p:cNvSpPr>
          <p:nvPr>
            <p:ph type="title" hasCustomPrompt="1"/>
          </p:nvPr>
        </p:nvSpPr>
        <p:spPr/>
        <p:txBody>
          <a:bodyPr/>
          <a:lstStyle>
            <a:lvl1pPr>
              <a:defRPr/>
            </a:lvl1pPr>
          </a:lstStyle>
          <a:p>
            <a:r>
              <a:rPr lang="en-US"/>
              <a:t>Click to add title</a:t>
            </a:r>
          </a:p>
        </p:txBody>
      </p:sp>
      <p:sp>
        <p:nvSpPr>
          <p:cNvPr id="6" name="Plassholder for dato 5">
            <a:extLst>
              <a:ext uri="{FF2B5EF4-FFF2-40B4-BE49-F238E27FC236}">
                <a16:creationId xmlns:a16="http://schemas.microsoft.com/office/drawing/2014/main" id="{3D523EED-1D26-42CA-860F-00719340DE69}"/>
              </a:ext>
            </a:extLst>
          </p:cNvPr>
          <p:cNvSpPr>
            <a:spLocks noGrp="1"/>
          </p:cNvSpPr>
          <p:nvPr>
            <p:ph type="dt" sz="half" idx="10"/>
          </p:nvPr>
        </p:nvSpPr>
        <p:spPr/>
        <p:txBody>
          <a:bodyPr/>
          <a:lstStyle/>
          <a:p>
            <a:fld id="{58970512-AFCF-461A-ACB5-D6A6EB013EA8}" type="datetime1">
              <a:rPr lang="en-US" smtClean="0"/>
              <a:pPr/>
              <a:t>4/11/21</a:t>
            </a:fld>
            <a:endParaRPr lang="en-US"/>
          </a:p>
        </p:txBody>
      </p:sp>
      <p:sp>
        <p:nvSpPr>
          <p:cNvPr id="7" name="Plassholder for bunntekst 6">
            <a:extLst>
              <a:ext uri="{FF2B5EF4-FFF2-40B4-BE49-F238E27FC236}">
                <a16:creationId xmlns:a16="http://schemas.microsoft.com/office/drawing/2014/main" id="{142311BA-2922-424E-982C-89031C2494DD}"/>
              </a:ext>
            </a:extLst>
          </p:cNvPr>
          <p:cNvSpPr>
            <a:spLocks noGrp="1"/>
          </p:cNvSpPr>
          <p:nvPr>
            <p:ph type="ftr" sz="quarter" idx="11"/>
          </p:nvPr>
        </p:nvSpPr>
        <p:spPr/>
        <p:txBody>
          <a:bodyPr/>
          <a:lstStyle/>
          <a:p>
            <a:r>
              <a:rPr lang="en-US"/>
              <a:t>/  Footer</a:t>
            </a:r>
          </a:p>
        </p:txBody>
      </p:sp>
      <p:sp>
        <p:nvSpPr>
          <p:cNvPr id="8" name="Plassholder for lysbildenummer 7">
            <a:extLst>
              <a:ext uri="{FF2B5EF4-FFF2-40B4-BE49-F238E27FC236}">
                <a16:creationId xmlns:a16="http://schemas.microsoft.com/office/drawing/2014/main" id="{E8D36C2B-5649-4B48-9C73-FD1560381B60}"/>
              </a:ext>
            </a:extLst>
          </p:cNvPr>
          <p:cNvSpPr>
            <a:spLocks noGrp="1"/>
          </p:cNvSpPr>
          <p:nvPr>
            <p:ph type="sldNum" sz="quarter" idx="12"/>
          </p:nvPr>
        </p:nvSpPr>
        <p:spPr/>
        <p:txBody>
          <a:bodyPr/>
          <a:lstStyle/>
          <a:p>
            <a:fld id="{7BE74CFF-2C60-4519-94DA-E8FC82378F73}" type="slidenum">
              <a:rPr lang="en-US" smtClean="0"/>
              <a:pPr/>
              <a:t>‹#›</a:t>
            </a:fld>
            <a:endParaRPr lang="en-US"/>
          </a:p>
        </p:txBody>
      </p:sp>
    </p:spTree>
    <p:extLst>
      <p:ext uri="{BB962C8B-B14F-4D97-AF65-F5344CB8AC3E}">
        <p14:creationId xmlns:p14="http://schemas.microsoft.com/office/powerpoint/2010/main" val="2195177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495277F-959A-4F9A-883D-3F3AB3ABB8C2}"/>
              </a:ext>
            </a:extLst>
          </p:cNvPr>
          <p:cNvSpPr>
            <a:spLocks noGrp="1"/>
          </p:cNvSpPr>
          <p:nvPr>
            <p:ph type="dt" sz="half" idx="10"/>
          </p:nvPr>
        </p:nvSpPr>
        <p:spPr/>
        <p:txBody>
          <a:bodyPr/>
          <a:lstStyle/>
          <a:p>
            <a:fld id="{58970512-AFCF-461A-ACB5-D6A6EB013EA8}" type="datetime1">
              <a:rPr lang="en-US" smtClean="0"/>
              <a:pPr/>
              <a:t>4/11/21</a:t>
            </a:fld>
            <a:endParaRPr lang="en-US"/>
          </a:p>
        </p:txBody>
      </p:sp>
      <p:sp>
        <p:nvSpPr>
          <p:cNvPr id="3" name="Plassholder for bunntekst 2">
            <a:extLst>
              <a:ext uri="{FF2B5EF4-FFF2-40B4-BE49-F238E27FC236}">
                <a16:creationId xmlns:a16="http://schemas.microsoft.com/office/drawing/2014/main" id="{3E40CF69-66E6-46E0-822F-FDB03E0D308B}"/>
              </a:ext>
            </a:extLst>
          </p:cNvPr>
          <p:cNvSpPr>
            <a:spLocks noGrp="1"/>
          </p:cNvSpPr>
          <p:nvPr>
            <p:ph type="ftr" sz="quarter" idx="11"/>
          </p:nvPr>
        </p:nvSpPr>
        <p:spPr/>
        <p:txBody>
          <a:bodyPr/>
          <a:lstStyle/>
          <a:p>
            <a:r>
              <a:rPr lang="en-US"/>
              <a:t>/  Footer</a:t>
            </a:r>
          </a:p>
        </p:txBody>
      </p:sp>
      <p:sp>
        <p:nvSpPr>
          <p:cNvPr id="4" name="Plassholder for lysbildenummer 3">
            <a:extLst>
              <a:ext uri="{FF2B5EF4-FFF2-40B4-BE49-F238E27FC236}">
                <a16:creationId xmlns:a16="http://schemas.microsoft.com/office/drawing/2014/main" id="{E7E40F59-1B4F-45AD-B6D8-4A91A36AC503}"/>
              </a:ext>
            </a:extLst>
          </p:cNvPr>
          <p:cNvSpPr>
            <a:spLocks noGrp="1"/>
          </p:cNvSpPr>
          <p:nvPr>
            <p:ph type="sldNum" sz="quarter" idx="12"/>
          </p:nvPr>
        </p:nvSpPr>
        <p:spPr/>
        <p:txBody>
          <a:bodyPr/>
          <a:lstStyle/>
          <a:p>
            <a:fld id="{7BE74CFF-2C60-4519-94DA-E8FC82378F73}" type="slidenum">
              <a:rPr lang="en-US" smtClean="0"/>
              <a:pPr/>
              <a:t>‹#›</a:t>
            </a:fld>
            <a:endParaRPr lang="en-US"/>
          </a:p>
        </p:txBody>
      </p:sp>
    </p:spTree>
    <p:extLst>
      <p:ext uri="{BB962C8B-B14F-4D97-AF65-F5344CB8AC3E}">
        <p14:creationId xmlns:p14="http://schemas.microsoft.com/office/powerpoint/2010/main" val="3280451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F36FA9-48F4-4077-905D-56A414965DC8}"/>
              </a:ext>
            </a:extLst>
          </p:cNvPr>
          <p:cNvGraphicFramePr>
            <a:graphicFrameLocks noChangeAspect="1"/>
          </p:cNvGraphicFramePr>
          <p:nvPr userDrawn="1">
            <p:custDataLst>
              <p:tags r:id="rId2"/>
            </p:custDataLst>
            <p:extLst>
              <p:ext uri="{D42A27DB-BD31-4B8C-83A1-F6EECF244321}">
                <p14:modId xmlns:p14="http://schemas.microsoft.com/office/powerpoint/2010/main" val="2872610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9"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a16="http://schemas.microsoft.com/office/drawing/2014/main" id="{66F36FA9-48F4-4077-905D-56A414965D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093DC2-A17F-4992-BC9A-92CBED2E4C5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a:latin typeface="Lato Regular"/>
              <a:ea typeface="+mj-ea"/>
              <a:cs typeface="+mj-cs"/>
              <a:sym typeface="Lato Regular"/>
            </a:endParaRPr>
          </a:p>
        </p:txBody>
      </p:sp>
      <p:sp>
        <p:nvSpPr>
          <p:cNvPr id="8" name="Tittel 1">
            <a:extLst>
              <a:ext uri="{FF2B5EF4-FFF2-40B4-BE49-F238E27FC236}">
                <a16:creationId xmlns:a16="http://schemas.microsoft.com/office/drawing/2014/main" id="{B8986A4C-A47D-4E29-9341-6B303C5A0265}"/>
              </a:ext>
            </a:extLst>
          </p:cNvPr>
          <p:cNvSpPr>
            <a:spLocks noGrp="1"/>
          </p:cNvSpPr>
          <p:nvPr>
            <p:ph type="title" hasCustomPrompt="1"/>
          </p:nvPr>
        </p:nvSpPr>
        <p:spPr>
          <a:xfrm>
            <a:off x="430910" y="946918"/>
            <a:ext cx="4069652" cy="1695707"/>
          </a:xfrm>
        </p:spPr>
        <p:txBody>
          <a:bodyPr wrap="square" anchor="b">
            <a:noAutofit/>
          </a:bodyPr>
          <a:lstStyle>
            <a:lvl1pPr>
              <a:lnSpc>
                <a:spcPct val="100000"/>
              </a:lnSpc>
              <a:defRPr sz="2600"/>
            </a:lvl1pPr>
          </a:lstStyle>
          <a:p>
            <a:r>
              <a:rPr lang="en-US"/>
              <a:t>Click to add title</a:t>
            </a:r>
          </a:p>
        </p:txBody>
      </p:sp>
      <p:sp>
        <p:nvSpPr>
          <p:cNvPr id="9" name="Plassholder for tekst 2">
            <a:extLst>
              <a:ext uri="{FF2B5EF4-FFF2-40B4-BE49-F238E27FC236}">
                <a16:creationId xmlns:a16="http://schemas.microsoft.com/office/drawing/2014/main" id="{569527BE-4BE0-47AB-AED7-C24A53E925C9}"/>
              </a:ext>
            </a:extLst>
          </p:cNvPr>
          <p:cNvSpPr>
            <a:spLocks noGrp="1"/>
          </p:cNvSpPr>
          <p:nvPr>
            <p:ph type="body" idx="13" hasCustomPrompt="1"/>
          </p:nvPr>
        </p:nvSpPr>
        <p:spPr>
          <a:xfrm>
            <a:off x="430910" y="2821662"/>
            <a:ext cx="4069652" cy="1659233"/>
          </a:xfrm>
        </p:spPr>
        <p:txBody>
          <a:bodyPr wrap="square">
            <a:noAutofit/>
          </a:bodyPr>
          <a:lstStyle>
            <a:lvl1pPr marL="0" indent="0">
              <a:lnSpc>
                <a:spcPct val="114000"/>
              </a:lnSpc>
              <a:buNone/>
              <a:defRPr sz="1700">
                <a:solidFill>
                  <a:schemeClr val="dk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ext</a:t>
            </a:r>
          </a:p>
        </p:txBody>
      </p:sp>
      <p:sp>
        <p:nvSpPr>
          <p:cNvPr id="2" name="Plassholder for dato 1">
            <a:extLst>
              <a:ext uri="{FF2B5EF4-FFF2-40B4-BE49-F238E27FC236}">
                <a16:creationId xmlns:a16="http://schemas.microsoft.com/office/drawing/2014/main" id="{81F0C800-F479-4664-9EFB-A110F86951B4}"/>
              </a:ext>
            </a:extLst>
          </p:cNvPr>
          <p:cNvSpPr>
            <a:spLocks noGrp="1"/>
          </p:cNvSpPr>
          <p:nvPr>
            <p:ph type="dt" sz="half" idx="15"/>
          </p:nvPr>
        </p:nvSpPr>
        <p:spPr/>
        <p:txBody>
          <a:bodyPr/>
          <a:lstStyle/>
          <a:p>
            <a:fld id="{58970512-AFCF-461A-ACB5-D6A6EB013EA8}" type="datetime1">
              <a:rPr lang="en-US" smtClean="0"/>
              <a:pPr/>
              <a:t>4/11/21</a:t>
            </a:fld>
            <a:endParaRPr lang="en-US"/>
          </a:p>
        </p:txBody>
      </p:sp>
      <p:sp>
        <p:nvSpPr>
          <p:cNvPr id="3" name="Plassholder for bunntekst 2">
            <a:extLst>
              <a:ext uri="{FF2B5EF4-FFF2-40B4-BE49-F238E27FC236}">
                <a16:creationId xmlns:a16="http://schemas.microsoft.com/office/drawing/2014/main" id="{03ADF8CD-0ACB-43C0-B8DF-3F0734606004}"/>
              </a:ext>
            </a:extLst>
          </p:cNvPr>
          <p:cNvSpPr>
            <a:spLocks noGrp="1"/>
          </p:cNvSpPr>
          <p:nvPr>
            <p:ph type="ftr" sz="quarter" idx="16"/>
          </p:nvPr>
        </p:nvSpPr>
        <p:spPr/>
        <p:txBody>
          <a:bodyPr/>
          <a:lstStyle/>
          <a:p>
            <a:r>
              <a:rPr lang="en-US"/>
              <a:t>/  Footer</a:t>
            </a:r>
          </a:p>
        </p:txBody>
      </p:sp>
      <p:sp>
        <p:nvSpPr>
          <p:cNvPr id="4" name="Plassholder for lysbildenummer 3">
            <a:extLst>
              <a:ext uri="{FF2B5EF4-FFF2-40B4-BE49-F238E27FC236}">
                <a16:creationId xmlns:a16="http://schemas.microsoft.com/office/drawing/2014/main" id="{D699163A-076D-4A69-93C8-2661A6ED99E6}"/>
              </a:ext>
            </a:extLst>
          </p:cNvPr>
          <p:cNvSpPr>
            <a:spLocks noGrp="1"/>
          </p:cNvSpPr>
          <p:nvPr>
            <p:ph type="sldNum" sz="quarter" idx="17"/>
          </p:nvPr>
        </p:nvSpPr>
        <p:spPr/>
        <p:txBody>
          <a:bodyPr/>
          <a:lstStyle/>
          <a:p>
            <a:fld id="{7BE74CFF-2C60-4519-94DA-E8FC82378F73}" type="slidenum">
              <a:rPr lang="en-US" smtClean="0"/>
              <a:pPr/>
              <a:t>‹#›</a:t>
            </a:fld>
            <a:endParaRPr lang="en-US"/>
          </a:p>
        </p:txBody>
      </p:sp>
      <p:sp>
        <p:nvSpPr>
          <p:cNvPr id="12" name="Plassholder for innhold 2">
            <a:extLst>
              <a:ext uri="{FF2B5EF4-FFF2-40B4-BE49-F238E27FC236}">
                <a16:creationId xmlns:a16="http://schemas.microsoft.com/office/drawing/2014/main" id="{0D2F2523-B8DF-46F3-92CF-495320E4ED8D}"/>
              </a:ext>
            </a:extLst>
          </p:cNvPr>
          <p:cNvSpPr>
            <a:spLocks noGrp="1"/>
          </p:cNvSpPr>
          <p:nvPr>
            <p:ph idx="19" hasCustomPrompt="1"/>
          </p:nvPr>
        </p:nvSpPr>
        <p:spPr>
          <a:xfrm>
            <a:off x="4680585" y="946919"/>
            <a:ext cx="4031356" cy="3533976"/>
          </a:xfrm>
        </p:spPr>
        <p:txBody>
          <a:bodyPr/>
          <a:lstStyle>
            <a:lvl1pPr marL="180000" indent="-180000">
              <a:lnSpc>
                <a:spcPct val="114000"/>
              </a:lnSpc>
              <a:spcBef>
                <a:spcPts val="400"/>
              </a:spcBef>
              <a:defRPr/>
            </a:lvl1pPr>
            <a:lvl2pPr marL="649800" indent="-180000">
              <a:lnSpc>
                <a:spcPct val="114000"/>
              </a:lnSpc>
              <a:spcBef>
                <a:spcPts val="400"/>
              </a:spcBef>
              <a:defRPr/>
            </a:lvl2pPr>
            <a:lvl3pPr>
              <a:lnSpc>
                <a:spcPct val="114000"/>
              </a:lnSpc>
              <a:spcBef>
                <a:spcPts val="400"/>
              </a:spcBef>
              <a:defRPr/>
            </a:lvl3pPr>
            <a:lvl4pPr>
              <a:lnSpc>
                <a:spcPct val="114000"/>
              </a:lnSpc>
              <a:spcBef>
                <a:spcPts val="400"/>
              </a:spcBef>
              <a:defRPr/>
            </a:lvl4pPr>
            <a:lvl5pPr>
              <a:lnSpc>
                <a:spcPct val="114000"/>
              </a:lnSpc>
              <a:spcBef>
                <a:spcPts val="4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72477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FE500F-CFF1-4FA3-B449-1C273E10584D}"/>
              </a:ext>
            </a:extLst>
          </p:cNvPr>
          <p:cNvGraphicFramePr>
            <a:graphicFrameLocks noChangeAspect="1"/>
          </p:cNvGraphicFramePr>
          <p:nvPr userDrawn="1">
            <p:custDataLst>
              <p:tags r:id="rId2"/>
            </p:custDataLst>
            <p:extLst>
              <p:ext uri="{D42A27DB-BD31-4B8C-83A1-F6EECF244321}">
                <p14:modId xmlns:p14="http://schemas.microsoft.com/office/powerpoint/2010/main" val="3629359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3"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a16="http://schemas.microsoft.com/office/drawing/2014/main" id="{66FE500F-CFF1-4FA3-B449-1C273E1058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7BAF55-72ED-42D8-97A5-B8E6DEE723B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a:latin typeface="Lato Regular"/>
              <a:ea typeface="+mj-ea"/>
              <a:cs typeface="+mj-cs"/>
              <a:sym typeface="Lato Regular"/>
            </a:endParaRPr>
          </a:p>
        </p:txBody>
      </p:sp>
      <p:sp>
        <p:nvSpPr>
          <p:cNvPr id="8" name="Tittel 1">
            <a:extLst>
              <a:ext uri="{FF2B5EF4-FFF2-40B4-BE49-F238E27FC236}">
                <a16:creationId xmlns:a16="http://schemas.microsoft.com/office/drawing/2014/main" id="{E2A9C46B-B07A-4782-8AE8-F8DBACD98875}"/>
              </a:ext>
            </a:extLst>
          </p:cNvPr>
          <p:cNvSpPr>
            <a:spLocks noGrp="1"/>
          </p:cNvSpPr>
          <p:nvPr>
            <p:ph type="title" hasCustomPrompt="1"/>
          </p:nvPr>
        </p:nvSpPr>
        <p:spPr>
          <a:xfrm>
            <a:off x="430910" y="946918"/>
            <a:ext cx="4069652" cy="1695707"/>
          </a:xfrm>
        </p:spPr>
        <p:txBody>
          <a:bodyPr wrap="square" anchor="b">
            <a:noAutofit/>
          </a:bodyPr>
          <a:lstStyle>
            <a:lvl1pPr>
              <a:lnSpc>
                <a:spcPct val="100000"/>
              </a:lnSpc>
              <a:defRPr sz="2600">
                <a:solidFill>
                  <a:schemeClr val="tx1"/>
                </a:solidFill>
              </a:defRPr>
            </a:lvl1pPr>
          </a:lstStyle>
          <a:p>
            <a:r>
              <a:rPr lang="en-US"/>
              <a:t>Click to add title</a:t>
            </a:r>
          </a:p>
        </p:txBody>
      </p:sp>
      <p:sp>
        <p:nvSpPr>
          <p:cNvPr id="11" name="Plassholder for bilde 10">
            <a:extLst>
              <a:ext uri="{FF2B5EF4-FFF2-40B4-BE49-F238E27FC236}">
                <a16:creationId xmlns:a16="http://schemas.microsoft.com/office/drawing/2014/main" id="{BAB4760B-9085-4B0E-B4FE-C2297F3A30C3}"/>
              </a:ext>
            </a:extLst>
          </p:cNvPr>
          <p:cNvSpPr>
            <a:spLocks noGrp="1"/>
          </p:cNvSpPr>
          <p:nvPr>
            <p:ph type="pic" sz="quarter" idx="15" hasCustomPrompt="1"/>
          </p:nvPr>
        </p:nvSpPr>
        <p:spPr>
          <a:xfrm>
            <a:off x="4680585" y="946918"/>
            <a:ext cx="4031356" cy="3533978"/>
          </a:xfrm>
          <a:prstGeom prst="rect">
            <a:avLst/>
          </a:prstGeom>
        </p:spPr>
        <p:txBody>
          <a:bodyPr lIns="0" tIns="0" rIns="0" bIns="0"/>
          <a:lstStyle>
            <a:lvl1pPr>
              <a:lnSpc>
                <a:spcPct val="100000"/>
              </a:lnSpc>
              <a:defRPr/>
            </a:lvl1pPr>
          </a:lstStyle>
          <a:p>
            <a:r>
              <a:rPr lang="en-US"/>
              <a:t>Picture </a:t>
            </a:r>
          </a:p>
        </p:txBody>
      </p:sp>
      <p:sp>
        <p:nvSpPr>
          <p:cNvPr id="2" name="Plassholder for dato 1">
            <a:extLst>
              <a:ext uri="{FF2B5EF4-FFF2-40B4-BE49-F238E27FC236}">
                <a16:creationId xmlns:a16="http://schemas.microsoft.com/office/drawing/2014/main" id="{2792BF65-D216-45F2-94AA-2F7CB466F052}"/>
              </a:ext>
            </a:extLst>
          </p:cNvPr>
          <p:cNvSpPr>
            <a:spLocks noGrp="1"/>
          </p:cNvSpPr>
          <p:nvPr>
            <p:ph type="dt" sz="half" idx="16"/>
          </p:nvPr>
        </p:nvSpPr>
        <p:spPr/>
        <p:txBody>
          <a:bodyPr/>
          <a:lstStyle/>
          <a:p>
            <a:fld id="{58970512-AFCF-461A-ACB5-D6A6EB013EA8}" type="datetime1">
              <a:rPr lang="en-US" smtClean="0"/>
              <a:pPr/>
              <a:t>4/11/21</a:t>
            </a:fld>
            <a:endParaRPr lang="en-US"/>
          </a:p>
        </p:txBody>
      </p:sp>
      <p:sp>
        <p:nvSpPr>
          <p:cNvPr id="3" name="Plassholder for bunntekst 2">
            <a:extLst>
              <a:ext uri="{FF2B5EF4-FFF2-40B4-BE49-F238E27FC236}">
                <a16:creationId xmlns:a16="http://schemas.microsoft.com/office/drawing/2014/main" id="{5FCF1B2F-5245-41CA-A0B4-56CAA771D8F6}"/>
              </a:ext>
            </a:extLst>
          </p:cNvPr>
          <p:cNvSpPr>
            <a:spLocks noGrp="1"/>
          </p:cNvSpPr>
          <p:nvPr>
            <p:ph type="ftr" sz="quarter" idx="17"/>
          </p:nvPr>
        </p:nvSpPr>
        <p:spPr/>
        <p:txBody>
          <a:bodyPr/>
          <a:lstStyle/>
          <a:p>
            <a:r>
              <a:rPr lang="en-US"/>
              <a:t>/  Footer</a:t>
            </a:r>
          </a:p>
        </p:txBody>
      </p:sp>
      <p:sp>
        <p:nvSpPr>
          <p:cNvPr id="4" name="Plassholder for lysbildenummer 3">
            <a:extLst>
              <a:ext uri="{FF2B5EF4-FFF2-40B4-BE49-F238E27FC236}">
                <a16:creationId xmlns:a16="http://schemas.microsoft.com/office/drawing/2014/main" id="{12D5A0B5-2A8A-4A95-8540-30629223E1A2}"/>
              </a:ext>
            </a:extLst>
          </p:cNvPr>
          <p:cNvSpPr>
            <a:spLocks noGrp="1"/>
          </p:cNvSpPr>
          <p:nvPr>
            <p:ph type="sldNum" sz="quarter" idx="18"/>
          </p:nvPr>
        </p:nvSpPr>
        <p:spPr/>
        <p:txBody>
          <a:bodyPr/>
          <a:lstStyle/>
          <a:p>
            <a:fld id="{7BE74CFF-2C60-4519-94DA-E8FC82378F73}" type="slidenum">
              <a:rPr lang="en-US" smtClean="0"/>
              <a:pPr/>
              <a:t>‹#›</a:t>
            </a:fld>
            <a:endParaRPr lang="en-US"/>
          </a:p>
        </p:txBody>
      </p:sp>
      <p:sp>
        <p:nvSpPr>
          <p:cNvPr id="14" name="Plassholder for tekst 2">
            <a:extLst>
              <a:ext uri="{FF2B5EF4-FFF2-40B4-BE49-F238E27FC236}">
                <a16:creationId xmlns:a16="http://schemas.microsoft.com/office/drawing/2014/main" id="{A7F83A1F-AADF-4448-ABDE-A7FA05C609F3}"/>
              </a:ext>
            </a:extLst>
          </p:cNvPr>
          <p:cNvSpPr>
            <a:spLocks noGrp="1"/>
          </p:cNvSpPr>
          <p:nvPr>
            <p:ph type="body" idx="13" hasCustomPrompt="1"/>
          </p:nvPr>
        </p:nvSpPr>
        <p:spPr>
          <a:xfrm>
            <a:off x="430910" y="2821662"/>
            <a:ext cx="4069652" cy="1659233"/>
          </a:xfrm>
        </p:spPr>
        <p:txBody>
          <a:bodyPr wrap="square">
            <a:noAutofit/>
          </a:bodyPr>
          <a:lstStyle>
            <a:lvl1pPr marL="0" indent="0">
              <a:lnSpc>
                <a:spcPct val="114000"/>
              </a:lnSpc>
              <a:buNone/>
              <a:defRPr sz="1700">
                <a:solidFill>
                  <a:schemeClr val="dk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ext</a:t>
            </a:r>
          </a:p>
        </p:txBody>
      </p:sp>
    </p:spTree>
    <p:extLst>
      <p:ext uri="{BB962C8B-B14F-4D97-AF65-F5344CB8AC3E}">
        <p14:creationId xmlns:p14="http://schemas.microsoft.com/office/powerpoint/2010/main" val="30714219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w/ picture">
    <p:bg>
      <p:bgPr>
        <a:solidFill>
          <a:schemeClr val="lt1"/>
        </a:solidFill>
        <a:effectLst/>
      </p:bgPr>
    </p:bg>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5DE36EFF-BF55-4394-AB25-A03B1698CFB2}"/>
              </a:ext>
            </a:extLst>
          </p:cNvPr>
          <p:cNvSpPr>
            <a:spLocks noGrp="1"/>
          </p:cNvSpPr>
          <p:nvPr>
            <p:ph type="pic" sz="quarter" idx="13"/>
          </p:nvPr>
        </p:nvSpPr>
        <p:spPr>
          <a:xfrm>
            <a:off x="0" y="0"/>
            <a:ext cx="9144000" cy="5145088"/>
          </a:xfrm>
          <a:blipFill dpi="0" rotWithShape="1">
            <a:blip r:embed="rId2"/>
            <a:srcRect/>
            <a:stretch>
              <a:fillRect/>
            </a:stretch>
          </a:blipFill>
        </p:spPr>
        <p:txBody>
          <a:bodyPr/>
          <a:lstStyle/>
          <a:p>
            <a:r>
              <a:rPr lang="en-US"/>
              <a:t>Click icon to add picture</a:t>
            </a:r>
          </a:p>
        </p:txBody>
      </p:sp>
      <p:sp>
        <p:nvSpPr>
          <p:cNvPr id="9" name="TekstSylinder 8">
            <a:extLst>
              <a:ext uri="{FF2B5EF4-FFF2-40B4-BE49-F238E27FC236}">
                <a16:creationId xmlns:a16="http://schemas.microsoft.com/office/drawing/2014/main" id="{D9F58A01-1967-45AA-BCC3-393916DF4879}"/>
              </a:ext>
            </a:extLst>
          </p:cNvPr>
          <p:cNvSpPr txBox="1"/>
          <p:nvPr userDrawn="1"/>
        </p:nvSpPr>
        <p:spPr>
          <a:xfrm>
            <a:off x="1100766" y="4708315"/>
            <a:ext cx="55245" cy="107722"/>
          </a:xfrm>
          <a:prstGeom prst="rect">
            <a:avLst/>
          </a:prstGeom>
          <a:noFill/>
        </p:spPr>
        <p:txBody>
          <a:bodyPr wrap="square" lIns="0" tIns="0" rIns="0" bIns="0" rtlCol="0">
            <a:spAutoFit/>
          </a:bodyPr>
          <a:lstStyle/>
          <a:p>
            <a:r>
              <a:rPr lang="en-US" sz="700">
                <a:latin typeface="Lato Light" panose="020F0302020204030203" pitchFamily="34" charset="0"/>
              </a:rPr>
              <a:t>/</a:t>
            </a:r>
          </a:p>
        </p:txBody>
      </p:sp>
      <p:sp>
        <p:nvSpPr>
          <p:cNvPr id="2" name="Plassholder for tekst 1">
            <a:extLst>
              <a:ext uri="{FF2B5EF4-FFF2-40B4-BE49-F238E27FC236}">
                <a16:creationId xmlns:a16="http://schemas.microsoft.com/office/drawing/2014/main" id="{FE753F42-55FF-4AA5-AAA8-EAE2E73F15FA}"/>
              </a:ext>
            </a:extLst>
          </p:cNvPr>
          <p:cNvSpPr>
            <a:spLocks noGrp="1"/>
          </p:cNvSpPr>
          <p:nvPr>
            <p:ph type="body" sz="quarter" idx="14" hasCustomPrompt="1"/>
          </p:nvPr>
        </p:nvSpPr>
        <p:spPr>
          <a:xfrm>
            <a:off x="7285831" y="423013"/>
            <a:ext cx="1255714" cy="691114"/>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en-US"/>
              <a:t> </a:t>
            </a:r>
          </a:p>
        </p:txBody>
      </p:sp>
    </p:spTree>
    <p:extLst>
      <p:ext uri="{BB962C8B-B14F-4D97-AF65-F5344CB8AC3E}">
        <p14:creationId xmlns:p14="http://schemas.microsoft.com/office/powerpoint/2010/main" val="37873973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st page Thank You and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kstSylinder 2">
            <a:extLst>
              <a:ext uri="{FF2B5EF4-FFF2-40B4-BE49-F238E27FC236}">
                <a16:creationId xmlns:a16="http://schemas.microsoft.com/office/drawing/2014/main" id="{73968F8D-95B9-416C-90B4-A0718EC25094}"/>
              </a:ext>
            </a:extLst>
          </p:cNvPr>
          <p:cNvSpPr txBox="1"/>
          <p:nvPr userDrawn="1"/>
        </p:nvSpPr>
        <p:spPr>
          <a:xfrm>
            <a:off x="1008124" y="2833423"/>
            <a:ext cx="6557331" cy="553998"/>
          </a:xfrm>
          <a:prstGeom prst="rect">
            <a:avLst/>
          </a:prstGeom>
          <a:noFill/>
        </p:spPr>
        <p:txBody>
          <a:bodyPr wrap="square" lIns="0" tIns="0" rIns="0" bIns="0" rtlCol="0" anchor="b" anchorCtr="0">
            <a:spAutoFit/>
          </a:bodyPr>
          <a:lstStyle/>
          <a:p>
            <a:r>
              <a:rPr lang="en-US" sz="3600" kern="1200" cap="all" baseline="0">
                <a:solidFill>
                  <a:schemeClr val="bg1"/>
                </a:solidFill>
                <a:latin typeface="+mj-lt"/>
                <a:ea typeface="+mn-ea"/>
                <a:cs typeface="+mn-cs"/>
              </a:rPr>
              <a:t>THANK YOU</a:t>
            </a:r>
          </a:p>
        </p:txBody>
      </p:sp>
      <p:pic>
        <p:nvPicPr>
          <p:cNvPr id="6" name="Bilde 5">
            <a:extLst>
              <a:ext uri="{FF2B5EF4-FFF2-40B4-BE49-F238E27FC236}">
                <a16:creationId xmlns:a16="http://schemas.microsoft.com/office/drawing/2014/main" id="{AFF1B689-9BE2-47B5-8577-E4EC0B3FE35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5831" y="423013"/>
            <a:ext cx="1255714" cy="691114"/>
          </a:xfrm>
          <a:prstGeom prst="rect">
            <a:avLst/>
          </a:prstGeom>
        </p:spPr>
      </p:pic>
    </p:spTree>
    <p:extLst>
      <p:ext uri="{BB962C8B-B14F-4D97-AF65-F5344CB8AC3E}">
        <p14:creationId xmlns:p14="http://schemas.microsoft.com/office/powerpoint/2010/main" val="1251314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0A35C2B-30C1-4EFC-B027-C4534B21D121}"/>
              </a:ext>
            </a:extLst>
          </p:cNvPr>
          <p:cNvGraphicFramePr>
            <a:graphicFrameLocks noChangeAspect="1"/>
          </p:cNvGraphicFramePr>
          <p:nvPr userDrawn="1">
            <p:custDataLst>
              <p:tags r:id="rId2"/>
            </p:custDataLst>
            <p:extLst>
              <p:ext uri="{D42A27DB-BD31-4B8C-83A1-F6EECF244321}">
                <p14:modId xmlns:p14="http://schemas.microsoft.com/office/powerpoint/2010/main" val="2682527983"/>
              </p:ext>
            </p:extLst>
          </p:nvPr>
        </p:nvGraphicFramePr>
        <p:xfrm>
          <a:off x="1191" y="1192"/>
          <a:ext cx="1191" cy="1191"/>
        </p:xfrm>
        <a:graphic>
          <a:graphicData uri="http://schemas.openxmlformats.org/presentationml/2006/ole">
            <mc:AlternateContent xmlns:mc="http://schemas.openxmlformats.org/markup-compatibility/2006">
              <mc:Choice xmlns:v="urn:schemas-microsoft-com:vml" Requires="v">
                <p:oleObj spid="_x0000_s14347"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A0A35C2B-30C1-4EFC-B027-C4534B21D121}"/>
                          </a:ext>
                        </a:extLst>
                      </p:cNvPr>
                      <p:cNvPicPr/>
                      <p:nvPr/>
                    </p:nvPicPr>
                    <p:blipFill>
                      <a:blip r:embed="rId6"/>
                      <a:stretch>
                        <a:fillRect/>
                      </a:stretch>
                    </p:blipFill>
                    <p:spPr>
                      <a:xfrm>
                        <a:off x="1191" y="1192"/>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13BEA7F-917E-49BE-86A0-396DFAF2295E}"/>
              </a:ext>
            </a:extLst>
          </p:cNvPr>
          <p:cNvSpPr/>
          <p:nvPr userDrawn="1">
            <p:custDataLst>
              <p:tags r:id="rId3"/>
            </p:custDataLst>
          </p:nvPr>
        </p:nvSpPr>
        <p:spPr>
          <a:xfrm>
            <a:off x="0" y="0"/>
            <a:ext cx="119063" cy="11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Lato Regular"/>
              <a:ea typeface="+mj-ea"/>
              <a:cs typeface="+mj-cs"/>
              <a:sym typeface="Lato Regular"/>
            </a:endParaRPr>
          </a:p>
        </p:txBody>
      </p:sp>
      <p:sp>
        <p:nvSpPr>
          <p:cNvPr id="2" name="Title 1">
            <a:extLst>
              <a:ext uri="{FF2B5EF4-FFF2-40B4-BE49-F238E27FC236}">
                <a16:creationId xmlns:a16="http://schemas.microsoft.com/office/drawing/2014/main" id="{D7466153-DE71-4F31-9C74-E0FD5F7C0D55}"/>
              </a:ext>
            </a:extLst>
          </p:cNvPr>
          <p:cNvSpPr>
            <a:spLocks noGrp="1"/>
          </p:cNvSpPr>
          <p:nvPr>
            <p:ph type="title"/>
          </p:nvPr>
        </p:nvSpPr>
        <p:spPr>
          <a:xfrm>
            <a:off x="360481" y="156486"/>
            <a:ext cx="8600639" cy="307777"/>
          </a:xfrm>
          <a:prstGeom prst="rect">
            <a:avLst/>
          </a:prstGeom>
        </p:spPr>
        <p:txBody>
          <a:bodyPr anchor="ctr"/>
          <a:lstStyle/>
          <a:p>
            <a:r>
              <a:rPr lang="en-US"/>
              <a:t>Click to edit Master title style</a:t>
            </a:r>
          </a:p>
        </p:txBody>
      </p:sp>
      <p:sp>
        <p:nvSpPr>
          <p:cNvPr id="3" name="Content Placeholder 2">
            <a:extLst>
              <a:ext uri="{FF2B5EF4-FFF2-40B4-BE49-F238E27FC236}">
                <a16:creationId xmlns:a16="http://schemas.microsoft.com/office/drawing/2014/main" id="{73CD383B-F284-4CCC-9972-5CA2F0AE1812}"/>
              </a:ext>
            </a:extLst>
          </p:cNvPr>
          <p:cNvSpPr>
            <a:spLocks noGrp="1"/>
          </p:cNvSpPr>
          <p:nvPr>
            <p:ph idx="1"/>
          </p:nvPr>
        </p:nvSpPr>
        <p:spPr>
          <a:xfrm>
            <a:off x="360481" y="859704"/>
            <a:ext cx="8600639" cy="3774449"/>
          </a:xfrm>
          <a:prstGeom prst="rect">
            <a:avLst/>
          </a:prstGeom>
        </p:spPr>
        <p:txBody>
          <a:bodyPr/>
          <a:lstStyle>
            <a:lvl1pPr>
              <a:defRPr sz="900">
                <a:solidFill>
                  <a:srgbClr val="003459"/>
                </a:solidFill>
              </a:defRPr>
            </a:lvl1pPr>
            <a:lvl2pPr>
              <a:defRPr sz="900">
                <a:solidFill>
                  <a:srgbClr val="003459"/>
                </a:solidFill>
              </a:defRPr>
            </a:lvl2pPr>
            <a:lvl3pPr>
              <a:defRPr sz="900">
                <a:solidFill>
                  <a:srgbClr val="003459"/>
                </a:solidFill>
              </a:defRPr>
            </a:lvl3pPr>
            <a:lvl4pPr>
              <a:defRPr sz="900">
                <a:solidFill>
                  <a:srgbClr val="003459"/>
                </a:solidFill>
              </a:defRPr>
            </a:lvl4pPr>
            <a:lvl5pPr>
              <a:defRPr sz="900">
                <a:solidFill>
                  <a:srgbClr val="0034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59505D-FD0D-48AF-86ED-82CDB013CBEA}"/>
              </a:ext>
            </a:extLst>
          </p:cNvPr>
          <p:cNvSpPr>
            <a:spLocks noGrp="1"/>
          </p:cNvSpPr>
          <p:nvPr>
            <p:ph type="dt" sz="half" idx="10"/>
          </p:nvPr>
        </p:nvSpPr>
        <p:spPr/>
        <p:txBody>
          <a:bodyPr/>
          <a:lstStyle/>
          <a:p>
            <a:fld id="{D71C03A9-5C3B-44FB-9B65-1D678CA9B4AF}" type="datetimeFigureOut">
              <a:rPr lang="en-US" smtClean="0"/>
              <a:t>4/11/21</a:t>
            </a:fld>
            <a:endParaRPr lang="en-US"/>
          </a:p>
        </p:txBody>
      </p:sp>
      <p:sp>
        <p:nvSpPr>
          <p:cNvPr id="5" name="Footer Placeholder 4">
            <a:extLst>
              <a:ext uri="{FF2B5EF4-FFF2-40B4-BE49-F238E27FC236}">
                <a16:creationId xmlns:a16="http://schemas.microsoft.com/office/drawing/2014/main" id="{57A0E965-0634-49CD-8540-502B9AF638A7}"/>
              </a:ext>
            </a:extLst>
          </p:cNvPr>
          <p:cNvSpPr>
            <a:spLocks noGrp="1"/>
          </p:cNvSpPr>
          <p:nvPr>
            <p:ph type="ftr" sz="quarter" idx="11"/>
          </p:nvPr>
        </p:nvSpPr>
        <p:spPr/>
        <p:txBody>
          <a:bodyPr/>
          <a:lstStyle>
            <a:lvl1pPr eaLnBrk="1">
              <a:defRPr/>
            </a:lvl1pPr>
          </a:lstStyle>
          <a:p>
            <a:endParaRPr lang="en-US"/>
          </a:p>
        </p:txBody>
      </p:sp>
      <p:sp>
        <p:nvSpPr>
          <p:cNvPr id="6" name="Slide Number Placeholder 5">
            <a:extLst>
              <a:ext uri="{FF2B5EF4-FFF2-40B4-BE49-F238E27FC236}">
                <a16:creationId xmlns:a16="http://schemas.microsoft.com/office/drawing/2014/main" id="{3B0AD8AC-A8BA-48E8-8A34-5DC71FBBF823}"/>
              </a:ext>
            </a:extLst>
          </p:cNvPr>
          <p:cNvSpPr>
            <a:spLocks noGrp="1"/>
          </p:cNvSpPr>
          <p:nvPr>
            <p:ph type="sldNum" sz="quarter" idx="12"/>
          </p:nvPr>
        </p:nvSpPr>
        <p:spPr/>
        <p:txBody>
          <a:bodyPr/>
          <a:lstStyle/>
          <a:p>
            <a:fld id="{F4563387-511E-4A7C-A128-2A5764207573}" type="slidenum">
              <a:rPr lang="en-US" smtClean="0"/>
              <a:t>‹#›</a:t>
            </a:fld>
            <a:endParaRPr lang="en-US"/>
          </a:p>
        </p:txBody>
      </p:sp>
    </p:spTree>
    <p:extLst>
      <p:ext uri="{BB962C8B-B14F-4D97-AF65-F5344CB8AC3E}">
        <p14:creationId xmlns:p14="http://schemas.microsoft.com/office/powerpoint/2010/main" val="20704038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1/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5814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9287EB-35EE-44B9-ADA4-16D1930BF764}"/>
              </a:ext>
            </a:extLst>
          </p:cNvPr>
          <p:cNvGraphicFramePr>
            <a:graphicFrameLocks noChangeAspect="1"/>
          </p:cNvGraphicFramePr>
          <p:nvPr userDrawn="1">
            <p:custDataLst>
              <p:tags r:id="rId2"/>
            </p:custDataLst>
            <p:extLst>
              <p:ext uri="{D42A27DB-BD31-4B8C-83A1-F6EECF244321}">
                <p14:modId xmlns:p14="http://schemas.microsoft.com/office/powerpoint/2010/main" val="415397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Slide" r:id="rId5" imgW="353" imgH="353" progId="TCLayout.ActiveDocument.1">
                  <p:embed/>
                </p:oleObj>
              </mc:Choice>
              <mc:Fallback>
                <p:oleObj name="think-cell Slide" r:id="rId5" imgW="353" imgH="353" progId="TCLayout.ActiveDocument.1">
                  <p:embed/>
                  <p:pic>
                    <p:nvPicPr>
                      <p:cNvPr id="8" name="Object 7" hidden="1">
                        <a:extLst>
                          <a:ext uri="{FF2B5EF4-FFF2-40B4-BE49-F238E27FC236}">
                            <a16:creationId xmlns:a16="http://schemas.microsoft.com/office/drawing/2014/main" id="{219287EB-35EE-44B9-ADA4-16D1930BF7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545BE35-4C35-4E58-B170-8C3B3BCCC7D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Lato Regular"/>
              <a:ea typeface="+mj-ea"/>
              <a:cs typeface="+mj-cs"/>
              <a:sym typeface="Lato Regular"/>
            </a:endParaRPr>
          </a:p>
        </p:txBody>
      </p:sp>
      <p:sp>
        <p:nvSpPr>
          <p:cNvPr id="2" name="Tittel 1">
            <a:extLst>
              <a:ext uri="{FF2B5EF4-FFF2-40B4-BE49-F238E27FC236}">
                <a16:creationId xmlns:a16="http://schemas.microsoft.com/office/drawing/2014/main" id="{0FF6FEFA-85E3-4847-ADA3-CF862C656FA4}"/>
              </a:ext>
            </a:extLst>
          </p:cNvPr>
          <p:cNvSpPr>
            <a:spLocks noGrp="1"/>
          </p:cNvSpPr>
          <p:nvPr>
            <p:ph type="title" hasCustomPrompt="1"/>
          </p:nvPr>
        </p:nvSpPr>
        <p:spPr>
          <a:xfrm>
            <a:off x="432055" y="379643"/>
            <a:ext cx="8281035" cy="307777"/>
          </a:xfrm>
        </p:spPr>
        <p:txBody>
          <a:bodyPr/>
          <a:lstStyle>
            <a:lvl1pPr>
              <a:lnSpc>
                <a:spcPct val="100000"/>
              </a:lnSpc>
              <a:defRPr/>
            </a:lvl1pPr>
          </a:lstStyle>
          <a:p>
            <a:r>
              <a:rPr lang="en-US"/>
              <a:t>Click to add title</a:t>
            </a:r>
          </a:p>
        </p:txBody>
      </p:sp>
      <p:sp>
        <p:nvSpPr>
          <p:cNvPr id="3" name="Plassholder for innhold 2">
            <a:extLst>
              <a:ext uri="{FF2B5EF4-FFF2-40B4-BE49-F238E27FC236}">
                <a16:creationId xmlns:a16="http://schemas.microsoft.com/office/drawing/2014/main" id="{2DCC122D-71E2-4664-9788-BAC840E0E1CA}"/>
              </a:ext>
            </a:extLst>
          </p:cNvPr>
          <p:cNvSpPr>
            <a:spLocks noGrp="1"/>
          </p:cNvSpPr>
          <p:nvPr>
            <p:ph idx="1" hasCustomPrompt="1"/>
          </p:nvPr>
        </p:nvSpPr>
        <p:spPr>
          <a:xfrm>
            <a:off x="432054" y="945556"/>
            <a:ext cx="8281035" cy="3744000"/>
          </a:xfrm>
        </p:spPr>
        <p:txBody>
          <a:bodyPr/>
          <a:lstStyle>
            <a:lvl1pPr marL="180000" indent="-180000">
              <a:lnSpc>
                <a:spcPct val="114000"/>
              </a:lnSpc>
              <a:spcBef>
                <a:spcPts val="400"/>
              </a:spcBef>
              <a:defRPr/>
            </a:lvl1pPr>
            <a:lvl2pPr marL="649800" indent="-180000">
              <a:lnSpc>
                <a:spcPct val="114000"/>
              </a:lnSpc>
              <a:spcBef>
                <a:spcPts val="400"/>
              </a:spcBef>
              <a:defRPr/>
            </a:lvl2pPr>
            <a:lvl3pPr>
              <a:lnSpc>
                <a:spcPct val="114000"/>
              </a:lnSpc>
              <a:spcBef>
                <a:spcPts val="400"/>
              </a:spcBef>
              <a:defRPr/>
            </a:lvl3pPr>
            <a:lvl4pPr>
              <a:lnSpc>
                <a:spcPct val="114000"/>
              </a:lnSpc>
              <a:spcBef>
                <a:spcPts val="400"/>
              </a:spcBef>
              <a:defRPr/>
            </a:lvl4pPr>
            <a:lvl5pPr>
              <a:lnSpc>
                <a:spcPct val="114000"/>
              </a:lnSpc>
              <a:spcBef>
                <a:spcPts val="4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Plassholder for dato 3">
            <a:extLst>
              <a:ext uri="{FF2B5EF4-FFF2-40B4-BE49-F238E27FC236}">
                <a16:creationId xmlns:a16="http://schemas.microsoft.com/office/drawing/2014/main" id="{917D9B32-9786-4322-823E-35E1EEC5C4E0}"/>
              </a:ext>
            </a:extLst>
          </p:cNvPr>
          <p:cNvSpPr>
            <a:spLocks noGrp="1"/>
          </p:cNvSpPr>
          <p:nvPr>
            <p:ph type="dt" sz="half" idx="10"/>
          </p:nvPr>
        </p:nvSpPr>
        <p:spPr/>
        <p:txBody>
          <a:bodyPr/>
          <a:lstStyle>
            <a:lvl1pPr>
              <a:lnSpc>
                <a:spcPct val="100000"/>
              </a:lnSpc>
              <a:defRPr b="0"/>
            </a:lvl1pPr>
          </a:lstStyle>
          <a:p>
            <a:fld id="{9C820927-FCAE-4D61-8CD8-0648BB0309B5}" type="datetime1">
              <a:rPr lang="en-US" smtClean="0"/>
              <a:pPr/>
              <a:t>4/11/21</a:t>
            </a:fld>
            <a:endParaRPr lang="en-US"/>
          </a:p>
        </p:txBody>
      </p:sp>
      <p:sp>
        <p:nvSpPr>
          <p:cNvPr id="5" name="Plassholder for bunntekst 4">
            <a:extLst>
              <a:ext uri="{FF2B5EF4-FFF2-40B4-BE49-F238E27FC236}">
                <a16:creationId xmlns:a16="http://schemas.microsoft.com/office/drawing/2014/main" id="{7CBE17C3-E115-4A08-ABA8-A6A2C99FCDC7}"/>
              </a:ext>
            </a:extLst>
          </p:cNvPr>
          <p:cNvSpPr>
            <a:spLocks noGrp="1"/>
          </p:cNvSpPr>
          <p:nvPr>
            <p:ph type="ftr" sz="quarter" idx="11"/>
          </p:nvPr>
        </p:nvSpPr>
        <p:spPr/>
        <p:txBody>
          <a:bodyPr/>
          <a:lstStyle>
            <a:lvl1pPr>
              <a:lnSpc>
                <a:spcPct val="100000"/>
              </a:lnSpc>
              <a:defRPr b="0"/>
            </a:lvl1pPr>
          </a:lstStyle>
          <a:p>
            <a:r>
              <a:rPr lang="en-US"/>
              <a:t>/  Footer</a:t>
            </a:r>
          </a:p>
        </p:txBody>
      </p:sp>
      <p:sp>
        <p:nvSpPr>
          <p:cNvPr id="6" name="Plassholder for lysbildenummer 5">
            <a:extLst>
              <a:ext uri="{FF2B5EF4-FFF2-40B4-BE49-F238E27FC236}">
                <a16:creationId xmlns:a16="http://schemas.microsoft.com/office/drawing/2014/main" id="{89F509DF-3457-43DA-91A7-3DBE6B3A9C0B}"/>
              </a:ext>
            </a:extLst>
          </p:cNvPr>
          <p:cNvSpPr>
            <a:spLocks noGrp="1"/>
          </p:cNvSpPr>
          <p:nvPr>
            <p:ph type="sldNum" sz="quarter" idx="12"/>
          </p:nvPr>
        </p:nvSpPr>
        <p:spPr/>
        <p:txBody>
          <a:bodyPr/>
          <a:lstStyle>
            <a:lvl1pPr>
              <a:lnSpc>
                <a:spcPct val="100000"/>
              </a:lnSpc>
              <a:defRPr b="0"/>
            </a:lvl1pPr>
          </a:lstStyle>
          <a:p>
            <a:fld id="{7BE74CFF-2C60-4519-94DA-E8FC82378F73}" type="slidenum">
              <a:rPr lang="en-US" smtClean="0"/>
              <a:pPr/>
              <a:t>‹#›</a:t>
            </a:fld>
            <a:endParaRPr lang="en-US"/>
          </a:p>
        </p:txBody>
      </p:sp>
    </p:spTree>
    <p:extLst>
      <p:ext uri="{BB962C8B-B14F-4D97-AF65-F5344CB8AC3E}">
        <p14:creationId xmlns:p14="http://schemas.microsoft.com/office/powerpoint/2010/main" val="23411380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2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D0E3B2-40E4-4B0E-B5D8-149E1656950B}"/>
              </a:ext>
            </a:extLst>
          </p:cNvPr>
          <p:cNvGraphicFramePr>
            <a:graphicFrameLocks noChangeAspect="1"/>
          </p:cNvGraphicFramePr>
          <p:nvPr userDrawn="1">
            <p:custDataLst>
              <p:tags r:id="rId2"/>
            </p:custDataLst>
            <p:extLst>
              <p:ext uri="{D42A27DB-BD31-4B8C-83A1-F6EECF244321}">
                <p14:modId xmlns:p14="http://schemas.microsoft.com/office/powerpoint/2010/main" val="179863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5" imgW="353" imgH="353" progId="TCLayout.ActiveDocument.1">
                  <p:embed/>
                </p:oleObj>
              </mc:Choice>
              <mc:Fallback>
                <p:oleObj name="think-cell Slide" r:id="rId5" imgW="353" imgH="353" progId="TCLayout.ActiveDocument.1">
                  <p:embed/>
                  <p:pic>
                    <p:nvPicPr>
                      <p:cNvPr id="5" name="Object 4" hidden="1">
                        <a:extLst>
                          <a:ext uri="{FF2B5EF4-FFF2-40B4-BE49-F238E27FC236}">
                            <a16:creationId xmlns:a16="http://schemas.microsoft.com/office/drawing/2014/main" id="{A6D0E3B2-40E4-4B0E-B5D8-149E165695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F2963F5-075C-4DC9-8EC1-66607986B24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Lato Regular"/>
              <a:ea typeface="+mj-ea"/>
              <a:cs typeface="+mj-cs"/>
              <a:sym typeface="Lato Regular"/>
            </a:endParaRPr>
          </a:p>
        </p:txBody>
      </p:sp>
      <p:sp>
        <p:nvSpPr>
          <p:cNvPr id="2" name="Tittel 1">
            <a:extLst>
              <a:ext uri="{FF2B5EF4-FFF2-40B4-BE49-F238E27FC236}">
                <a16:creationId xmlns:a16="http://schemas.microsoft.com/office/drawing/2014/main" id="{0FF6FEFA-85E3-4847-ADA3-CF862C656FA4}"/>
              </a:ext>
            </a:extLst>
          </p:cNvPr>
          <p:cNvSpPr>
            <a:spLocks noGrp="1"/>
          </p:cNvSpPr>
          <p:nvPr>
            <p:ph type="title" hasCustomPrompt="1"/>
          </p:nvPr>
        </p:nvSpPr>
        <p:spPr>
          <a:xfrm>
            <a:off x="432055" y="379643"/>
            <a:ext cx="8279887" cy="307777"/>
          </a:xfrm>
        </p:spPr>
        <p:txBody>
          <a:bodyPr/>
          <a:lstStyle>
            <a:lvl1pPr>
              <a:defRPr/>
            </a:lvl1pPr>
          </a:lstStyle>
          <a:p>
            <a:r>
              <a:rPr lang="en-US"/>
              <a:t>Click to add title</a:t>
            </a:r>
          </a:p>
        </p:txBody>
      </p:sp>
      <p:sp>
        <p:nvSpPr>
          <p:cNvPr id="3" name="Plassholder for dato 2">
            <a:extLst>
              <a:ext uri="{FF2B5EF4-FFF2-40B4-BE49-F238E27FC236}">
                <a16:creationId xmlns:a16="http://schemas.microsoft.com/office/drawing/2014/main" id="{46C5D97E-6312-421F-ABA4-0688CDCCF4E8}"/>
              </a:ext>
            </a:extLst>
          </p:cNvPr>
          <p:cNvSpPr>
            <a:spLocks noGrp="1"/>
          </p:cNvSpPr>
          <p:nvPr>
            <p:ph type="dt" sz="half" idx="16"/>
          </p:nvPr>
        </p:nvSpPr>
        <p:spPr/>
        <p:txBody>
          <a:bodyPr/>
          <a:lstStyle/>
          <a:p>
            <a:fld id="{58970512-AFCF-461A-ACB5-D6A6EB013EA8}" type="datetime1">
              <a:rPr lang="en-US" smtClean="0"/>
              <a:pPr/>
              <a:t>4/11/21</a:t>
            </a:fld>
            <a:endParaRPr lang="en-US"/>
          </a:p>
        </p:txBody>
      </p:sp>
      <p:sp>
        <p:nvSpPr>
          <p:cNvPr id="8" name="Plassholder for bunntekst 7">
            <a:extLst>
              <a:ext uri="{FF2B5EF4-FFF2-40B4-BE49-F238E27FC236}">
                <a16:creationId xmlns:a16="http://schemas.microsoft.com/office/drawing/2014/main" id="{FBF8510B-E308-42D6-8F79-4A8BF27A7208}"/>
              </a:ext>
            </a:extLst>
          </p:cNvPr>
          <p:cNvSpPr>
            <a:spLocks noGrp="1"/>
          </p:cNvSpPr>
          <p:nvPr>
            <p:ph type="ftr" sz="quarter" idx="17"/>
          </p:nvPr>
        </p:nvSpPr>
        <p:spPr/>
        <p:txBody>
          <a:bodyPr/>
          <a:lstStyle/>
          <a:p>
            <a:r>
              <a:rPr lang="en-US"/>
              <a:t>/  Footer</a:t>
            </a:r>
          </a:p>
        </p:txBody>
      </p:sp>
      <p:sp>
        <p:nvSpPr>
          <p:cNvPr id="10" name="Plassholder for lysbildenummer 9">
            <a:extLst>
              <a:ext uri="{FF2B5EF4-FFF2-40B4-BE49-F238E27FC236}">
                <a16:creationId xmlns:a16="http://schemas.microsoft.com/office/drawing/2014/main" id="{5EB4E3FB-2673-4653-9870-A9C076252DD1}"/>
              </a:ext>
            </a:extLst>
          </p:cNvPr>
          <p:cNvSpPr>
            <a:spLocks noGrp="1"/>
          </p:cNvSpPr>
          <p:nvPr>
            <p:ph type="sldNum" sz="quarter" idx="18"/>
          </p:nvPr>
        </p:nvSpPr>
        <p:spPr/>
        <p:txBody>
          <a:bodyPr/>
          <a:lstStyle/>
          <a:p>
            <a:fld id="{7BE74CFF-2C60-4519-94DA-E8FC82378F73}" type="slidenum">
              <a:rPr lang="en-US" smtClean="0"/>
              <a:pPr/>
              <a:t>‹#›</a:t>
            </a:fld>
            <a:endParaRPr lang="en-US"/>
          </a:p>
        </p:txBody>
      </p:sp>
      <p:sp>
        <p:nvSpPr>
          <p:cNvPr id="15" name="Plassholder for innhold 2">
            <a:extLst>
              <a:ext uri="{FF2B5EF4-FFF2-40B4-BE49-F238E27FC236}">
                <a16:creationId xmlns:a16="http://schemas.microsoft.com/office/drawing/2014/main" id="{B92F5BEF-BA13-4B07-B1C3-54D5944F4327}"/>
              </a:ext>
            </a:extLst>
          </p:cNvPr>
          <p:cNvSpPr>
            <a:spLocks noGrp="1"/>
          </p:cNvSpPr>
          <p:nvPr>
            <p:ph idx="1" hasCustomPrompt="1"/>
          </p:nvPr>
        </p:nvSpPr>
        <p:spPr>
          <a:xfrm>
            <a:off x="432054" y="945556"/>
            <a:ext cx="4049934" cy="3744000"/>
          </a:xfrm>
        </p:spPr>
        <p:txBody>
          <a:bodyPr/>
          <a:lstStyle>
            <a:lvl1pPr marL="180000" indent="-180000">
              <a:lnSpc>
                <a:spcPct val="114000"/>
              </a:lnSpc>
              <a:spcBef>
                <a:spcPts val="400"/>
              </a:spcBef>
              <a:defRPr/>
            </a:lvl1pPr>
            <a:lvl2pPr marL="649800" indent="-180000">
              <a:lnSpc>
                <a:spcPct val="114000"/>
              </a:lnSpc>
              <a:spcBef>
                <a:spcPts val="400"/>
              </a:spcBef>
              <a:defRPr/>
            </a:lvl2pPr>
            <a:lvl3pPr>
              <a:lnSpc>
                <a:spcPct val="114000"/>
              </a:lnSpc>
              <a:spcBef>
                <a:spcPts val="400"/>
              </a:spcBef>
              <a:defRPr/>
            </a:lvl3pPr>
            <a:lvl4pPr>
              <a:lnSpc>
                <a:spcPct val="114000"/>
              </a:lnSpc>
              <a:spcBef>
                <a:spcPts val="400"/>
              </a:spcBef>
              <a:defRPr/>
            </a:lvl4pPr>
            <a:lvl5pPr>
              <a:lnSpc>
                <a:spcPct val="114000"/>
              </a:lnSpc>
              <a:spcBef>
                <a:spcPts val="4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6" name="Plassholder for innhold 2">
            <a:extLst>
              <a:ext uri="{FF2B5EF4-FFF2-40B4-BE49-F238E27FC236}">
                <a16:creationId xmlns:a16="http://schemas.microsoft.com/office/drawing/2014/main" id="{62BCF2DF-85D5-4CCE-8F4B-0A157A83932A}"/>
              </a:ext>
            </a:extLst>
          </p:cNvPr>
          <p:cNvSpPr>
            <a:spLocks noGrp="1"/>
          </p:cNvSpPr>
          <p:nvPr>
            <p:ph idx="19" hasCustomPrompt="1"/>
          </p:nvPr>
        </p:nvSpPr>
        <p:spPr>
          <a:xfrm>
            <a:off x="4662002" y="945556"/>
            <a:ext cx="4049934" cy="3744000"/>
          </a:xfrm>
        </p:spPr>
        <p:txBody>
          <a:bodyPr/>
          <a:lstStyle>
            <a:lvl1pPr marL="180000" indent="-180000">
              <a:lnSpc>
                <a:spcPct val="114000"/>
              </a:lnSpc>
              <a:spcBef>
                <a:spcPts val="400"/>
              </a:spcBef>
              <a:defRPr/>
            </a:lvl1pPr>
            <a:lvl2pPr marL="649800" indent="-180000">
              <a:lnSpc>
                <a:spcPct val="114000"/>
              </a:lnSpc>
              <a:spcBef>
                <a:spcPts val="400"/>
              </a:spcBef>
              <a:defRPr/>
            </a:lvl2pPr>
            <a:lvl3pPr>
              <a:lnSpc>
                <a:spcPct val="114000"/>
              </a:lnSpc>
              <a:spcBef>
                <a:spcPts val="400"/>
              </a:spcBef>
              <a:defRPr/>
            </a:lvl3pPr>
            <a:lvl4pPr>
              <a:lnSpc>
                <a:spcPct val="114000"/>
              </a:lnSpc>
              <a:spcBef>
                <a:spcPts val="400"/>
              </a:spcBef>
              <a:defRPr/>
            </a:lvl4pPr>
            <a:lvl5pPr>
              <a:lnSpc>
                <a:spcPct val="114000"/>
              </a:lnSpc>
              <a:spcBef>
                <a:spcPts val="4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518853"/>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content and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14B48E-00B1-4390-A051-AB8767D1D2C1}"/>
              </a:ext>
            </a:extLst>
          </p:cNvPr>
          <p:cNvGraphicFramePr>
            <a:graphicFrameLocks noChangeAspect="1"/>
          </p:cNvGraphicFramePr>
          <p:nvPr userDrawn="1">
            <p:custDataLst>
              <p:tags r:id="rId2"/>
            </p:custDataLst>
            <p:extLst>
              <p:ext uri="{D42A27DB-BD31-4B8C-83A1-F6EECF244321}">
                <p14:modId xmlns:p14="http://schemas.microsoft.com/office/powerpoint/2010/main" val="2724868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5" imgW="353" imgH="353" progId="TCLayout.ActiveDocument.1">
                  <p:embed/>
                </p:oleObj>
              </mc:Choice>
              <mc:Fallback>
                <p:oleObj name="think-cell Slide" r:id="rId5" imgW="353" imgH="353" progId="TCLayout.ActiveDocument.1">
                  <p:embed/>
                  <p:pic>
                    <p:nvPicPr>
                      <p:cNvPr id="4" name="Object 3" hidden="1">
                        <a:extLst>
                          <a:ext uri="{FF2B5EF4-FFF2-40B4-BE49-F238E27FC236}">
                            <a16:creationId xmlns:a16="http://schemas.microsoft.com/office/drawing/2014/main" id="{D114B48E-00B1-4390-A051-AB8767D1D2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B54327C-4A34-4392-9AD7-03EC0C3552B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Lato Regular"/>
              <a:ea typeface="+mj-ea"/>
              <a:cs typeface="+mj-cs"/>
              <a:sym typeface="Lato Regular"/>
            </a:endParaRPr>
          </a:p>
        </p:txBody>
      </p:sp>
      <p:sp>
        <p:nvSpPr>
          <p:cNvPr id="14" name="Picture Placeholder 13">
            <a:extLst>
              <a:ext uri="{FF2B5EF4-FFF2-40B4-BE49-F238E27FC236}">
                <a16:creationId xmlns:a16="http://schemas.microsoft.com/office/drawing/2014/main" id="{96D41E89-A505-2A40-AECA-2910C192C427}"/>
              </a:ext>
            </a:extLst>
          </p:cNvPr>
          <p:cNvSpPr>
            <a:spLocks noGrp="1"/>
          </p:cNvSpPr>
          <p:nvPr>
            <p:ph type="pic" sz="quarter" idx="13"/>
          </p:nvPr>
        </p:nvSpPr>
        <p:spPr>
          <a:xfrm>
            <a:off x="5883018" y="946231"/>
            <a:ext cx="2828925" cy="3743325"/>
          </a:xfrm>
          <a:blipFill>
            <a:blip r:embed="rId7"/>
            <a:stretch>
              <a:fillRect/>
            </a:stretch>
          </a:blipFill>
        </p:spPr>
        <p:txBody>
          <a:bodyPr/>
          <a:lstStyle/>
          <a:p>
            <a:r>
              <a:rPr lang="en-US"/>
              <a:t>Click icon to add picture</a:t>
            </a:r>
          </a:p>
        </p:txBody>
      </p:sp>
      <p:sp>
        <p:nvSpPr>
          <p:cNvPr id="2" name="Tittel 1">
            <a:extLst>
              <a:ext uri="{FF2B5EF4-FFF2-40B4-BE49-F238E27FC236}">
                <a16:creationId xmlns:a16="http://schemas.microsoft.com/office/drawing/2014/main" id="{0FF6FEFA-85E3-4847-ADA3-CF862C656FA4}"/>
              </a:ext>
            </a:extLst>
          </p:cNvPr>
          <p:cNvSpPr>
            <a:spLocks noGrp="1"/>
          </p:cNvSpPr>
          <p:nvPr>
            <p:ph type="title" hasCustomPrompt="1"/>
          </p:nvPr>
        </p:nvSpPr>
        <p:spPr>
          <a:xfrm>
            <a:off x="432055" y="379643"/>
            <a:ext cx="8281035" cy="307777"/>
          </a:xfrm>
        </p:spPr>
        <p:txBody>
          <a:bodyPr/>
          <a:lstStyle>
            <a:lvl1pPr>
              <a:defRPr/>
            </a:lvl1pPr>
          </a:lstStyle>
          <a:p>
            <a:r>
              <a:rPr lang="en-US"/>
              <a:t>Click to add title</a:t>
            </a:r>
          </a:p>
        </p:txBody>
      </p:sp>
      <p:sp>
        <p:nvSpPr>
          <p:cNvPr id="7" name="Plassholder for dato 6">
            <a:extLst>
              <a:ext uri="{FF2B5EF4-FFF2-40B4-BE49-F238E27FC236}">
                <a16:creationId xmlns:a16="http://schemas.microsoft.com/office/drawing/2014/main" id="{323FE085-E4D4-46C0-993A-931CBC0A2C2E}"/>
              </a:ext>
            </a:extLst>
          </p:cNvPr>
          <p:cNvSpPr>
            <a:spLocks noGrp="1"/>
          </p:cNvSpPr>
          <p:nvPr>
            <p:ph type="dt" sz="half" idx="14"/>
          </p:nvPr>
        </p:nvSpPr>
        <p:spPr/>
        <p:txBody>
          <a:bodyPr/>
          <a:lstStyle/>
          <a:p>
            <a:fld id="{58970512-AFCF-461A-ACB5-D6A6EB013EA8}" type="datetime1">
              <a:rPr lang="en-US" smtClean="0"/>
              <a:pPr/>
              <a:t>4/11/21</a:t>
            </a:fld>
            <a:endParaRPr lang="en-US"/>
          </a:p>
        </p:txBody>
      </p:sp>
      <p:sp>
        <p:nvSpPr>
          <p:cNvPr id="8" name="Plassholder for bunntekst 7">
            <a:extLst>
              <a:ext uri="{FF2B5EF4-FFF2-40B4-BE49-F238E27FC236}">
                <a16:creationId xmlns:a16="http://schemas.microsoft.com/office/drawing/2014/main" id="{F3A59548-0F70-47CC-8AA0-8E34F005B107}"/>
              </a:ext>
            </a:extLst>
          </p:cNvPr>
          <p:cNvSpPr>
            <a:spLocks noGrp="1"/>
          </p:cNvSpPr>
          <p:nvPr>
            <p:ph type="ftr" sz="quarter" idx="15"/>
          </p:nvPr>
        </p:nvSpPr>
        <p:spPr/>
        <p:txBody>
          <a:bodyPr/>
          <a:lstStyle/>
          <a:p>
            <a:r>
              <a:rPr lang="en-US"/>
              <a:t>/  Footer</a:t>
            </a:r>
          </a:p>
        </p:txBody>
      </p:sp>
      <p:sp>
        <p:nvSpPr>
          <p:cNvPr id="9" name="Plassholder for lysbildenummer 8">
            <a:extLst>
              <a:ext uri="{FF2B5EF4-FFF2-40B4-BE49-F238E27FC236}">
                <a16:creationId xmlns:a16="http://schemas.microsoft.com/office/drawing/2014/main" id="{BD818339-1546-4178-8B9B-25A3DE1F751A}"/>
              </a:ext>
            </a:extLst>
          </p:cNvPr>
          <p:cNvSpPr>
            <a:spLocks noGrp="1"/>
          </p:cNvSpPr>
          <p:nvPr>
            <p:ph type="sldNum" sz="quarter" idx="16"/>
          </p:nvPr>
        </p:nvSpPr>
        <p:spPr/>
        <p:txBody>
          <a:bodyPr/>
          <a:lstStyle/>
          <a:p>
            <a:fld id="{7BE74CFF-2C60-4519-94DA-E8FC82378F73}" type="slidenum">
              <a:rPr lang="en-US" smtClean="0"/>
              <a:pPr/>
              <a:t>‹#›</a:t>
            </a:fld>
            <a:endParaRPr lang="en-US"/>
          </a:p>
        </p:txBody>
      </p:sp>
      <p:sp>
        <p:nvSpPr>
          <p:cNvPr id="11" name="Plassholder for innhold 2">
            <a:extLst>
              <a:ext uri="{FF2B5EF4-FFF2-40B4-BE49-F238E27FC236}">
                <a16:creationId xmlns:a16="http://schemas.microsoft.com/office/drawing/2014/main" id="{803AEB5F-D174-4F09-B1BE-9398BE748009}"/>
              </a:ext>
            </a:extLst>
          </p:cNvPr>
          <p:cNvSpPr>
            <a:spLocks noGrp="1"/>
          </p:cNvSpPr>
          <p:nvPr>
            <p:ph idx="17" hasCustomPrompt="1"/>
          </p:nvPr>
        </p:nvSpPr>
        <p:spPr>
          <a:xfrm>
            <a:off x="432053" y="945556"/>
            <a:ext cx="5270941" cy="3744000"/>
          </a:xfrm>
        </p:spPr>
        <p:txBody>
          <a:bodyPr/>
          <a:lstStyle>
            <a:lvl1pPr marL="180000" indent="-180000">
              <a:lnSpc>
                <a:spcPct val="114000"/>
              </a:lnSpc>
              <a:spcBef>
                <a:spcPts val="400"/>
              </a:spcBef>
              <a:defRPr/>
            </a:lvl1pPr>
            <a:lvl2pPr marL="649800" indent="-180000">
              <a:lnSpc>
                <a:spcPct val="114000"/>
              </a:lnSpc>
              <a:spcBef>
                <a:spcPts val="400"/>
              </a:spcBef>
              <a:defRPr/>
            </a:lvl2pPr>
            <a:lvl3pPr>
              <a:lnSpc>
                <a:spcPct val="114000"/>
              </a:lnSpc>
              <a:spcBef>
                <a:spcPts val="400"/>
              </a:spcBef>
              <a:defRPr/>
            </a:lvl3pPr>
            <a:lvl4pPr>
              <a:lnSpc>
                <a:spcPct val="114000"/>
              </a:lnSpc>
              <a:spcBef>
                <a:spcPts val="400"/>
              </a:spcBef>
              <a:defRPr/>
            </a:lvl4pPr>
            <a:lvl5pPr>
              <a:lnSpc>
                <a:spcPct val="114000"/>
              </a:lnSpc>
              <a:spcBef>
                <a:spcPts val="4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91956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content and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B80326-68FB-4111-9CA1-CA45AD716B99}"/>
              </a:ext>
            </a:extLst>
          </p:cNvPr>
          <p:cNvGraphicFramePr>
            <a:graphicFrameLocks noChangeAspect="1"/>
          </p:cNvGraphicFramePr>
          <p:nvPr userDrawn="1">
            <p:custDataLst>
              <p:tags r:id="rId2"/>
            </p:custDataLst>
            <p:extLst>
              <p:ext uri="{D42A27DB-BD31-4B8C-83A1-F6EECF244321}">
                <p14:modId xmlns:p14="http://schemas.microsoft.com/office/powerpoint/2010/main" val="57653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Slide" r:id="rId5" imgW="353" imgH="353" progId="TCLayout.ActiveDocument.1">
                  <p:embed/>
                </p:oleObj>
              </mc:Choice>
              <mc:Fallback>
                <p:oleObj name="think-cell Slide" r:id="rId5" imgW="353" imgH="353" progId="TCLayout.ActiveDocument.1">
                  <p:embed/>
                  <p:pic>
                    <p:nvPicPr>
                      <p:cNvPr id="7" name="Object 6" hidden="1">
                        <a:extLst>
                          <a:ext uri="{FF2B5EF4-FFF2-40B4-BE49-F238E27FC236}">
                            <a16:creationId xmlns:a16="http://schemas.microsoft.com/office/drawing/2014/main" id="{B5B80326-68FB-4111-9CA1-CA45AD716B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BCB4D5-DF38-42FF-8594-A0BD3ED93D1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Lato Regular"/>
              <a:ea typeface="+mj-ea"/>
              <a:cs typeface="+mj-cs"/>
              <a:sym typeface="Lato Regular"/>
            </a:endParaRPr>
          </a:p>
        </p:txBody>
      </p:sp>
      <p:sp>
        <p:nvSpPr>
          <p:cNvPr id="12" name="Picture Placeholder 7">
            <a:extLst>
              <a:ext uri="{FF2B5EF4-FFF2-40B4-BE49-F238E27FC236}">
                <a16:creationId xmlns:a16="http://schemas.microsoft.com/office/drawing/2014/main" id="{84619AF8-ED8A-4D56-854C-BC9947D263B8}"/>
              </a:ext>
            </a:extLst>
          </p:cNvPr>
          <p:cNvSpPr>
            <a:spLocks noGrp="1"/>
          </p:cNvSpPr>
          <p:nvPr>
            <p:ph type="pic" sz="quarter" idx="13"/>
          </p:nvPr>
        </p:nvSpPr>
        <p:spPr>
          <a:xfrm>
            <a:off x="5883018" y="946231"/>
            <a:ext cx="2828925" cy="3743325"/>
          </a:xfrm>
          <a:blipFill>
            <a:blip r:embed="rId7"/>
            <a:stretch>
              <a:fillRect/>
            </a:stretch>
          </a:blipFill>
        </p:spPr>
        <p:txBody>
          <a:bodyPr/>
          <a:lstStyle/>
          <a:p>
            <a:r>
              <a:rPr lang="en-US"/>
              <a:t>Click icon to add picture</a:t>
            </a:r>
          </a:p>
        </p:txBody>
      </p:sp>
      <p:sp>
        <p:nvSpPr>
          <p:cNvPr id="2" name="Tittel 1">
            <a:extLst>
              <a:ext uri="{FF2B5EF4-FFF2-40B4-BE49-F238E27FC236}">
                <a16:creationId xmlns:a16="http://schemas.microsoft.com/office/drawing/2014/main" id="{0FF6FEFA-85E3-4847-ADA3-CF862C656FA4}"/>
              </a:ext>
            </a:extLst>
          </p:cNvPr>
          <p:cNvSpPr>
            <a:spLocks noGrp="1"/>
          </p:cNvSpPr>
          <p:nvPr>
            <p:ph type="title" hasCustomPrompt="1"/>
          </p:nvPr>
        </p:nvSpPr>
        <p:spPr>
          <a:xfrm>
            <a:off x="432055" y="379643"/>
            <a:ext cx="8281035" cy="307777"/>
          </a:xfrm>
        </p:spPr>
        <p:txBody>
          <a:bodyPr/>
          <a:lstStyle>
            <a:lvl1pPr>
              <a:defRPr/>
            </a:lvl1pPr>
          </a:lstStyle>
          <a:p>
            <a:r>
              <a:rPr lang="en-US"/>
              <a:t>Click to add title</a:t>
            </a:r>
          </a:p>
        </p:txBody>
      </p:sp>
      <p:sp>
        <p:nvSpPr>
          <p:cNvPr id="4" name="Plassholder for dato 3">
            <a:extLst>
              <a:ext uri="{FF2B5EF4-FFF2-40B4-BE49-F238E27FC236}">
                <a16:creationId xmlns:a16="http://schemas.microsoft.com/office/drawing/2014/main" id="{78953844-A795-4DEA-BECE-BBC5135B345F}"/>
              </a:ext>
            </a:extLst>
          </p:cNvPr>
          <p:cNvSpPr>
            <a:spLocks noGrp="1"/>
          </p:cNvSpPr>
          <p:nvPr>
            <p:ph type="dt" sz="half" idx="14"/>
          </p:nvPr>
        </p:nvSpPr>
        <p:spPr/>
        <p:txBody>
          <a:bodyPr/>
          <a:lstStyle/>
          <a:p>
            <a:fld id="{58970512-AFCF-461A-ACB5-D6A6EB013EA8}" type="datetime1">
              <a:rPr lang="en-US" smtClean="0"/>
              <a:pPr/>
              <a:t>4/11/21</a:t>
            </a:fld>
            <a:endParaRPr lang="en-US"/>
          </a:p>
        </p:txBody>
      </p:sp>
      <p:sp>
        <p:nvSpPr>
          <p:cNvPr id="5" name="Plassholder for bunntekst 4">
            <a:extLst>
              <a:ext uri="{FF2B5EF4-FFF2-40B4-BE49-F238E27FC236}">
                <a16:creationId xmlns:a16="http://schemas.microsoft.com/office/drawing/2014/main" id="{0450FFB5-B8EA-4941-AD35-8836BC486FDC}"/>
              </a:ext>
            </a:extLst>
          </p:cNvPr>
          <p:cNvSpPr>
            <a:spLocks noGrp="1"/>
          </p:cNvSpPr>
          <p:nvPr>
            <p:ph type="ftr" sz="quarter" idx="15"/>
          </p:nvPr>
        </p:nvSpPr>
        <p:spPr/>
        <p:txBody>
          <a:bodyPr/>
          <a:lstStyle/>
          <a:p>
            <a:r>
              <a:rPr lang="en-US"/>
              <a:t>/  Footer</a:t>
            </a:r>
          </a:p>
        </p:txBody>
      </p:sp>
      <p:sp>
        <p:nvSpPr>
          <p:cNvPr id="6" name="Plassholder for lysbildenummer 5">
            <a:extLst>
              <a:ext uri="{FF2B5EF4-FFF2-40B4-BE49-F238E27FC236}">
                <a16:creationId xmlns:a16="http://schemas.microsoft.com/office/drawing/2014/main" id="{5FFDD412-7811-4AC1-ACB0-D9AB188D3AEC}"/>
              </a:ext>
            </a:extLst>
          </p:cNvPr>
          <p:cNvSpPr>
            <a:spLocks noGrp="1"/>
          </p:cNvSpPr>
          <p:nvPr>
            <p:ph type="sldNum" sz="quarter" idx="16"/>
          </p:nvPr>
        </p:nvSpPr>
        <p:spPr/>
        <p:txBody>
          <a:bodyPr/>
          <a:lstStyle/>
          <a:p>
            <a:fld id="{7BE74CFF-2C60-4519-94DA-E8FC82378F73}" type="slidenum">
              <a:rPr lang="en-US" smtClean="0"/>
              <a:pPr/>
              <a:t>‹#›</a:t>
            </a:fld>
            <a:endParaRPr lang="en-US"/>
          </a:p>
        </p:txBody>
      </p:sp>
      <p:sp>
        <p:nvSpPr>
          <p:cNvPr id="8" name="Plassholder for innhold 2">
            <a:extLst>
              <a:ext uri="{FF2B5EF4-FFF2-40B4-BE49-F238E27FC236}">
                <a16:creationId xmlns:a16="http://schemas.microsoft.com/office/drawing/2014/main" id="{06B2F288-1296-46E1-A80F-C1AB559EAC61}"/>
              </a:ext>
            </a:extLst>
          </p:cNvPr>
          <p:cNvSpPr>
            <a:spLocks noGrp="1"/>
          </p:cNvSpPr>
          <p:nvPr>
            <p:ph idx="17" hasCustomPrompt="1"/>
          </p:nvPr>
        </p:nvSpPr>
        <p:spPr>
          <a:xfrm>
            <a:off x="432053" y="945556"/>
            <a:ext cx="5270941" cy="3744000"/>
          </a:xfrm>
        </p:spPr>
        <p:txBody>
          <a:bodyPr/>
          <a:lstStyle>
            <a:lvl1pPr marL="180000" indent="-180000">
              <a:lnSpc>
                <a:spcPct val="114000"/>
              </a:lnSpc>
              <a:spcBef>
                <a:spcPts val="400"/>
              </a:spcBef>
              <a:defRPr/>
            </a:lvl1pPr>
            <a:lvl2pPr marL="649800" indent="-180000">
              <a:lnSpc>
                <a:spcPct val="114000"/>
              </a:lnSpc>
              <a:spcBef>
                <a:spcPts val="400"/>
              </a:spcBef>
              <a:defRPr/>
            </a:lvl2pPr>
            <a:lvl3pPr>
              <a:lnSpc>
                <a:spcPct val="114000"/>
              </a:lnSpc>
              <a:spcBef>
                <a:spcPts val="400"/>
              </a:spcBef>
              <a:defRPr/>
            </a:lvl3pPr>
            <a:lvl4pPr>
              <a:lnSpc>
                <a:spcPct val="114000"/>
              </a:lnSpc>
              <a:spcBef>
                <a:spcPts val="400"/>
              </a:spcBef>
              <a:defRPr/>
            </a:lvl4pPr>
            <a:lvl5pPr>
              <a:lnSpc>
                <a:spcPct val="114000"/>
              </a:lnSpc>
              <a:spcBef>
                <a:spcPts val="4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9923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content and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0B8AA9-CD89-43E7-BC10-DFE0A3ABD95E}"/>
              </a:ext>
            </a:extLst>
          </p:cNvPr>
          <p:cNvGraphicFramePr>
            <a:graphicFrameLocks noChangeAspect="1"/>
          </p:cNvGraphicFramePr>
          <p:nvPr userDrawn="1">
            <p:custDataLst>
              <p:tags r:id="rId2"/>
            </p:custDataLst>
            <p:extLst>
              <p:ext uri="{D42A27DB-BD31-4B8C-83A1-F6EECF244321}">
                <p14:modId xmlns:p14="http://schemas.microsoft.com/office/powerpoint/2010/main" val="796563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 name="think-cell Slide" r:id="rId5" imgW="353" imgH="353" progId="TCLayout.ActiveDocument.1">
                  <p:embed/>
                </p:oleObj>
              </mc:Choice>
              <mc:Fallback>
                <p:oleObj name="think-cell Slide" r:id="rId5" imgW="353" imgH="353" progId="TCLayout.ActiveDocument.1">
                  <p:embed/>
                  <p:pic>
                    <p:nvPicPr>
                      <p:cNvPr id="4" name="Object 3" hidden="1">
                        <a:extLst>
                          <a:ext uri="{FF2B5EF4-FFF2-40B4-BE49-F238E27FC236}">
                            <a16:creationId xmlns:a16="http://schemas.microsoft.com/office/drawing/2014/main" id="{480B8AA9-CD89-43E7-BC10-DFE0A3ABD9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9BA096-91F9-4ACB-8DEA-19820DFAD15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Lato Regular"/>
              <a:ea typeface="+mj-ea"/>
              <a:cs typeface="+mj-cs"/>
              <a:sym typeface="Lato Regular"/>
            </a:endParaRPr>
          </a:p>
        </p:txBody>
      </p:sp>
      <p:sp>
        <p:nvSpPr>
          <p:cNvPr id="10" name="Picture Placeholder 7">
            <a:extLst>
              <a:ext uri="{FF2B5EF4-FFF2-40B4-BE49-F238E27FC236}">
                <a16:creationId xmlns:a16="http://schemas.microsoft.com/office/drawing/2014/main" id="{B15E57FA-0CC9-4008-B748-9E9334E6FCAB}"/>
              </a:ext>
            </a:extLst>
          </p:cNvPr>
          <p:cNvSpPr>
            <a:spLocks noGrp="1"/>
          </p:cNvSpPr>
          <p:nvPr>
            <p:ph type="pic" sz="quarter" idx="13"/>
          </p:nvPr>
        </p:nvSpPr>
        <p:spPr>
          <a:xfrm>
            <a:off x="5883018" y="946231"/>
            <a:ext cx="2828925" cy="3743325"/>
          </a:xfrm>
          <a:blipFill>
            <a:blip r:embed="rId7"/>
            <a:stretch>
              <a:fillRect/>
            </a:stretch>
          </a:blipFill>
        </p:spPr>
        <p:txBody>
          <a:bodyPr/>
          <a:lstStyle/>
          <a:p>
            <a:r>
              <a:rPr lang="en-US"/>
              <a:t>Click icon to add picture</a:t>
            </a:r>
          </a:p>
        </p:txBody>
      </p:sp>
      <p:sp>
        <p:nvSpPr>
          <p:cNvPr id="2" name="Tittel 1">
            <a:extLst>
              <a:ext uri="{FF2B5EF4-FFF2-40B4-BE49-F238E27FC236}">
                <a16:creationId xmlns:a16="http://schemas.microsoft.com/office/drawing/2014/main" id="{0FF6FEFA-85E3-4847-ADA3-CF862C656FA4}"/>
              </a:ext>
            </a:extLst>
          </p:cNvPr>
          <p:cNvSpPr>
            <a:spLocks noGrp="1"/>
          </p:cNvSpPr>
          <p:nvPr>
            <p:ph type="title" hasCustomPrompt="1"/>
          </p:nvPr>
        </p:nvSpPr>
        <p:spPr>
          <a:xfrm>
            <a:off x="432055" y="379643"/>
            <a:ext cx="8281035" cy="307777"/>
          </a:xfrm>
        </p:spPr>
        <p:txBody>
          <a:bodyPr/>
          <a:lstStyle>
            <a:lvl1pPr>
              <a:defRPr/>
            </a:lvl1pPr>
          </a:lstStyle>
          <a:p>
            <a:r>
              <a:rPr lang="en-US"/>
              <a:t>Click to add title</a:t>
            </a:r>
          </a:p>
        </p:txBody>
      </p:sp>
      <p:sp>
        <p:nvSpPr>
          <p:cNvPr id="7" name="Plassholder for dato 6">
            <a:extLst>
              <a:ext uri="{FF2B5EF4-FFF2-40B4-BE49-F238E27FC236}">
                <a16:creationId xmlns:a16="http://schemas.microsoft.com/office/drawing/2014/main" id="{CA9FC052-95A5-4D7A-B237-C435FD38CC79}"/>
              </a:ext>
            </a:extLst>
          </p:cNvPr>
          <p:cNvSpPr>
            <a:spLocks noGrp="1"/>
          </p:cNvSpPr>
          <p:nvPr>
            <p:ph type="dt" sz="half" idx="14"/>
          </p:nvPr>
        </p:nvSpPr>
        <p:spPr/>
        <p:txBody>
          <a:bodyPr/>
          <a:lstStyle/>
          <a:p>
            <a:fld id="{58970512-AFCF-461A-ACB5-D6A6EB013EA8}" type="datetime1">
              <a:rPr lang="en-US" smtClean="0"/>
              <a:pPr/>
              <a:t>4/11/21</a:t>
            </a:fld>
            <a:endParaRPr lang="en-US"/>
          </a:p>
        </p:txBody>
      </p:sp>
      <p:sp>
        <p:nvSpPr>
          <p:cNvPr id="8" name="Plassholder for bunntekst 7">
            <a:extLst>
              <a:ext uri="{FF2B5EF4-FFF2-40B4-BE49-F238E27FC236}">
                <a16:creationId xmlns:a16="http://schemas.microsoft.com/office/drawing/2014/main" id="{1DE8B21B-6E9C-4F15-9CDC-3DFF855E24CC}"/>
              </a:ext>
            </a:extLst>
          </p:cNvPr>
          <p:cNvSpPr>
            <a:spLocks noGrp="1"/>
          </p:cNvSpPr>
          <p:nvPr>
            <p:ph type="ftr" sz="quarter" idx="15"/>
          </p:nvPr>
        </p:nvSpPr>
        <p:spPr/>
        <p:txBody>
          <a:bodyPr/>
          <a:lstStyle/>
          <a:p>
            <a:r>
              <a:rPr lang="en-US"/>
              <a:t>/  Footer</a:t>
            </a:r>
          </a:p>
        </p:txBody>
      </p:sp>
      <p:sp>
        <p:nvSpPr>
          <p:cNvPr id="9" name="Plassholder for lysbildenummer 8">
            <a:extLst>
              <a:ext uri="{FF2B5EF4-FFF2-40B4-BE49-F238E27FC236}">
                <a16:creationId xmlns:a16="http://schemas.microsoft.com/office/drawing/2014/main" id="{4FCD7846-D1C7-4868-83ED-6B04FD4CAFDB}"/>
              </a:ext>
            </a:extLst>
          </p:cNvPr>
          <p:cNvSpPr>
            <a:spLocks noGrp="1"/>
          </p:cNvSpPr>
          <p:nvPr>
            <p:ph type="sldNum" sz="quarter" idx="16"/>
          </p:nvPr>
        </p:nvSpPr>
        <p:spPr/>
        <p:txBody>
          <a:bodyPr/>
          <a:lstStyle/>
          <a:p>
            <a:fld id="{7BE74CFF-2C60-4519-94DA-E8FC82378F73}" type="slidenum">
              <a:rPr lang="en-US" smtClean="0"/>
              <a:pPr/>
              <a:t>‹#›</a:t>
            </a:fld>
            <a:endParaRPr lang="en-US"/>
          </a:p>
        </p:txBody>
      </p:sp>
      <p:sp>
        <p:nvSpPr>
          <p:cNvPr id="11" name="Plassholder for innhold 2">
            <a:extLst>
              <a:ext uri="{FF2B5EF4-FFF2-40B4-BE49-F238E27FC236}">
                <a16:creationId xmlns:a16="http://schemas.microsoft.com/office/drawing/2014/main" id="{D535F092-46FD-4994-A55B-B0C8992058C5}"/>
              </a:ext>
            </a:extLst>
          </p:cNvPr>
          <p:cNvSpPr>
            <a:spLocks noGrp="1"/>
          </p:cNvSpPr>
          <p:nvPr>
            <p:ph idx="17" hasCustomPrompt="1"/>
          </p:nvPr>
        </p:nvSpPr>
        <p:spPr>
          <a:xfrm>
            <a:off x="432053" y="945556"/>
            <a:ext cx="5270941" cy="3744000"/>
          </a:xfrm>
        </p:spPr>
        <p:txBody>
          <a:bodyPr/>
          <a:lstStyle>
            <a:lvl1pPr marL="180000" indent="-180000">
              <a:lnSpc>
                <a:spcPct val="114000"/>
              </a:lnSpc>
              <a:spcBef>
                <a:spcPts val="400"/>
              </a:spcBef>
              <a:defRPr/>
            </a:lvl1pPr>
            <a:lvl2pPr marL="649800" indent="-180000">
              <a:lnSpc>
                <a:spcPct val="114000"/>
              </a:lnSpc>
              <a:spcBef>
                <a:spcPts val="400"/>
              </a:spcBef>
              <a:defRPr/>
            </a:lvl2pPr>
            <a:lvl3pPr>
              <a:lnSpc>
                <a:spcPct val="114000"/>
              </a:lnSpc>
              <a:spcBef>
                <a:spcPts val="400"/>
              </a:spcBef>
              <a:defRPr/>
            </a:lvl3pPr>
            <a:lvl4pPr>
              <a:lnSpc>
                <a:spcPct val="114000"/>
              </a:lnSpc>
              <a:spcBef>
                <a:spcPts val="400"/>
              </a:spcBef>
              <a:defRPr/>
            </a:lvl4pPr>
            <a:lvl5pPr>
              <a:lnSpc>
                <a:spcPct val="114000"/>
              </a:lnSpc>
              <a:spcBef>
                <a:spcPts val="4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84096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Divider Grafite grey">
    <p:bg>
      <p:bgPr>
        <a:solidFill>
          <a:srgbClr val="4D4F5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8A5CCBC-858C-4C91-89CE-B381C2F4F258}"/>
              </a:ext>
            </a:extLst>
          </p:cNvPr>
          <p:cNvGraphicFramePr>
            <a:graphicFrameLocks noChangeAspect="1"/>
          </p:cNvGraphicFramePr>
          <p:nvPr userDrawn="1">
            <p:custDataLst>
              <p:tags r:id="rId2"/>
            </p:custDataLst>
            <p:extLst>
              <p:ext uri="{D42A27DB-BD31-4B8C-83A1-F6EECF244321}">
                <p14:modId xmlns:p14="http://schemas.microsoft.com/office/powerpoint/2010/main" val="377429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 name="think-cell Slide" r:id="rId5" imgW="353" imgH="353" progId="TCLayout.ActiveDocument.1">
                  <p:embed/>
                </p:oleObj>
              </mc:Choice>
              <mc:Fallback>
                <p:oleObj name="think-cell Slide" r:id="rId5" imgW="353" imgH="353" progId="TCLayout.ActiveDocument.1">
                  <p:embed/>
                  <p:pic>
                    <p:nvPicPr>
                      <p:cNvPr id="8" name="Object 7" hidden="1">
                        <a:extLst>
                          <a:ext uri="{FF2B5EF4-FFF2-40B4-BE49-F238E27FC236}">
                            <a16:creationId xmlns:a16="http://schemas.microsoft.com/office/drawing/2014/main" id="{38A5CCBC-858C-4C91-89CE-B381C2F4F2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9F5FFE-ED19-4592-A186-457C7DFCDF9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Lato Light" panose="020F0302020204030203"/>
              <a:ea typeface="+mj-ea"/>
              <a:cs typeface="+mj-cs"/>
              <a:sym typeface="Lato Light" panose="020F0302020204030203"/>
            </a:endParaRPr>
          </a:p>
        </p:txBody>
      </p:sp>
      <p:sp>
        <p:nvSpPr>
          <p:cNvPr id="2" name="Tittel 1">
            <a:extLst>
              <a:ext uri="{FF2B5EF4-FFF2-40B4-BE49-F238E27FC236}">
                <a16:creationId xmlns:a16="http://schemas.microsoft.com/office/drawing/2014/main" id="{9C9834CB-8B2A-44D7-9462-5E3A17290998}"/>
              </a:ext>
            </a:extLst>
          </p:cNvPr>
          <p:cNvSpPr>
            <a:spLocks noGrp="1"/>
          </p:cNvSpPr>
          <p:nvPr>
            <p:ph type="title" hasCustomPrompt="1"/>
          </p:nvPr>
        </p:nvSpPr>
        <p:spPr>
          <a:xfrm>
            <a:off x="864108" y="2150183"/>
            <a:ext cx="6858857" cy="492443"/>
          </a:xfrm>
        </p:spPr>
        <p:txBody>
          <a:bodyPr wrap="square" anchor="b">
            <a:spAutoFit/>
          </a:bodyPr>
          <a:lstStyle>
            <a:lvl1pPr>
              <a:lnSpc>
                <a:spcPct val="100000"/>
              </a:lnSpc>
              <a:defRPr sz="3200">
                <a:solidFill>
                  <a:schemeClr val="lt1"/>
                </a:solidFill>
                <a:latin typeface="Lato Light" panose="020F0302020204030203" pitchFamily="34" charset="0"/>
              </a:defRPr>
            </a:lvl1pPr>
          </a:lstStyle>
          <a:p>
            <a:r>
              <a:rPr lang="en-US"/>
              <a:t>Click to add title</a:t>
            </a:r>
          </a:p>
        </p:txBody>
      </p:sp>
      <p:sp>
        <p:nvSpPr>
          <p:cNvPr id="3" name="Plassholder for tekst 2">
            <a:extLst>
              <a:ext uri="{FF2B5EF4-FFF2-40B4-BE49-F238E27FC236}">
                <a16:creationId xmlns:a16="http://schemas.microsoft.com/office/drawing/2014/main" id="{824E6BC0-412B-446A-82FC-A7B3372A72BF}"/>
              </a:ext>
            </a:extLst>
          </p:cNvPr>
          <p:cNvSpPr>
            <a:spLocks noGrp="1"/>
          </p:cNvSpPr>
          <p:nvPr>
            <p:ph type="body" idx="1" hasCustomPrompt="1"/>
          </p:nvPr>
        </p:nvSpPr>
        <p:spPr>
          <a:xfrm>
            <a:off x="864108" y="2815272"/>
            <a:ext cx="6858857" cy="261610"/>
          </a:xfrm>
        </p:spPr>
        <p:txBody>
          <a:bodyPr wrap="square">
            <a:spAutoFit/>
          </a:bodyPr>
          <a:lstStyle>
            <a:lvl1pPr marL="0" indent="0">
              <a:lnSpc>
                <a:spcPct val="100000"/>
              </a:lnSpc>
              <a:spcBef>
                <a:spcPts val="0"/>
              </a:spcBef>
              <a:buNone/>
              <a:defRPr sz="1700">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ext</a:t>
            </a:r>
          </a:p>
        </p:txBody>
      </p:sp>
      <p:pic>
        <p:nvPicPr>
          <p:cNvPr id="15" name="Bilde 14">
            <a:extLst>
              <a:ext uri="{FF2B5EF4-FFF2-40B4-BE49-F238E27FC236}">
                <a16:creationId xmlns:a16="http://schemas.microsoft.com/office/drawing/2014/main" id="{A1372320-D707-499A-B965-8A9690C3690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25403" y="227918"/>
            <a:ext cx="722377" cy="185928"/>
          </a:xfrm>
          <a:prstGeom prst="rect">
            <a:avLst/>
          </a:prstGeom>
        </p:spPr>
      </p:pic>
      <p:sp>
        <p:nvSpPr>
          <p:cNvPr id="4" name="Plassholder for dato 3">
            <a:extLst>
              <a:ext uri="{FF2B5EF4-FFF2-40B4-BE49-F238E27FC236}">
                <a16:creationId xmlns:a16="http://schemas.microsoft.com/office/drawing/2014/main" id="{2C80C2C7-E465-4F8D-8BD0-2C6A507CCBFE}"/>
              </a:ext>
            </a:extLst>
          </p:cNvPr>
          <p:cNvSpPr>
            <a:spLocks noGrp="1"/>
          </p:cNvSpPr>
          <p:nvPr>
            <p:ph type="dt" sz="half" idx="10"/>
          </p:nvPr>
        </p:nvSpPr>
        <p:spPr/>
        <p:txBody>
          <a:bodyPr/>
          <a:lstStyle>
            <a:lvl1pPr>
              <a:defRPr>
                <a:solidFill>
                  <a:schemeClr val="accent3"/>
                </a:solidFill>
              </a:defRPr>
            </a:lvl1pPr>
          </a:lstStyle>
          <a:p>
            <a:fld id="{58970512-AFCF-461A-ACB5-D6A6EB013EA8}" type="datetime1">
              <a:rPr lang="en-US" smtClean="0"/>
              <a:pPr/>
              <a:t>4/11/21</a:t>
            </a:fld>
            <a:endParaRPr lang="en-US"/>
          </a:p>
        </p:txBody>
      </p:sp>
      <p:sp>
        <p:nvSpPr>
          <p:cNvPr id="5" name="Plassholder for bunntekst 4">
            <a:extLst>
              <a:ext uri="{FF2B5EF4-FFF2-40B4-BE49-F238E27FC236}">
                <a16:creationId xmlns:a16="http://schemas.microsoft.com/office/drawing/2014/main" id="{EC768380-EBB6-47BB-917D-113CC78DD6EC}"/>
              </a:ext>
            </a:extLst>
          </p:cNvPr>
          <p:cNvSpPr>
            <a:spLocks noGrp="1"/>
          </p:cNvSpPr>
          <p:nvPr>
            <p:ph type="ftr" sz="quarter" idx="11"/>
          </p:nvPr>
        </p:nvSpPr>
        <p:spPr/>
        <p:txBody>
          <a:bodyPr/>
          <a:lstStyle>
            <a:lvl1pPr>
              <a:defRPr>
                <a:solidFill>
                  <a:schemeClr val="accent3"/>
                </a:solidFill>
              </a:defRPr>
            </a:lvl1pPr>
          </a:lstStyle>
          <a:p>
            <a:r>
              <a:rPr lang="en-US"/>
              <a:t>/  Footer</a:t>
            </a:r>
          </a:p>
        </p:txBody>
      </p:sp>
      <p:sp>
        <p:nvSpPr>
          <p:cNvPr id="6" name="Plassholder for lysbildenummer 5">
            <a:extLst>
              <a:ext uri="{FF2B5EF4-FFF2-40B4-BE49-F238E27FC236}">
                <a16:creationId xmlns:a16="http://schemas.microsoft.com/office/drawing/2014/main" id="{4F2E9E08-4389-4FB8-96C3-3416689B9470}"/>
              </a:ext>
            </a:extLst>
          </p:cNvPr>
          <p:cNvSpPr>
            <a:spLocks noGrp="1"/>
          </p:cNvSpPr>
          <p:nvPr>
            <p:ph type="sldNum" sz="quarter" idx="12"/>
          </p:nvPr>
        </p:nvSpPr>
        <p:spPr/>
        <p:txBody>
          <a:bodyPr/>
          <a:lstStyle>
            <a:lvl1pPr>
              <a:defRPr>
                <a:solidFill>
                  <a:schemeClr val="accent3"/>
                </a:solidFill>
              </a:defRPr>
            </a:lvl1pPr>
          </a:lstStyle>
          <a:p>
            <a:fld id="{7BE74CFF-2C60-4519-94DA-E8FC82378F73}" type="slidenum">
              <a:rPr lang="en-US" smtClean="0"/>
              <a:pPr/>
              <a:t>‹#›</a:t>
            </a:fld>
            <a:endParaRPr lang="en-US"/>
          </a:p>
        </p:txBody>
      </p:sp>
    </p:spTree>
    <p:extLst>
      <p:ext uri="{BB962C8B-B14F-4D97-AF65-F5344CB8AC3E}">
        <p14:creationId xmlns:p14="http://schemas.microsoft.com/office/powerpoint/2010/main" val="11509356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Dusk orange">
    <p:bg>
      <p:bgPr>
        <a:solidFill>
          <a:srgbClr val="E38633"/>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FB601C-DBC6-4779-966A-0C3D963CB550}"/>
              </a:ext>
            </a:extLst>
          </p:cNvPr>
          <p:cNvGraphicFramePr>
            <a:graphicFrameLocks noChangeAspect="1"/>
          </p:cNvGraphicFramePr>
          <p:nvPr userDrawn="1">
            <p:custDataLst>
              <p:tags r:id="rId2"/>
            </p:custDataLst>
            <p:extLst>
              <p:ext uri="{D42A27DB-BD31-4B8C-83A1-F6EECF244321}">
                <p14:modId xmlns:p14="http://schemas.microsoft.com/office/powerpoint/2010/main" val="3482133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a16="http://schemas.microsoft.com/office/drawing/2014/main" id="{BEFB601C-DBC6-4779-966A-0C3D963CB5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AD80B2E-C434-447F-AAE9-1387051C823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a:latin typeface="Lato Light" panose="020F0302020204030203"/>
              <a:ea typeface="+mj-ea"/>
              <a:cs typeface="+mj-cs"/>
              <a:sym typeface="Lato Light" panose="020F0302020204030203"/>
            </a:endParaRPr>
          </a:p>
        </p:txBody>
      </p:sp>
      <p:sp>
        <p:nvSpPr>
          <p:cNvPr id="9" name="Tittel 1">
            <a:extLst>
              <a:ext uri="{FF2B5EF4-FFF2-40B4-BE49-F238E27FC236}">
                <a16:creationId xmlns:a16="http://schemas.microsoft.com/office/drawing/2014/main" id="{254FB740-6CD2-47F1-A4C9-8F8024152DD6}"/>
              </a:ext>
            </a:extLst>
          </p:cNvPr>
          <p:cNvSpPr>
            <a:spLocks noGrp="1"/>
          </p:cNvSpPr>
          <p:nvPr>
            <p:ph type="title" hasCustomPrompt="1"/>
          </p:nvPr>
        </p:nvSpPr>
        <p:spPr>
          <a:xfrm>
            <a:off x="864108" y="2150183"/>
            <a:ext cx="6858857" cy="492443"/>
          </a:xfrm>
        </p:spPr>
        <p:txBody>
          <a:bodyPr wrap="square" anchor="b">
            <a:spAutoFit/>
          </a:bodyPr>
          <a:lstStyle>
            <a:lvl1pPr>
              <a:lnSpc>
                <a:spcPct val="100000"/>
              </a:lnSpc>
              <a:defRPr sz="3200">
                <a:solidFill>
                  <a:schemeClr val="lt1"/>
                </a:solidFill>
                <a:latin typeface="Lato Light" panose="020F0302020204030203" pitchFamily="34" charset="0"/>
              </a:defRPr>
            </a:lvl1pPr>
          </a:lstStyle>
          <a:p>
            <a:r>
              <a:rPr lang="en-US"/>
              <a:t>Click to add title</a:t>
            </a:r>
          </a:p>
        </p:txBody>
      </p:sp>
      <p:sp>
        <p:nvSpPr>
          <p:cNvPr id="10" name="Plassholder for tekst 2">
            <a:extLst>
              <a:ext uri="{FF2B5EF4-FFF2-40B4-BE49-F238E27FC236}">
                <a16:creationId xmlns:a16="http://schemas.microsoft.com/office/drawing/2014/main" id="{6B84BECC-8DB2-4DF2-AD91-C5B3E70F5228}"/>
              </a:ext>
            </a:extLst>
          </p:cNvPr>
          <p:cNvSpPr>
            <a:spLocks noGrp="1"/>
          </p:cNvSpPr>
          <p:nvPr>
            <p:ph type="body" idx="1" hasCustomPrompt="1"/>
          </p:nvPr>
        </p:nvSpPr>
        <p:spPr>
          <a:xfrm>
            <a:off x="864108" y="2815272"/>
            <a:ext cx="6858857" cy="261610"/>
          </a:xfrm>
        </p:spPr>
        <p:txBody>
          <a:bodyPr wrap="square">
            <a:spAutoFit/>
          </a:bodyPr>
          <a:lstStyle>
            <a:lvl1pPr marL="0" indent="0">
              <a:lnSpc>
                <a:spcPct val="100000"/>
              </a:lnSpc>
              <a:spcBef>
                <a:spcPts val="0"/>
              </a:spcBef>
              <a:buNone/>
              <a:defRPr sz="1700">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text</a:t>
            </a:r>
          </a:p>
        </p:txBody>
      </p:sp>
      <p:pic>
        <p:nvPicPr>
          <p:cNvPr id="11" name="Bilde 14">
            <a:extLst>
              <a:ext uri="{FF2B5EF4-FFF2-40B4-BE49-F238E27FC236}">
                <a16:creationId xmlns:a16="http://schemas.microsoft.com/office/drawing/2014/main" id="{E23D5915-7C57-FE45-818B-0D0206F7B19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25403" y="227918"/>
            <a:ext cx="722377" cy="185928"/>
          </a:xfrm>
          <a:prstGeom prst="rect">
            <a:avLst/>
          </a:prstGeom>
        </p:spPr>
      </p:pic>
      <p:sp>
        <p:nvSpPr>
          <p:cNvPr id="2" name="Plassholder for dato 1">
            <a:extLst>
              <a:ext uri="{FF2B5EF4-FFF2-40B4-BE49-F238E27FC236}">
                <a16:creationId xmlns:a16="http://schemas.microsoft.com/office/drawing/2014/main" id="{A9B07001-B174-4D3F-93CC-C9E9E7D38919}"/>
              </a:ext>
            </a:extLst>
          </p:cNvPr>
          <p:cNvSpPr>
            <a:spLocks noGrp="1"/>
          </p:cNvSpPr>
          <p:nvPr>
            <p:ph type="dt" sz="half" idx="10"/>
          </p:nvPr>
        </p:nvSpPr>
        <p:spPr/>
        <p:txBody>
          <a:bodyPr/>
          <a:lstStyle>
            <a:lvl1pPr>
              <a:defRPr>
                <a:solidFill>
                  <a:schemeClr val="accent2"/>
                </a:solidFill>
              </a:defRPr>
            </a:lvl1pPr>
          </a:lstStyle>
          <a:p>
            <a:fld id="{58970512-AFCF-461A-ACB5-D6A6EB013EA8}" type="datetime1">
              <a:rPr lang="en-US" smtClean="0"/>
              <a:pPr/>
              <a:t>4/11/21</a:t>
            </a:fld>
            <a:endParaRPr lang="en-US"/>
          </a:p>
        </p:txBody>
      </p:sp>
      <p:sp>
        <p:nvSpPr>
          <p:cNvPr id="3" name="Plassholder for bunntekst 2">
            <a:extLst>
              <a:ext uri="{FF2B5EF4-FFF2-40B4-BE49-F238E27FC236}">
                <a16:creationId xmlns:a16="http://schemas.microsoft.com/office/drawing/2014/main" id="{8D1198E7-3A04-4D13-97DF-B2D6A28FF7DB}"/>
              </a:ext>
            </a:extLst>
          </p:cNvPr>
          <p:cNvSpPr>
            <a:spLocks noGrp="1"/>
          </p:cNvSpPr>
          <p:nvPr>
            <p:ph type="ftr" sz="quarter" idx="11"/>
          </p:nvPr>
        </p:nvSpPr>
        <p:spPr/>
        <p:txBody>
          <a:bodyPr/>
          <a:lstStyle>
            <a:lvl1pPr>
              <a:defRPr>
                <a:solidFill>
                  <a:schemeClr val="accent2"/>
                </a:solidFill>
              </a:defRPr>
            </a:lvl1pPr>
          </a:lstStyle>
          <a:p>
            <a:r>
              <a:rPr lang="en-US"/>
              <a:t>/  Footer</a:t>
            </a:r>
          </a:p>
        </p:txBody>
      </p:sp>
      <p:sp>
        <p:nvSpPr>
          <p:cNvPr id="4" name="Plassholder for lysbildenummer 3">
            <a:extLst>
              <a:ext uri="{FF2B5EF4-FFF2-40B4-BE49-F238E27FC236}">
                <a16:creationId xmlns:a16="http://schemas.microsoft.com/office/drawing/2014/main" id="{9FA66D06-6E99-41FC-BDD8-D4C7711592A8}"/>
              </a:ext>
            </a:extLst>
          </p:cNvPr>
          <p:cNvSpPr>
            <a:spLocks noGrp="1"/>
          </p:cNvSpPr>
          <p:nvPr>
            <p:ph type="sldNum" sz="quarter" idx="12"/>
          </p:nvPr>
        </p:nvSpPr>
        <p:spPr/>
        <p:txBody>
          <a:bodyPr/>
          <a:lstStyle>
            <a:lvl1pPr>
              <a:defRPr>
                <a:solidFill>
                  <a:schemeClr val="accent2"/>
                </a:solidFill>
              </a:defRPr>
            </a:lvl1pPr>
          </a:lstStyle>
          <a:p>
            <a:fld id="{7BE74CFF-2C60-4519-94DA-E8FC82378F73}" type="slidenum">
              <a:rPr lang="en-US" smtClean="0"/>
              <a:pPr/>
              <a:t>‹#›</a:t>
            </a:fld>
            <a:endParaRPr lang="en-US"/>
          </a:p>
        </p:txBody>
      </p:sp>
    </p:spTree>
    <p:extLst>
      <p:ext uri="{BB962C8B-B14F-4D97-AF65-F5344CB8AC3E}">
        <p14:creationId xmlns:p14="http://schemas.microsoft.com/office/powerpoint/2010/main" val="38812395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CFD448-6678-4ED6-87D0-3970086BE963}"/>
              </a:ext>
            </a:extLst>
          </p:cNvPr>
          <p:cNvGraphicFramePr>
            <a:graphicFrameLocks noChangeAspect="1"/>
          </p:cNvGraphicFramePr>
          <p:nvPr userDrawn="1">
            <p:custDataLst>
              <p:tags r:id="rId2"/>
            </p:custDataLst>
            <p:extLst>
              <p:ext uri="{D42A27DB-BD31-4B8C-83A1-F6EECF244321}">
                <p14:modId xmlns:p14="http://schemas.microsoft.com/office/powerpoint/2010/main" val="1424312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1" name="think-cell Slide" r:id="rId5" imgW="353" imgH="353" progId="TCLayout.ActiveDocument.1">
                  <p:embed/>
                </p:oleObj>
              </mc:Choice>
              <mc:Fallback>
                <p:oleObj name="think-cell Slide" r:id="rId5" imgW="353" imgH="353" progId="TCLayout.ActiveDocument.1">
                  <p:embed/>
                  <p:pic>
                    <p:nvPicPr>
                      <p:cNvPr id="6" name="Object 5" hidden="1">
                        <a:extLst>
                          <a:ext uri="{FF2B5EF4-FFF2-40B4-BE49-F238E27FC236}">
                            <a16:creationId xmlns:a16="http://schemas.microsoft.com/office/drawing/2014/main" id="{57CFD448-6678-4ED6-87D0-3970086BE9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881FB3B-EB6C-42AB-A43D-72E6F09C9BB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Lato Regular"/>
              <a:ea typeface="+mj-ea"/>
              <a:cs typeface="+mj-cs"/>
              <a:sym typeface="Lato Regular"/>
            </a:endParaRPr>
          </a:p>
        </p:txBody>
      </p:sp>
      <p:sp>
        <p:nvSpPr>
          <p:cNvPr id="2" name="Tittel 1">
            <a:extLst>
              <a:ext uri="{FF2B5EF4-FFF2-40B4-BE49-F238E27FC236}">
                <a16:creationId xmlns:a16="http://schemas.microsoft.com/office/drawing/2014/main" id="{92690640-4FE2-4029-BBFC-382BF5F14AA5}"/>
              </a:ext>
            </a:extLst>
          </p:cNvPr>
          <p:cNvSpPr>
            <a:spLocks noGrp="1"/>
          </p:cNvSpPr>
          <p:nvPr>
            <p:ph type="title" hasCustomPrompt="1"/>
          </p:nvPr>
        </p:nvSpPr>
        <p:spPr/>
        <p:txBody>
          <a:bodyPr/>
          <a:lstStyle>
            <a:lvl1pPr>
              <a:defRPr/>
            </a:lvl1pPr>
          </a:lstStyle>
          <a:p>
            <a:r>
              <a:rPr lang="en-US"/>
              <a:t>Click to add TITLE</a:t>
            </a:r>
          </a:p>
        </p:txBody>
      </p:sp>
      <p:sp>
        <p:nvSpPr>
          <p:cNvPr id="3" name="Plassholder for dato 2">
            <a:extLst>
              <a:ext uri="{FF2B5EF4-FFF2-40B4-BE49-F238E27FC236}">
                <a16:creationId xmlns:a16="http://schemas.microsoft.com/office/drawing/2014/main" id="{CEA61034-D7BA-42E9-AE13-89F234A7C5FE}"/>
              </a:ext>
            </a:extLst>
          </p:cNvPr>
          <p:cNvSpPr>
            <a:spLocks noGrp="1"/>
          </p:cNvSpPr>
          <p:nvPr>
            <p:ph type="dt" sz="half" idx="15"/>
          </p:nvPr>
        </p:nvSpPr>
        <p:spPr/>
        <p:txBody>
          <a:bodyPr/>
          <a:lstStyle/>
          <a:p>
            <a:fld id="{58970512-AFCF-461A-ACB5-D6A6EB013EA8}" type="datetime1">
              <a:rPr lang="en-US" smtClean="0"/>
              <a:pPr/>
              <a:t>4/11/21</a:t>
            </a:fld>
            <a:endParaRPr lang="en-US"/>
          </a:p>
        </p:txBody>
      </p:sp>
      <p:sp>
        <p:nvSpPr>
          <p:cNvPr id="4" name="Plassholder for bunntekst 3">
            <a:extLst>
              <a:ext uri="{FF2B5EF4-FFF2-40B4-BE49-F238E27FC236}">
                <a16:creationId xmlns:a16="http://schemas.microsoft.com/office/drawing/2014/main" id="{3892355D-6B03-4411-8A7A-A70DEF8F25B1}"/>
              </a:ext>
            </a:extLst>
          </p:cNvPr>
          <p:cNvSpPr>
            <a:spLocks noGrp="1"/>
          </p:cNvSpPr>
          <p:nvPr>
            <p:ph type="ftr" sz="quarter" idx="16"/>
          </p:nvPr>
        </p:nvSpPr>
        <p:spPr/>
        <p:txBody>
          <a:bodyPr/>
          <a:lstStyle/>
          <a:p>
            <a:r>
              <a:rPr lang="en-US"/>
              <a:t>/  Footer</a:t>
            </a:r>
          </a:p>
        </p:txBody>
      </p:sp>
      <p:sp>
        <p:nvSpPr>
          <p:cNvPr id="8" name="Plassholder for lysbildenummer 7">
            <a:extLst>
              <a:ext uri="{FF2B5EF4-FFF2-40B4-BE49-F238E27FC236}">
                <a16:creationId xmlns:a16="http://schemas.microsoft.com/office/drawing/2014/main" id="{EA48878E-114A-44D7-A245-46F5ECBCA174}"/>
              </a:ext>
            </a:extLst>
          </p:cNvPr>
          <p:cNvSpPr>
            <a:spLocks noGrp="1"/>
          </p:cNvSpPr>
          <p:nvPr>
            <p:ph type="sldNum" sz="quarter" idx="17"/>
          </p:nvPr>
        </p:nvSpPr>
        <p:spPr/>
        <p:txBody>
          <a:bodyPr/>
          <a:lstStyle/>
          <a:p>
            <a:fld id="{7BE74CFF-2C60-4519-94DA-E8FC82378F73}" type="slidenum">
              <a:rPr lang="en-US" smtClean="0"/>
              <a:pPr/>
              <a:t>‹#›</a:t>
            </a:fld>
            <a:endParaRPr lang="en-US"/>
          </a:p>
        </p:txBody>
      </p:sp>
      <p:sp>
        <p:nvSpPr>
          <p:cNvPr id="14" name="Plassholder for innhold 2">
            <a:extLst>
              <a:ext uri="{FF2B5EF4-FFF2-40B4-BE49-F238E27FC236}">
                <a16:creationId xmlns:a16="http://schemas.microsoft.com/office/drawing/2014/main" id="{CFA84F80-A8C4-4F27-ADCD-11E498DA18B1}"/>
              </a:ext>
            </a:extLst>
          </p:cNvPr>
          <p:cNvSpPr>
            <a:spLocks noGrp="1"/>
          </p:cNvSpPr>
          <p:nvPr>
            <p:ph idx="18" hasCustomPrompt="1"/>
          </p:nvPr>
        </p:nvSpPr>
        <p:spPr>
          <a:xfrm>
            <a:off x="432054" y="945556"/>
            <a:ext cx="4030216" cy="3744000"/>
          </a:xfrm>
        </p:spPr>
        <p:txBody>
          <a:bodyPr/>
          <a:lstStyle>
            <a:lvl1pPr marL="180000" indent="-180000">
              <a:lnSpc>
                <a:spcPct val="114000"/>
              </a:lnSpc>
              <a:spcBef>
                <a:spcPts val="400"/>
              </a:spcBef>
              <a:defRPr/>
            </a:lvl1pPr>
            <a:lvl2pPr marL="649800" indent="-180000">
              <a:lnSpc>
                <a:spcPct val="114000"/>
              </a:lnSpc>
              <a:spcBef>
                <a:spcPts val="400"/>
              </a:spcBef>
              <a:defRPr/>
            </a:lvl2pPr>
            <a:lvl3pPr>
              <a:lnSpc>
                <a:spcPct val="114000"/>
              </a:lnSpc>
              <a:spcBef>
                <a:spcPts val="400"/>
              </a:spcBef>
              <a:defRPr/>
            </a:lvl3pPr>
            <a:lvl4pPr>
              <a:lnSpc>
                <a:spcPct val="114000"/>
              </a:lnSpc>
              <a:spcBef>
                <a:spcPts val="400"/>
              </a:spcBef>
              <a:defRPr/>
            </a:lvl4pPr>
            <a:lvl5pPr>
              <a:lnSpc>
                <a:spcPct val="114000"/>
              </a:lnSpc>
              <a:spcBef>
                <a:spcPts val="4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6" name="Plassholder for innhold 2">
            <a:extLst>
              <a:ext uri="{FF2B5EF4-FFF2-40B4-BE49-F238E27FC236}">
                <a16:creationId xmlns:a16="http://schemas.microsoft.com/office/drawing/2014/main" id="{B903D0AC-474B-4D02-9F7A-61D640FE6CC7}"/>
              </a:ext>
            </a:extLst>
          </p:cNvPr>
          <p:cNvSpPr>
            <a:spLocks noGrp="1"/>
          </p:cNvSpPr>
          <p:nvPr>
            <p:ph idx="19" hasCustomPrompt="1"/>
          </p:nvPr>
        </p:nvSpPr>
        <p:spPr>
          <a:xfrm>
            <a:off x="4642292" y="945556"/>
            <a:ext cx="4068503" cy="1781441"/>
          </a:xfrm>
        </p:spPr>
        <p:txBody>
          <a:bodyPr/>
          <a:lstStyle>
            <a:lvl1pPr marL="180000" indent="-180000">
              <a:lnSpc>
                <a:spcPct val="114000"/>
              </a:lnSpc>
              <a:spcBef>
                <a:spcPts val="400"/>
              </a:spcBef>
              <a:defRPr/>
            </a:lvl1pPr>
            <a:lvl2pPr marL="649800" indent="-180000">
              <a:lnSpc>
                <a:spcPct val="114000"/>
              </a:lnSpc>
              <a:spcBef>
                <a:spcPts val="400"/>
              </a:spcBef>
              <a:defRPr/>
            </a:lvl2pPr>
            <a:lvl3pPr>
              <a:lnSpc>
                <a:spcPct val="114000"/>
              </a:lnSpc>
              <a:spcBef>
                <a:spcPts val="400"/>
              </a:spcBef>
              <a:defRPr/>
            </a:lvl3pPr>
            <a:lvl4pPr>
              <a:lnSpc>
                <a:spcPct val="114000"/>
              </a:lnSpc>
              <a:spcBef>
                <a:spcPts val="400"/>
              </a:spcBef>
              <a:defRPr/>
            </a:lvl4pPr>
            <a:lvl5pPr>
              <a:lnSpc>
                <a:spcPct val="114000"/>
              </a:lnSpc>
              <a:spcBef>
                <a:spcPts val="4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8" name="Plassholder for innhold 2">
            <a:extLst>
              <a:ext uri="{FF2B5EF4-FFF2-40B4-BE49-F238E27FC236}">
                <a16:creationId xmlns:a16="http://schemas.microsoft.com/office/drawing/2014/main" id="{16950143-0682-4E22-AF39-DA70F77BF4D4}"/>
              </a:ext>
            </a:extLst>
          </p:cNvPr>
          <p:cNvSpPr>
            <a:spLocks noGrp="1"/>
          </p:cNvSpPr>
          <p:nvPr>
            <p:ph idx="20" hasCustomPrompt="1"/>
          </p:nvPr>
        </p:nvSpPr>
        <p:spPr>
          <a:xfrm>
            <a:off x="4642292" y="2908382"/>
            <a:ext cx="4068503" cy="1781441"/>
          </a:xfrm>
        </p:spPr>
        <p:txBody>
          <a:bodyPr/>
          <a:lstStyle>
            <a:lvl1pPr marL="180000" indent="-180000">
              <a:lnSpc>
                <a:spcPct val="114000"/>
              </a:lnSpc>
              <a:spcBef>
                <a:spcPts val="400"/>
              </a:spcBef>
              <a:defRPr/>
            </a:lvl1pPr>
            <a:lvl2pPr marL="649800" indent="-180000">
              <a:lnSpc>
                <a:spcPct val="114000"/>
              </a:lnSpc>
              <a:spcBef>
                <a:spcPts val="400"/>
              </a:spcBef>
              <a:defRPr/>
            </a:lvl2pPr>
            <a:lvl3pPr>
              <a:lnSpc>
                <a:spcPct val="114000"/>
              </a:lnSpc>
              <a:spcBef>
                <a:spcPts val="400"/>
              </a:spcBef>
              <a:defRPr/>
            </a:lvl3pPr>
            <a:lvl4pPr>
              <a:lnSpc>
                <a:spcPct val="114000"/>
              </a:lnSpc>
              <a:spcBef>
                <a:spcPts val="400"/>
              </a:spcBef>
              <a:defRPr/>
            </a:lvl4pPr>
            <a:lvl5pPr>
              <a:lnSpc>
                <a:spcPct val="114000"/>
              </a:lnSpc>
              <a:spcBef>
                <a:spcPts val="4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20779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E7EF611-AAD4-44AF-80FE-849318966631}"/>
              </a:ext>
            </a:extLst>
          </p:cNvPr>
          <p:cNvGraphicFramePr>
            <a:graphicFrameLocks noChangeAspect="1"/>
          </p:cNvGraphicFramePr>
          <p:nvPr userDrawn="1">
            <p:custDataLst>
              <p:tags r:id="rId20"/>
            </p:custDataLst>
            <p:extLst>
              <p:ext uri="{D42A27DB-BD31-4B8C-83A1-F6EECF244321}">
                <p14:modId xmlns:p14="http://schemas.microsoft.com/office/powerpoint/2010/main" val="3880291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Slide" r:id="rId22" imgW="353" imgH="353" progId="TCLayout.ActiveDocument.1">
                  <p:embed/>
                </p:oleObj>
              </mc:Choice>
              <mc:Fallback>
                <p:oleObj name="think-cell Slide" r:id="rId22" imgW="353" imgH="353" progId="TCLayout.ActiveDocument.1">
                  <p:embed/>
                  <p:pic>
                    <p:nvPicPr>
                      <p:cNvPr id="8" name="Object 7" hidden="1">
                        <a:extLst>
                          <a:ext uri="{FF2B5EF4-FFF2-40B4-BE49-F238E27FC236}">
                            <a16:creationId xmlns:a16="http://schemas.microsoft.com/office/drawing/2014/main" id="{BE7EF611-AAD4-44AF-80FE-849318966631}"/>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A265415-6101-486A-8188-CE57C40F70C4}"/>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Lato Regular"/>
              <a:ea typeface="+mj-ea"/>
              <a:cs typeface="+mj-cs"/>
              <a:sym typeface="Lato Regular"/>
            </a:endParaRPr>
          </a:p>
        </p:txBody>
      </p:sp>
      <p:sp>
        <p:nvSpPr>
          <p:cNvPr id="2" name="Plassholder for tittel 1">
            <a:extLst>
              <a:ext uri="{FF2B5EF4-FFF2-40B4-BE49-F238E27FC236}">
                <a16:creationId xmlns:a16="http://schemas.microsoft.com/office/drawing/2014/main" id="{135F1D98-FBDB-4B86-8AB8-4DE96BCB7F86}"/>
              </a:ext>
            </a:extLst>
          </p:cNvPr>
          <p:cNvSpPr>
            <a:spLocks noGrp="1"/>
          </p:cNvSpPr>
          <p:nvPr>
            <p:ph type="title"/>
          </p:nvPr>
        </p:nvSpPr>
        <p:spPr>
          <a:xfrm>
            <a:off x="432055" y="379643"/>
            <a:ext cx="8279888" cy="307777"/>
          </a:xfrm>
          <a:prstGeom prst="rect">
            <a:avLst/>
          </a:prstGeom>
        </p:spPr>
        <p:txBody>
          <a:bodyPr vert="horz" wrap="square" lIns="0" tIns="0" rIns="0" bIns="0" rtlCol="0" anchor="t">
            <a:spAutoFit/>
          </a:bodyPr>
          <a:lstStyle/>
          <a:p>
            <a:r>
              <a:rPr lang="en-US"/>
              <a:t>Click TO ADD TITLE</a:t>
            </a:r>
          </a:p>
        </p:txBody>
      </p:sp>
      <p:sp>
        <p:nvSpPr>
          <p:cNvPr id="3" name="Plassholder for tekst 2">
            <a:extLst>
              <a:ext uri="{FF2B5EF4-FFF2-40B4-BE49-F238E27FC236}">
                <a16:creationId xmlns:a16="http://schemas.microsoft.com/office/drawing/2014/main" id="{43E3B5F3-3A5C-492A-901C-7D59AF971EDB}"/>
              </a:ext>
            </a:extLst>
          </p:cNvPr>
          <p:cNvSpPr>
            <a:spLocks noGrp="1"/>
          </p:cNvSpPr>
          <p:nvPr>
            <p:ph type="body" idx="1"/>
          </p:nvPr>
        </p:nvSpPr>
        <p:spPr>
          <a:xfrm>
            <a:off x="432055" y="946917"/>
            <a:ext cx="8279888" cy="3744000"/>
          </a:xfrm>
          <a:prstGeom prst="rect">
            <a:avLst/>
          </a:prstGeom>
        </p:spPr>
        <p:txBody>
          <a:bodyPr vert="horz" lIns="0" tIns="0" rIns="0" bIns="0"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Plassholder for dato 3">
            <a:extLst>
              <a:ext uri="{FF2B5EF4-FFF2-40B4-BE49-F238E27FC236}">
                <a16:creationId xmlns:a16="http://schemas.microsoft.com/office/drawing/2014/main" id="{B5EB5579-5574-4599-89C4-1EE4D35D9825}"/>
              </a:ext>
            </a:extLst>
          </p:cNvPr>
          <p:cNvSpPr>
            <a:spLocks noGrp="1"/>
          </p:cNvSpPr>
          <p:nvPr>
            <p:ph type="dt" sz="half" idx="2"/>
          </p:nvPr>
        </p:nvSpPr>
        <p:spPr>
          <a:xfrm>
            <a:off x="432054" y="4932000"/>
            <a:ext cx="368300" cy="76944"/>
          </a:xfrm>
          <a:prstGeom prst="rect">
            <a:avLst/>
          </a:prstGeom>
        </p:spPr>
        <p:txBody>
          <a:bodyPr vert="horz" wrap="square" lIns="0" tIns="0" rIns="0" bIns="0" rtlCol="0" anchor="ctr">
            <a:spAutoFit/>
          </a:bodyPr>
          <a:lstStyle>
            <a:lvl1pPr algn="l">
              <a:lnSpc>
                <a:spcPct val="100000"/>
              </a:lnSpc>
              <a:defRPr sz="500" b="0">
                <a:solidFill>
                  <a:schemeClr val="dk2"/>
                </a:solidFill>
                <a:latin typeface="+mn-lt"/>
              </a:defRPr>
            </a:lvl1pPr>
          </a:lstStyle>
          <a:p>
            <a:fld id="{58970512-AFCF-461A-ACB5-D6A6EB013EA8}" type="datetime1">
              <a:rPr lang="en-US" smtClean="0"/>
              <a:pPr/>
              <a:t>4/11/21</a:t>
            </a:fld>
            <a:endParaRPr lang="en-US"/>
          </a:p>
        </p:txBody>
      </p:sp>
      <p:sp>
        <p:nvSpPr>
          <p:cNvPr id="5" name="Plassholder for bunntekst 4">
            <a:extLst>
              <a:ext uri="{FF2B5EF4-FFF2-40B4-BE49-F238E27FC236}">
                <a16:creationId xmlns:a16="http://schemas.microsoft.com/office/drawing/2014/main" id="{D7BC33EA-7EB3-4CFC-96D0-F5DCF777F60B}"/>
              </a:ext>
            </a:extLst>
          </p:cNvPr>
          <p:cNvSpPr>
            <a:spLocks noGrp="1"/>
          </p:cNvSpPr>
          <p:nvPr>
            <p:ph type="ftr" sz="quarter" idx="3"/>
          </p:nvPr>
        </p:nvSpPr>
        <p:spPr>
          <a:xfrm>
            <a:off x="776288" y="4932000"/>
            <a:ext cx="4647989" cy="76944"/>
          </a:xfrm>
          <a:prstGeom prst="rect">
            <a:avLst/>
          </a:prstGeom>
        </p:spPr>
        <p:txBody>
          <a:bodyPr vert="horz" wrap="square" lIns="0" tIns="0" rIns="0" bIns="0" rtlCol="0" anchor="ctr">
            <a:spAutoFit/>
          </a:bodyPr>
          <a:lstStyle>
            <a:lvl1pPr algn="l">
              <a:lnSpc>
                <a:spcPct val="100000"/>
              </a:lnSpc>
              <a:defRPr sz="500" b="0">
                <a:solidFill>
                  <a:schemeClr val="dk2"/>
                </a:solidFill>
                <a:latin typeface="+mn-lt"/>
              </a:defRPr>
            </a:lvl1pPr>
          </a:lstStyle>
          <a:p>
            <a:r>
              <a:rPr lang="en-US"/>
              <a:t>/  Footer</a:t>
            </a:r>
          </a:p>
        </p:txBody>
      </p:sp>
      <p:sp>
        <p:nvSpPr>
          <p:cNvPr id="6" name="Plassholder for lysbildenummer 5">
            <a:extLst>
              <a:ext uri="{FF2B5EF4-FFF2-40B4-BE49-F238E27FC236}">
                <a16:creationId xmlns:a16="http://schemas.microsoft.com/office/drawing/2014/main" id="{4E2722FD-9B6F-4A16-A5AB-A911FB49B4AE}"/>
              </a:ext>
            </a:extLst>
          </p:cNvPr>
          <p:cNvSpPr>
            <a:spLocks noGrp="1"/>
          </p:cNvSpPr>
          <p:nvPr>
            <p:ph type="sldNum" sz="quarter" idx="4"/>
          </p:nvPr>
        </p:nvSpPr>
        <p:spPr>
          <a:xfrm>
            <a:off x="8521702" y="4932000"/>
            <a:ext cx="190241" cy="76944"/>
          </a:xfrm>
          <a:prstGeom prst="rect">
            <a:avLst/>
          </a:prstGeom>
        </p:spPr>
        <p:txBody>
          <a:bodyPr vert="horz" wrap="square" lIns="0" tIns="0" rIns="0" bIns="0" rtlCol="0" anchor="ctr">
            <a:spAutoFit/>
          </a:bodyPr>
          <a:lstStyle>
            <a:lvl1pPr algn="r">
              <a:lnSpc>
                <a:spcPct val="100000"/>
              </a:lnSpc>
              <a:defRPr sz="500" b="0">
                <a:solidFill>
                  <a:schemeClr val="dk2"/>
                </a:solidFill>
                <a:latin typeface="+mn-lt"/>
              </a:defRPr>
            </a:lvl1pPr>
          </a:lstStyle>
          <a:p>
            <a:fld id="{7BE74CFF-2C60-4519-94DA-E8FC82378F73}" type="slidenum">
              <a:rPr lang="en-US" smtClean="0"/>
              <a:pPr/>
              <a:t>‹#›</a:t>
            </a:fld>
            <a:endParaRPr lang="en-US"/>
          </a:p>
        </p:txBody>
      </p:sp>
      <p:pic>
        <p:nvPicPr>
          <p:cNvPr id="15" name="Bilde 14">
            <a:extLst>
              <a:ext uri="{FF2B5EF4-FFF2-40B4-BE49-F238E27FC236}">
                <a16:creationId xmlns:a16="http://schemas.microsoft.com/office/drawing/2014/main" id="{9924B611-F6B0-4B4B-A4D9-F816DB977CB5}"/>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8152939" y="153680"/>
            <a:ext cx="561347" cy="144000"/>
          </a:xfrm>
          <a:prstGeom prst="rect">
            <a:avLst/>
          </a:prstGeom>
        </p:spPr>
      </p:pic>
    </p:spTree>
    <p:extLst>
      <p:ext uri="{BB962C8B-B14F-4D97-AF65-F5344CB8AC3E}">
        <p14:creationId xmlns:p14="http://schemas.microsoft.com/office/powerpoint/2010/main" val="37413518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70" r:id="rId4"/>
    <p:sldLayoutId id="2147483671" r:id="rId5"/>
    <p:sldLayoutId id="2147483672" r:id="rId6"/>
    <p:sldLayoutId id="2147483651" r:id="rId7"/>
    <p:sldLayoutId id="2147483662" r:id="rId8"/>
    <p:sldLayoutId id="2147483661" r:id="rId9"/>
    <p:sldLayoutId id="2147483654" r:id="rId10"/>
    <p:sldLayoutId id="2147483655" r:id="rId11"/>
    <p:sldLayoutId id="2147483656" r:id="rId12"/>
    <p:sldLayoutId id="2147483657" r:id="rId13"/>
    <p:sldLayoutId id="2147483665" r:id="rId14"/>
    <p:sldLayoutId id="2147483669" r:id="rId15"/>
    <p:sldLayoutId id="2147483690" r:id="rId16"/>
    <p:sldLayoutId id="2147483691" r:id="rId17"/>
  </p:sldLayoutIdLst>
  <p:hf hdr="0"/>
  <p:txStyles>
    <p:titleStyle>
      <a:lvl1pPr algn="l" defTabSz="914400" rtl="0" eaLnBrk="1" latinLnBrk="0" hangingPunct="1">
        <a:lnSpc>
          <a:spcPct val="100000"/>
        </a:lnSpc>
        <a:spcBef>
          <a:spcPct val="0"/>
        </a:spcBef>
        <a:buNone/>
        <a:defRPr sz="2000" b="1" i="0" kern="1200" cap="all" baseline="0">
          <a:solidFill>
            <a:schemeClr val="dk2"/>
          </a:solidFill>
          <a:latin typeface="+mj-lt"/>
          <a:ea typeface="+mj-ea"/>
          <a:cs typeface="+mj-cs"/>
        </a:defRPr>
      </a:lvl1pPr>
    </p:titleStyle>
    <p:bodyStyle>
      <a:lvl1pPr marL="216000" indent="-216000" algn="l" defTabSz="914400" rtl="0" eaLnBrk="1" latinLnBrk="0" hangingPunct="1">
        <a:lnSpc>
          <a:spcPct val="114000"/>
        </a:lnSpc>
        <a:spcBef>
          <a:spcPts val="1000"/>
        </a:spcBef>
        <a:buFont typeface="Arial" panose="020B0604020202020204" pitchFamily="34" charset="0"/>
        <a:buChar char="•"/>
        <a:defRPr sz="1600" kern="1200">
          <a:solidFill>
            <a:schemeClr val="dk2"/>
          </a:solidFill>
          <a:latin typeface="+mn-lt"/>
          <a:ea typeface="+mn-ea"/>
          <a:cs typeface="+mn-cs"/>
        </a:defRPr>
      </a:lvl1pPr>
      <a:lvl2pPr marL="685800" indent="-216000" algn="l" defTabSz="914400" rtl="0" eaLnBrk="1" latinLnBrk="0" hangingPunct="1">
        <a:lnSpc>
          <a:spcPct val="114000"/>
        </a:lnSpc>
        <a:spcBef>
          <a:spcPts val="500"/>
        </a:spcBef>
        <a:buFont typeface="Arial" panose="020B0604020202020204" pitchFamily="34" charset="0"/>
        <a:buChar char="•"/>
        <a:defRPr sz="1600" kern="1200">
          <a:solidFill>
            <a:schemeClr val="dk2"/>
          </a:solidFill>
          <a:latin typeface="+mn-lt"/>
          <a:ea typeface="+mn-ea"/>
          <a:cs typeface="+mn-cs"/>
        </a:defRPr>
      </a:lvl2pPr>
      <a:lvl3pPr marL="1143000" indent="-216000" algn="l" defTabSz="914400" rtl="0" eaLnBrk="1" latinLnBrk="0" hangingPunct="1">
        <a:lnSpc>
          <a:spcPct val="114000"/>
        </a:lnSpc>
        <a:spcBef>
          <a:spcPts val="500"/>
        </a:spcBef>
        <a:buFont typeface="Arial" panose="020B0604020202020204" pitchFamily="34" charset="0"/>
        <a:buChar char="•"/>
        <a:defRPr sz="1600" kern="1200">
          <a:solidFill>
            <a:schemeClr val="dk2"/>
          </a:solidFill>
          <a:latin typeface="+mn-lt"/>
          <a:ea typeface="+mn-ea"/>
          <a:cs typeface="+mn-cs"/>
        </a:defRPr>
      </a:lvl3pPr>
      <a:lvl4pPr marL="1600200" indent="-216000" algn="l" defTabSz="914400" rtl="0" eaLnBrk="1" latinLnBrk="0" hangingPunct="1">
        <a:lnSpc>
          <a:spcPct val="114000"/>
        </a:lnSpc>
        <a:spcBef>
          <a:spcPts val="500"/>
        </a:spcBef>
        <a:buFont typeface="Arial" panose="020B0604020202020204" pitchFamily="34" charset="0"/>
        <a:buChar char="•"/>
        <a:defRPr sz="1600" kern="1200">
          <a:solidFill>
            <a:schemeClr val="dk2"/>
          </a:solidFill>
          <a:latin typeface="+mn-lt"/>
          <a:ea typeface="+mn-ea"/>
          <a:cs typeface="+mn-cs"/>
        </a:defRPr>
      </a:lvl4pPr>
      <a:lvl5pPr marL="2057400" indent="-216000" algn="l" defTabSz="914400" rtl="0" eaLnBrk="1" latinLnBrk="0" hangingPunct="1">
        <a:lnSpc>
          <a:spcPct val="114000"/>
        </a:lnSpc>
        <a:spcBef>
          <a:spcPts val="500"/>
        </a:spcBef>
        <a:buFont typeface="Arial" panose="020B0604020202020204" pitchFamily="34" charset="0"/>
        <a:buChar char="•"/>
        <a:defRPr sz="1600" kern="1200">
          <a:solidFill>
            <a:schemeClr val="dk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1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s/_rels/slide11.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61.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 Type="http://schemas.openxmlformats.org/officeDocument/2006/relationships/image" Target="../media/image45.png"/><Relationship Id="rId16" Type="http://schemas.openxmlformats.org/officeDocument/2006/relationships/image" Target="../media/image59.png"/><Relationship Id="rId1" Type="http://schemas.openxmlformats.org/officeDocument/2006/relationships/slideLayout" Target="../slideLayouts/slideLayout17.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s>
</file>

<file path=ppt/slides/_rels/slide1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7.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13.xml.rels><?xml version="1.0" encoding="UTF-8" standalone="yes"?>
<Relationships xmlns="http://schemas.openxmlformats.org/package/2006/relationships"><Relationship Id="rId13" Type="http://schemas.openxmlformats.org/officeDocument/2006/relationships/image" Target="../media/image78.png"/><Relationship Id="rId18" Type="http://schemas.openxmlformats.org/officeDocument/2006/relationships/image" Target="../media/image83.png"/><Relationship Id="rId26" Type="http://schemas.openxmlformats.org/officeDocument/2006/relationships/image" Target="../media/image91.png"/><Relationship Id="rId39" Type="http://schemas.openxmlformats.org/officeDocument/2006/relationships/image" Target="../media/image104.png"/><Relationship Id="rId21" Type="http://schemas.openxmlformats.org/officeDocument/2006/relationships/image" Target="../media/image86.png"/><Relationship Id="rId34" Type="http://schemas.openxmlformats.org/officeDocument/2006/relationships/image" Target="../media/image99.png"/><Relationship Id="rId42" Type="http://schemas.openxmlformats.org/officeDocument/2006/relationships/image" Target="../media/image107.png"/><Relationship Id="rId7" Type="http://schemas.openxmlformats.org/officeDocument/2006/relationships/image" Target="../media/image72.png"/><Relationship Id="rId2" Type="http://schemas.openxmlformats.org/officeDocument/2006/relationships/image" Target="../media/image67.png"/><Relationship Id="rId16" Type="http://schemas.openxmlformats.org/officeDocument/2006/relationships/image" Target="../media/image81.png"/><Relationship Id="rId20" Type="http://schemas.openxmlformats.org/officeDocument/2006/relationships/image" Target="../media/image85.png"/><Relationship Id="rId29" Type="http://schemas.openxmlformats.org/officeDocument/2006/relationships/image" Target="../media/image94.png"/><Relationship Id="rId41" Type="http://schemas.openxmlformats.org/officeDocument/2006/relationships/image" Target="../media/image106.png"/><Relationship Id="rId1" Type="http://schemas.openxmlformats.org/officeDocument/2006/relationships/slideLayout" Target="../slideLayouts/slideLayout17.xml"/><Relationship Id="rId6" Type="http://schemas.openxmlformats.org/officeDocument/2006/relationships/image" Target="../media/image71.png"/><Relationship Id="rId11" Type="http://schemas.openxmlformats.org/officeDocument/2006/relationships/image" Target="../media/image76.png"/><Relationship Id="rId24" Type="http://schemas.openxmlformats.org/officeDocument/2006/relationships/image" Target="../media/image89.png"/><Relationship Id="rId32" Type="http://schemas.openxmlformats.org/officeDocument/2006/relationships/image" Target="../media/image97.png"/><Relationship Id="rId37" Type="http://schemas.openxmlformats.org/officeDocument/2006/relationships/image" Target="../media/image102.png"/><Relationship Id="rId40" Type="http://schemas.openxmlformats.org/officeDocument/2006/relationships/image" Target="../media/image105.png"/><Relationship Id="rId5" Type="http://schemas.openxmlformats.org/officeDocument/2006/relationships/image" Target="../media/image70.png"/><Relationship Id="rId15" Type="http://schemas.openxmlformats.org/officeDocument/2006/relationships/image" Target="../media/image80.png"/><Relationship Id="rId23" Type="http://schemas.openxmlformats.org/officeDocument/2006/relationships/image" Target="../media/image88.png"/><Relationship Id="rId28" Type="http://schemas.openxmlformats.org/officeDocument/2006/relationships/image" Target="../media/image93.png"/><Relationship Id="rId36" Type="http://schemas.openxmlformats.org/officeDocument/2006/relationships/image" Target="../media/image101.png"/><Relationship Id="rId10" Type="http://schemas.openxmlformats.org/officeDocument/2006/relationships/image" Target="../media/image75.png"/><Relationship Id="rId19" Type="http://schemas.openxmlformats.org/officeDocument/2006/relationships/image" Target="../media/image84.png"/><Relationship Id="rId31" Type="http://schemas.openxmlformats.org/officeDocument/2006/relationships/image" Target="../media/image96.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 Id="rId22" Type="http://schemas.openxmlformats.org/officeDocument/2006/relationships/image" Target="../media/image87.png"/><Relationship Id="rId27" Type="http://schemas.openxmlformats.org/officeDocument/2006/relationships/image" Target="../media/image92.png"/><Relationship Id="rId30" Type="http://schemas.openxmlformats.org/officeDocument/2006/relationships/image" Target="../media/image95.png"/><Relationship Id="rId35" Type="http://schemas.openxmlformats.org/officeDocument/2006/relationships/image" Target="../media/image100.png"/><Relationship Id="rId8" Type="http://schemas.openxmlformats.org/officeDocument/2006/relationships/image" Target="../media/image73.png"/><Relationship Id="rId3" Type="http://schemas.openxmlformats.org/officeDocument/2006/relationships/image" Target="../media/image68.png"/><Relationship Id="rId12" Type="http://schemas.openxmlformats.org/officeDocument/2006/relationships/image" Target="../media/image77.png"/><Relationship Id="rId17" Type="http://schemas.openxmlformats.org/officeDocument/2006/relationships/image" Target="../media/image82.png"/><Relationship Id="rId25" Type="http://schemas.openxmlformats.org/officeDocument/2006/relationships/image" Target="../media/image90.png"/><Relationship Id="rId33" Type="http://schemas.openxmlformats.org/officeDocument/2006/relationships/image" Target="../media/image98.png"/><Relationship Id="rId38" Type="http://schemas.openxmlformats.org/officeDocument/2006/relationships/image" Target="../media/image103.png"/></Relationships>
</file>

<file path=ppt/slides/_rels/slide14.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png"/><Relationship Id="rId3" Type="http://schemas.openxmlformats.org/officeDocument/2006/relationships/image" Target="../media/image109.png"/><Relationship Id="rId7" Type="http://schemas.openxmlformats.org/officeDocument/2006/relationships/image" Target="../media/image113.png"/><Relationship Id="rId12" Type="http://schemas.openxmlformats.org/officeDocument/2006/relationships/image" Target="../media/image118.png"/><Relationship Id="rId2" Type="http://schemas.openxmlformats.org/officeDocument/2006/relationships/image" Target="../media/image108.png"/><Relationship Id="rId1" Type="http://schemas.openxmlformats.org/officeDocument/2006/relationships/slideLayout" Target="../slideLayouts/slideLayout17.xml"/><Relationship Id="rId6" Type="http://schemas.openxmlformats.org/officeDocument/2006/relationships/image" Target="../media/image112.png"/><Relationship Id="rId11" Type="http://schemas.openxmlformats.org/officeDocument/2006/relationships/image" Target="../media/image117.pn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10.png"/><Relationship Id="rId9" Type="http://schemas.openxmlformats.org/officeDocument/2006/relationships/image" Target="../media/image115.png"/><Relationship Id="rId14" Type="http://schemas.openxmlformats.org/officeDocument/2006/relationships/image" Target="../media/image120.png"/></Relationships>
</file>

<file path=ppt/slides/_rels/slide15.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png"/><Relationship Id="rId3" Type="http://schemas.openxmlformats.org/officeDocument/2006/relationships/image" Target="../media/image122.png"/><Relationship Id="rId7" Type="http://schemas.openxmlformats.org/officeDocument/2006/relationships/image" Target="../media/image126.png"/><Relationship Id="rId12" Type="http://schemas.openxmlformats.org/officeDocument/2006/relationships/image" Target="../media/image131.png"/><Relationship Id="rId2" Type="http://schemas.openxmlformats.org/officeDocument/2006/relationships/image" Target="../media/image121.png"/><Relationship Id="rId1" Type="http://schemas.openxmlformats.org/officeDocument/2006/relationships/slideLayout" Target="../slideLayouts/slideLayout17.xml"/><Relationship Id="rId6" Type="http://schemas.openxmlformats.org/officeDocument/2006/relationships/image" Target="../media/image125.png"/><Relationship Id="rId11" Type="http://schemas.openxmlformats.org/officeDocument/2006/relationships/image" Target="../media/image130.png"/><Relationship Id="rId5" Type="http://schemas.openxmlformats.org/officeDocument/2006/relationships/image" Target="../media/image124.png"/><Relationship Id="rId10" Type="http://schemas.openxmlformats.org/officeDocument/2006/relationships/image" Target="../media/image129.png"/><Relationship Id="rId4" Type="http://schemas.openxmlformats.org/officeDocument/2006/relationships/image" Target="../media/image123.png"/><Relationship Id="rId9" Type="http://schemas.openxmlformats.org/officeDocument/2006/relationships/image" Target="../media/image128.png"/></Relationships>
</file>

<file path=ppt/slides/_rels/slide16.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44.png"/><Relationship Id="rId18" Type="http://schemas.openxmlformats.org/officeDocument/2006/relationships/image" Target="../media/image149.png"/><Relationship Id="rId3" Type="http://schemas.openxmlformats.org/officeDocument/2006/relationships/image" Target="../media/image134.png"/><Relationship Id="rId21" Type="http://schemas.openxmlformats.org/officeDocument/2006/relationships/image" Target="../media/image152.png"/><Relationship Id="rId7" Type="http://schemas.openxmlformats.org/officeDocument/2006/relationships/image" Target="../media/image138.png"/><Relationship Id="rId12" Type="http://schemas.openxmlformats.org/officeDocument/2006/relationships/image" Target="../media/image143.png"/><Relationship Id="rId17" Type="http://schemas.openxmlformats.org/officeDocument/2006/relationships/image" Target="../media/image148.png"/><Relationship Id="rId2" Type="http://schemas.openxmlformats.org/officeDocument/2006/relationships/image" Target="../media/image133.png"/><Relationship Id="rId16" Type="http://schemas.openxmlformats.org/officeDocument/2006/relationships/image" Target="../media/image147.png"/><Relationship Id="rId20" Type="http://schemas.openxmlformats.org/officeDocument/2006/relationships/image" Target="../media/image151.png"/><Relationship Id="rId1" Type="http://schemas.openxmlformats.org/officeDocument/2006/relationships/slideLayout" Target="../slideLayouts/slideLayout17.xml"/><Relationship Id="rId6" Type="http://schemas.openxmlformats.org/officeDocument/2006/relationships/image" Target="../media/image137.png"/><Relationship Id="rId11" Type="http://schemas.openxmlformats.org/officeDocument/2006/relationships/image" Target="../media/image142.png"/><Relationship Id="rId5" Type="http://schemas.openxmlformats.org/officeDocument/2006/relationships/image" Target="../media/image136.png"/><Relationship Id="rId15" Type="http://schemas.openxmlformats.org/officeDocument/2006/relationships/image" Target="../media/image146.png"/><Relationship Id="rId10" Type="http://schemas.openxmlformats.org/officeDocument/2006/relationships/image" Target="../media/image141.png"/><Relationship Id="rId19" Type="http://schemas.openxmlformats.org/officeDocument/2006/relationships/image" Target="../media/image150.png"/><Relationship Id="rId4" Type="http://schemas.openxmlformats.org/officeDocument/2006/relationships/image" Target="../media/image135.png"/><Relationship Id="rId9" Type="http://schemas.openxmlformats.org/officeDocument/2006/relationships/image" Target="../media/image140.png"/><Relationship Id="rId14" Type="http://schemas.openxmlformats.org/officeDocument/2006/relationships/image" Target="../media/image145.png"/></Relationships>
</file>

<file path=ppt/slides/_rels/slide17.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image" Target="../media/image154.png"/><Relationship Id="rId7" Type="http://schemas.openxmlformats.org/officeDocument/2006/relationships/image" Target="../media/image158.png"/><Relationship Id="rId2" Type="http://schemas.openxmlformats.org/officeDocument/2006/relationships/image" Target="../media/image153.png"/><Relationship Id="rId1" Type="http://schemas.openxmlformats.org/officeDocument/2006/relationships/slideLayout" Target="../slideLayouts/slideLayout17.xml"/><Relationship Id="rId6" Type="http://schemas.openxmlformats.org/officeDocument/2006/relationships/image" Target="../media/image157.png"/><Relationship Id="rId11" Type="http://schemas.openxmlformats.org/officeDocument/2006/relationships/image" Target="../media/image162.png"/><Relationship Id="rId5" Type="http://schemas.openxmlformats.org/officeDocument/2006/relationships/image" Target="../media/image156.png"/><Relationship Id="rId10" Type="http://schemas.openxmlformats.org/officeDocument/2006/relationships/image" Target="../media/image161.png"/><Relationship Id="rId4" Type="http://schemas.openxmlformats.org/officeDocument/2006/relationships/image" Target="../media/image155.png"/><Relationship Id="rId9" Type="http://schemas.openxmlformats.org/officeDocument/2006/relationships/image" Target="../media/image160.png"/></Relationships>
</file>

<file path=ppt/slides/_rels/slide18.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oleObject" Target="../embeddings/oleObject17.bin"/><Relationship Id="rId5" Type="http://schemas.openxmlformats.org/officeDocument/2006/relationships/notesSlide" Target="../notesSlides/notesSlide4.xml"/><Relationship Id="rId4"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oleObject" Target="../embeddings/oleObject17.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17.bin"/><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oleObject" Target="../embeddings/oleObject17.bin"/><Relationship Id="rId5" Type="http://schemas.openxmlformats.org/officeDocument/2006/relationships/notesSlide" Target="../notesSlides/notesSlide7.xml"/><Relationship Id="rId4"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68.jpg"/><Relationship Id="rId2" Type="http://schemas.openxmlformats.org/officeDocument/2006/relationships/image" Target="../media/image167.jpg"/><Relationship Id="rId1" Type="http://schemas.openxmlformats.org/officeDocument/2006/relationships/slideLayout" Target="../slideLayouts/slideLayout17.xml"/><Relationship Id="rId5" Type="http://schemas.openxmlformats.org/officeDocument/2006/relationships/image" Target="../media/image170.jpg"/><Relationship Id="rId4" Type="http://schemas.openxmlformats.org/officeDocument/2006/relationships/image" Target="../media/image169.png"/></Relationships>
</file>

<file path=ppt/slides/_rels/slide23.xml.rels><?xml version="1.0" encoding="UTF-8" standalone="yes"?>
<Relationships xmlns="http://schemas.openxmlformats.org/package/2006/relationships"><Relationship Id="rId3" Type="http://schemas.openxmlformats.org/officeDocument/2006/relationships/image" Target="../media/image172.jpg"/><Relationship Id="rId7" Type="http://schemas.openxmlformats.org/officeDocument/2006/relationships/image" Target="../media/image176.png"/><Relationship Id="rId2" Type="http://schemas.openxmlformats.org/officeDocument/2006/relationships/image" Target="../media/image171.jpg"/><Relationship Id="rId1" Type="http://schemas.openxmlformats.org/officeDocument/2006/relationships/slideLayout" Target="../slideLayouts/slideLayout17.xml"/><Relationship Id="rId6" Type="http://schemas.openxmlformats.org/officeDocument/2006/relationships/image" Target="../media/image175.jpg"/><Relationship Id="rId5" Type="http://schemas.openxmlformats.org/officeDocument/2006/relationships/image" Target="../media/image174.jpg"/><Relationship Id="rId4" Type="http://schemas.openxmlformats.org/officeDocument/2006/relationships/image" Target="../media/image173.jpg"/></Relationships>
</file>

<file path=ppt/slides/_rels/slide24.xml.rels><?xml version="1.0" encoding="UTF-8" standalone="yes"?>
<Relationships xmlns="http://schemas.openxmlformats.org/package/2006/relationships"><Relationship Id="rId3" Type="http://schemas.openxmlformats.org/officeDocument/2006/relationships/image" Target="../media/image178.jpg"/><Relationship Id="rId2" Type="http://schemas.openxmlformats.org/officeDocument/2006/relationships/image" Target="../media/image177.png"/><Relationship Id="rId1" Type="http://schemas.openxmlformats.org/officeDocument/2006/relationships/slideLayout" Target="../slideLayouts/slideLayout17.xml"/><Relationship Id="rId5" Type="http://schemas.openxmlformats.org/officeDocument/2006/relationships/image" Target="../media/image180.jpg"/><Relationship Id="rId4" Type="http://schemas.openxmlformats.org/officeDocument/2006/relationships/image" Target="../media/image179.jpg"/></Relationships>
</file>

<file path=ppt/slides/_rels/slide25.xml.rels><?xml version="1.0" encoding="UTF-8" standalone="yes"?>
<Relationships xmlns="http://schemas.openxmlformats.org/package/2006/relationships"><Relationship Id="rId2" Type="http://schemas.openxmlformats.org/officeDocument/2006/relationships/image" Target="../media/image181.jpg"/><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hyperlink" Target="https://vimeo.com/429514267/cf69e21d30" TargetMode="Externa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png"/><Relationship Id="rId3" Type="http://schemas.openxmlformats.org/officeDocument/2006/relationships/tags" Target="../tags/tag33.xml"/><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tags" Target="../tags/tag32.xml"/><Relationship Id="rId16" Type="http://schemas.openxmlformats.org/officeDocument/2006/relationships/image" Target="../media/image22.png"/><Relationship Id="rId20" Type="http://schemas.openxmlformats.org/officeDocument/2006/relationships/image" Target="../media/image26.jpeg"/><Relationship Id="rId1" Type="http://schemas.openxmlformats.org/officeDocument/2006/relationships/vmlDrawing" Target="../drawings/vmlDrawing16.vml"/><Relationship Id="rId6" Type="http://schemas.openxmlformats.org/officeDocument/2006/relationships/image" Target="../media/image12.emf"/><Relationship Id="rId11" Type="http://schemas.openxmlformats.org/officeDocument/2006/relationships/image" Target="../media/image17.png"/><Relationship Id="rId5" Type="http://schemas.openxmlformats.org/officeDocument/2006/relationships/oleObject" Target="../embeddings/oleObject16.bin"/><Relationship Id="rId15" Type="http://schemas.openxmlformats.org/officeDocument/2006/relationships/image" Target="../media/image21.png"/><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slideLayout" Target="../slideLayouts/slideLayout2.xml"/><Relationship Id="rId9" Type="http://schemas.openxmlformats.org/officeDocument/2006/relationships/image" Target="../media/image15.jpeg"/><Relationship Id="rId1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17.bin"/><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5.png"/><Relationship Id="rId5" Type="http://schemas.openxmlformats.org/officeDocument/2006/relationships/notesSlide" Target="../notesSlides/notesSlide2.xml"/><Relationship Id="rId10" Type="http://schemas.openxmlformats.org/officeDocument/2006/relationships/image" Target="../media/image11.png"/><Relationship Id="rId4" Type="http://schemas.openxmlformats.org/officeDocument/2006/relationships/slideLayout" Target="../slideLayouts/slideLayout4.xml"/><Relationship Id="rId9" Type="http://schemas.openxmlformats.org/officeDocument/2006/relationships/image" Target="../media/image32.jpe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oleObject" Target="../embeddings/oleObject17.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7.xml"/><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4C78C8-3C07-46DE-92DE-2273E86F6D3D}"/>
              </a:ext>
            </a:extLst>
          </p:cNvPr>
          <p:cNvGraphicFramePr>
            <a:graphicFrameLocks noChangeAspect="1"/>
          </p:cNvGraphicFramePr>
          <p:nvPr>
            <p:custDataLst>
              <p:tags r:id="rId2"/>
            </p:custDataLst>
            <p:extLst>
              <p:ext uri="{D42A27DB-BD31-4B8C-83A1-F6EECF244321}">
                <p14:modId xmlns:p14="http://schemas.microsoft.com/office/powerpoint/2010/main" val="1397520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1" name="think-cell Slide" r:id="rId6" imgW="353" imgH="353" progId="TCLayout.ActiveDocument.1">
                  <p:embed/>
                </p:oleObj>
              </mc:Choice>
              <mc:Fallback>
                <p:oleObj name="think-cell Slide" r:id="rId6" imgW="353" imgH="353" progId="TCLayout.ActiveDocument.1">
                  <p:embed/>
                  <p:pic>
                    <p:nvPicPr>
                      <p:cNvPr id="6" name="Object 5" hidden="1">
                        <a:extLst>
                          <a:ext uri="{FF2B5EF4-FFF2-40B4-BE49-F238E27FC236}">
                            <a16:creationId xmlns:a16="http://schemas.microsoft.com/office/drawing/2014/main" id="{5B4C78C8-3C07-46DE-92DE-2273E86F6D3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04325E3-215A-4E42-8B89-62419E43ACC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a:latin typeface="Lato Regular"/>
              <a:ea typeface="+mj-ea"/>
              <a:cs typeface="+mj-cs"/>
              <a:sym typeface="Lato Regular"/>
            </a:endParaRPr>
          </a:p>
        </p:txBody>
      </p:sp>
      <p:sp>
        <p:nvSpPr>
          <p:cNvPr id="2" name="Tittel 1">
            <a:extLst>
              <a:ext uri="{FF2B5EF4-FFF2-40B4-BE49-F238E27FC236}">
                <a16:creationId xmlns:a16="http://schemas.microsoft.com/office/drawing/2014/main" id="{5EA18286-009A-4E35-AAD3-BE19A8D38C3E}"/>
              </a:ext>
            </a:extLst>
          </p:cNvPr>
          <p:cNvSpPr>
            <a:spLocks noGrp="1"/>
          </p:cNvSpPr>
          <p:nvPr>
            <p:ph type="ctrTitle"/>
          </p:nvPr>
        </p:nvSpPr>
        <p:spPr/>
        <p:txBody>
          <a:bodyPr/>
          <a:lstStyle/>
          <a:p>
            <a:r>
              <a:rPr lang="en-US" dirty="0"/>
              <a:t>STRESSLESS MAX &amp; Mike</a:t>
            </a:r>
          </a:p>
        </p:txBody>
      </p:sp>
      <p:sp>
        <p:nvSpPr>
          <p:cNvPr id="3" name="Undertittel 2">
            <a:extLst>
              <a:ext uri="{FF2B5EF4-FFF2-40B4-BE49-F238E27FC236}">
                <a16:creationId xmlns:a16="http://schemas.microsoft.com/office/drawing/2014/main" id="{053A494D-3749-4B17-B2D3-CEE02AE9E780}"/>
              </a:ext>
            </a:extLst>
          </p:cNvPr>
          <p:cNvSpPr>
            <a:spLocks noGrp="1"/>
          </p:cNvSpPr>
          <p:nvPr>
            <p:ph type="subTitle" idx="1"/>
          </p:nvPr>
        </p:nvSpPr>
        <p:spPr>
          <a:xfrm>
            <a:off x="1008126" y="3574295"/>
            <a:ext cx="6858000" cy="273088"/>
          </a:xfrm>
        </p:spPr>
        <p:txBody>
          <a:bodyPr/>
          <a:lstStyle/>
          <a:p>
            <a:r>
              <a:rPr lang="en-US" dirty="0"/>
              <a:t>Product session US 03-17-2021</a:t>
            </a:r>
          </a:p>
        </p:txBody>
      </p:sp>
    </p:spTree>
    <p:extLst>
      <p:ext uri="{BB962C8B-B14F-4D97-AF65-F5344CB8AC3E}">
        <p14:creationId xmlns:p14="http://schemas.microsoft.com/office/powerpoint/2010/main" val="14244623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967979" y="4919958"/>
            <a:ext cx="47662" cy="94978"/>
          </a:xfrm>
          <a:prstGeom prst="rect">
            <a:avLst/>
          </a:prstGeom>
        </p:spPr>
        <p:txBody>
          <a:bodyPr vert="horz" wrap="square" lIns="0" tIns="6111" rIns="0" bIns="0" rtlCol="0">
            <a:spAutoFit/>
          </a:bodyPr>
          <a:lstStyle/>
          <a:p>
            <a:pPr marL="6110">
              <a:spcBef>
                <a:spcPts val="48"/>
              </a:spcBef>
            </a:pPr>
            <a:r>
              <a:rPr sz="577" spc="5" dirty="0">
                <a:solidFill>
                  <a:srgbClr val="231F20"/>
                </a:solidFill>
                <a:latin typeface="Miriam"/>
                <a:cs typeface="Miriam"/>
              </a:rPr>
              <a:t>2</a:t>
            </a:r>
            <a:endParaRPr sz="577">
              <a:latin typeface="Miriam"/>
              <a:cs typeface="Miriam"/>
            </a:endParaRPr>
          </a:p>
        </p:txBody>
      </p:sp>
      <p:sp>
        <p:nvSpPr>
          <p:cNvPr id="3" name="object 3"/>
          <p:cNvSpPr txBox="1"/>
          <p:nvPr/>
        </p:nvSpPr>
        <p:spPr>
          <a:xfrm>
            <a:off x="3160149" y="4936612"/>
            <a:ext cx="661162" cy="80165"/>
          </a:xfrm>
          <a:prstGeom prst="rect">
            <a:avLst/>
          </a:prstGeom>
        </p:spPr>
        <p:txBody>
          <a:bodyPr vert="horz" wrap="square" lIns="0" tIns="6111" rIns="0" bIns="0" rtlCol="0">
            <a:spAutoFit/>
          </a:bodyPr>
          <a:lstStyle/>
          <a:p>
            <a:pPr marL="18330">
              <a:spcBef>
                <a:spcPts val="48"/>
              </a:spcBef>
            </a:pPr>
            <a:r>
              <a:rPr sz="481" dirty="0">
                <a:solidFill>
                  <a:srgbClr val="231F20"/>
                </a:solidFill>
                <a:latin typeface="Tahoma"/>
                <a:cs typeface="Tahoma"/>
              </a:rPr>
              <a:t>Stressles</a:t>
            </a:r>
            <a:r>
              <a:rPr sz="481" spc="-2" dirty="0">
                <a:solidFill>
                  <a:srgbClr val="231F20"/>
                </a:solidFill>
                <a:latin typeface="Tahoma"/>
                <a:cs typeface="Tahoma"/>
              </a:rPr>
              <a:t>s</a:t>
            </a:r>
            <a:r>
              <a:rPr sz="397" spc="-36" baseline="35353" dirty="0">
                <a:solidFill>
                  <a:srgbClr val="231F20"/>
                </a:solidFill>
                <a:latin typeface="Tahoma"/>
                <a:cs typeface="Tahoma"/>
              </a:rPr>
              <a:t>®</a:t>
            </a:r>
            <a:r>
              <a:rPr sz="397" spc="14" baseline="35353" dirty="0">
                <a:solidFill>
                  <a:srgbClr val="231F20"/>
                </a:solidFill>
                <a:latin typeface="Tahoma"/>
                <a:cs typeface="Tahoma"/>
              </a:rPr>
              <a:t> </a:t>
            </a:r>
            <a:r>
              <a:rPr sz="481" spc="31" dirty="0">
                <a:solidFill>
                  <a:srgbClr val="231F20"/>
                </a:solidFill>
                <a:latin typeface="Tahoma"/>
                <a:cs typeface="Tahoma"/>
              </a:rPr>
              <a:t>Mi</a:t>
            </a:r>
            <a:r>
              <a:rPr sz="481" spc="17" dirty="0">
                <a:solidFill>
                  <a:srgbClr val="231F20"/>
                </a:solidFill>
                <a:latin typeface="Tahoma"/>
                <a:cs typeface="Tahoma"/>
              </a:rPr>
              <a:t>k</a:t>
            </a:r>
            <a:r>
              <a:rPr sz="481" spc="-2" dirty="0">
                <a:solidFill>
                  <a:srgbClr val="231F20"/>
                </a:solidFill>
                <a:latin typeface="Tahoma"/>
                <a:cs typeface="Tahoma"/>
              </a:rPr>
              <a:t>e</a:t>
            </a:r>
            <a:r>
              <a:rPr sz="481" spc="-58" dirty="0">
                <a:solidFill>
                  <a:srgbClr val="231F20"/>
                </a:solidFill>
                <a:latin typeface="Tahoma"/>
                <a:cs typeface="Tahoma"/>
              </a:rPr>
              <a:t> </a:t>
            </a:r>
            <a:r>
              <a:rPr sz="481" spc="12" dirty="0">
                <a:solidFill>
                  <a:srgbClr val="231F20"/>
                </a:solidFill>
                <a:latin typeface="Tahoma"/>
                <a:cs typeface="Tahoma"/>
              </a:rPr>
              <a:t>&amp;</a:t>
            </a:r>
            <a:r>
              <a:rPr sz="481" spc="-58" dirty="0">
                <a:solidFill>
                  <a:srgbClr val="231F20"/>
                </a:solidFill>
                <a:latin typeface="Tahoma"/>
                <a:cs typeface="Tahoma"/>
              </a:rPr>
              <a:t> </a:t>
            </a:r>
            <a:r>
              <a:rPr sz="481" spc="22" dirty="0">
                <a:solidFill>
                  <a:srgbClr val="231F20"/>
                </a:solidFill>
                <a:latin typeface="Tahoma"/>
                <a:cs typeface="Tahoma"/>
              </a:rPr>
              <a:t>Max</a:t>
            </a:r>
            <a:endParaRPr sz="481">
              <a:latin typeface="Tahoma"/>
              <a:cs typeface="Tahoma"/>
            </a:endParaRPr>
          </a:p>
        </p:txBody>
      </p:sp>
      <p:sp>
        <p:nvSpPr>
          <p:cNvPr id="4" name="object 4"/>
          <p:cNvSpPr txBox="1"/>
          <p:nvPr/>
        </p:nvSpPr>
        <p:spPr>
          <a:xfrm>
            <a:off x="2967979" y="102788"/>
            <a:ext cx="373355" cy="109917"/>
          </a:xfrm>
          <a:prstGeom prst="rect">
            <a:avLst/>
          </a:prstGeom>
        </p:spPr>
        <p:txBody>
          <a:bodyPr vert="horz" wrap="square" lIns="0" tIns="6111" rIns="0" bIns="0" rtlCol="0">
            <a:spAutoFit/>
          </a:bodyPr>
          <a:lstStyle/>
          <a:p>
            <a:pPr marL="6110">
              <a:spcBef>
                <a:spcPts val="48"/>
              </a:spcBef>
            </a:pPr>
            <a:r>
              <a:rPr sz="674" spc="5" dirty="0">
                <a:solidFill>
                  <a:srgbClr val="231F20"/>
                </a:solidFill>
                <a:latin typeface="Tahoma"/>
                <a:cs typeface="Tahoma"/>
              </a:rPr>
              <a:t>Assembly</a:t>
            </a:r>
            <a:endParaRPr sz="674">
              <a:latin typeface="Tahoma"/>
              <a:cs typeface="Tahoma"/>
            </a:endParaRPr>
          </a:p>
        </p:txBody>
      </p:sp>
      <p:grpSp>
        <p:nvGrpSpPr>
          <p:cNvPr id="5" name="object 5"/>
          <p:cNvGrpSpPr/>
          <p:nvPr/>
        </p:nvGrpSpPr>
        <p:grpSpPr>
          <a:xfrm>
            <a:off x="2978224" y="714655"/>
            <a:ext cx="977994" cy="839895"/>
            <a:chOff x="465792" y="1485317"/>
            <a:chExt cx="2032635" cy="1745614"/>
          </a:xfrm>
        </p:grpSpPr>
        <p:sp>
          <p:nvSpPr>
            <p:cNvPr id="6" name="object 6"/>
            <p:cNvSpPr/>
            <p:nvPr/>
          </p:nvSpPr>
          <p:spPr>
            <a:xfrm>
              <a:off x="478492" y="1498017"/>
              <a:ext cx="2007235" cy="1720214"/>
            </a:xfrm>
            <a:custGeom>
              <a:avLst/>
              <a:gdLst/>
              <a:ahLst/>
              <a:cxnLst/>
              <a:rect l="l" t="t" r="r" b="b"/>
              <a:pathLst>
                <a:path w="2007235" h="1720214">
                  <a:moveTo>
                    <a:pt x="2007006" y="1720113"/>
                  </a:moveTo>
                  <a:lnTo>
                    <a:pt x="2007006" y="761619"/>
                  </a:lnTo>
                  <a:lnTo>
                    <a:pt x="1003503" y="0"/>
                  </a:lnTo>
                  <a:lnTo>
                    <a:pt x="0" y="761619"/>
                  </a:lnTo>
                  <a:lnTo>
                    <a:pt x="0" y="1720113"/>
                  </a:lnTo>
                  <a:lnTo>
                    <a:pt x="2007006" y="1720113"/>
                  </a:lnTo>
                  <a:close/>
                </a:path>
              </a:pathLst>
            </a:custGeom>
            <a:ln w="25400">
              <a:solidFill>
                <a:srgbClr val="231F20"/>
              </a:solidFill>
            </a:ln>
          </p:spPr>
          <p:txBody>
            <a:bodyPr wrap="square" lIns="0" tIns="0" rIns="0" bIns="0" rtlCol="0"/>
            <a:lstStyle/>
            <a:p>
              <a:endParaRPr sz="649"/>
            </a:p>
          </p:txBody>
        </p:sp>
        <p:sp>
          <p:nvSpPr>
            <p:cNvPr id="7" name="object 7"/>
            <p:cNvSpPr/>
            <p:nvPr/>
          </p:nvSpPr>
          <p:spPr>
            <a:xfrm>
              <a:off x="656028" y="2357388"/>
              <a:ext cx="314960" cy="751205"/>
            </a:xfrm>
            <a:custGeom>
              <a:avLst/>
              <a:gdLst/>
              <a:ahLst/>
              <a:cxnLst/>
              <a:rect l="l" t="t" r="r" b="b"/>
              <a:pathLst>
                <a:path w="314959" h="751205">
                  <a:moveTo>
                    <a:pt x="108496" y="444271"/>
                  </a:moveTo>
                  <a:lnTo>
                    <a:pt x="64974" y="466469"/>
                  </a:lnTo>
                  <a:lnTo>
                    <a:pt x="30630" y="500543"/>
                  </a:lnTo>
                  <a:lnTo>
                    <a:pt x="8096" y="543864"/>
                  </a:lnTo>
                  <a:lnTo>
                    <a:pt x="0" y="593801"/>
                  </a:lnTo>
                  <a:lnTo>
                    <a:pt x="8015" y="643501"/>
                  </a:lnTo>
                  <a:lnTo>
                    <a:pt x="30336" y="686665"/>
                  </a:lnTo>
                  <a:lnTo>
                    <a:pt x="64371" y="720702"/>
                  </a:lnTo>
                  <a:lnTo>
                    <a:pt x="107531" y="743023"/>
                  </a:lnTo>
                  <a:lnTo>
                    <a:pt x="157226" y="751039"/>
                  </a:lnTo>
                  <a:lnTo>
                    <a:pt x="206926" y="743023"/>
                  </a:lnTo>
                  <a:lnTo>
                    <a:pt x="250090" y="720702"/>
                  </a:lnTo>
                  <a:lnTo>
                    <a:pt x="284127" y="686665"/>
                  </a:lnTo>
                  <a:lnTo>
                    <a:pt x="306448" y="643501"/>
                  </a:lnTo>
                  <a:lnTo>
                    <a:pt x="314464" y="593801"/>
                  </a:lnTo>
                  <a:lnTo>
                    <a:pt x="306203" y="543377"/>
                  </a:lnTo>
                  <a:lnTo>
                    <a:pt x="283229" y="499737"/>
                  </a:lnTo>
                  <a:lnTo>
                    <a:pt x="248252" y="465590"/>
                  </a:lnTo>
                  <a:lnTo>
                    <a:pt x="203987" y="443649"/>
                  </a:lnTo>
                  <a:lnTo>
                    <a:pt x="205574" y="48336"/>
                  </a:lnTo>
                  <a:lnTo>
                    <a:pt x="201776" y="29521"/>
                  </a:lnTo>
                  <a:lnTo>
                    <a:pt x="191415" y="14157"/>
                  </a:lnTo>
                  <a:lnTo>
                    <a:pt x="176047" y="3798"/>
                  </a:lnTo>
                  <a:lnTo>
                    <a:pt x="157226" y="0"/>
                  </a:lnTo>
                  <a:lnTo>
                    <a:pt x="138411" y="3798"/>
                  </a:lnTo>
                  <a:lnTo>
                    <a:pt x="123047" y="14157"/>
                  </a:lnTo>
                  <a:lnTo>
                    <a:pt x="112688" y="29521"/>
                  </a:lnTo>
                  <a:lnTo>
                    <a:pt x="108889" y="48336"/>
                  </a:lnTo>
                  <a:lnTo>
                    <a:pt x="108496" y="444271"/>
                  </a:lnTo>
                  <a:close/>
                </a:path>
              </a:pathLst>
            </a:custGeom>
            <a:ln w="12699">
              <a:solidFill>
                <a:srgbClr val="231F20"/>
              </a:solidFill>
            </a:ln>
          </p:spPr>
          <p:txBody>
            <a:bodyPr wrap="square" lIns="0" tIns="0" rIns="0" bIns="0" rtlCol="0"/>
            <a:lstStyle/>
            <a:p>
              <a:endParaRPr sz="649"/>
            </a:p>
          </p:txBody>
        </p:sp>
        <p:sp>
          <p:nvSpPr>
            <p:cNvPr id="8" name="object 8"/>
            <p:cNvSpPr/>
            <p:nvPr/>
          </p:nvSpPr>
          <p:spPr>
            <a:xfrm>
              <a:off x="894680" y="2649272"/>
              <a:ext cx="70485" cy="0"/>
            </a:xfrm>
            <a:custGeom>
              <a:avLst/>
              <a:gdLst/>
              <a:ahLst/>
              <a:cxnLst/>
              <a:rect l="l" t="t" r="r" b="b"/>
              <a:pathLst>
                <a:path w="70484">
                  <a:moveTo>
                    <a:pt x="0" y="0"/>
                  </a:moveTo>
                  <a:lnTo>
                    <a:pt x="70192" y="0"/>
                  </a:lnTo>
                </a:path>
              </a:pathLst>
            </a:custGeom>
            <a:ln w="12700">
              <a:solidFill>
                <a:srgbClr val="231F20"/>
              </a:solidFill>
            </a:ln>
          </p:spPr>
          <p:txBody>
            <a:bodyPr wrap="square" lIns="0" tIns="0" rIns="0" bIns="0" rtlCol="0"/>
            <a:lstStyle/>
            <a:p>
              <a:endParaRPr sz="649"/>
            </a:p>
          </p:txBody>
        </p:sp>
        <p:sp>
          <p:nvSpPr>
            <p:cNvPr id="9" name="object 9"/>
            <p:cNvSpPr/>
            <p:nvPr/>
          </p:nvSpPr>
          <p:spPr>
            <a:xfrm>
              <a:off x="894680" y="2763770"/>
              <a:ext cx="70485" cy="0"/>
            </a:xfrm>
            <a:custGeom>
              <a:avLst/>
              <a:gdLst/>
              <a:ahLst/>
              <a:cxnLst/>
              <a:rect l="l" t="t" r="r" b="b"/>
              <a:pathLst>
                <a:path w="70484">
                  <a:moveTo>
                    <a:pt x="0" y="0"/>
                  </a:moveTo>
                  <a:lnTo>
                    <a:pt x="70192" y="0"/>
                  </a:lnTo>
                </a:path>
              </a:pathLst>
            </a:custGeom>
            <a:ln w="12700">
              <a:solidFill>
                <a:srgbClr val="231F20"/>
              </a:solidFill>
            </a:ln>
          </p:spPr>
          <p:txBody>
            <a:bodyPr wrap="square" lIns="0" tIns="0" rIns="0" bIns="0" rtlCol="0"/>
            <a:lstStyle/>
            <a:p>
              <a:endParaRPr sz="649"/>
            </a:p>
          </p:txBody>
        </p:sp>
        <p:sp>
          <p:nvSpPr>
            <p:cNvPr id="10" name="object 10"/>
            <p:cNvSpPr/>
            <p:nvPr/>
          </p:nvSpPr>
          <p:spPr>
            <a:xfrm>
              <a:off x="894680" y="2534786"/>
              <a:ext cx="70485" cy="0"/>
            </a:xfrm>
            <a:custGeom>
              <a:avLst/>
              <a:gdLst/>
              <a:ahLst/>
              <a:cxnLst/>
              <a:rect l="l" t="t" r="r" b="b"/>
              <a:pathLst>
                <a:path w="70484">
                  <a:moveTo>
                    <a:pt x="0" y="0"/>
                  </a:moveTo>
                  <a:lnTo>
                    <a:pt x="70192" y="0"/>
                  </a:lnTo>
                </a:path>
              </a:pathLst>
            </a:custGeom>
            <a:ln w="12700">
              <a:solidFill>
                <a:srgbClr val="231F20"/>
              </a:solidFill>
            </a:ln>
          </p:spPr>
          <p:txBody>
            <a:bodyPr wrap="square" lIns="0" tIns="0" rIns="0" bIns="0" rtlCol="0"/>
            <a:lstStyle/>
            <a:p>
              <a:endParaRPr sz="649"/>
            </a:p>
          </p:txBody>
        </p:sp>
        <p:sp>
          <p:nvSpPr>
            <p:cNvPr id="11" name="object 11"/>
            <p:cNvSpPr/>
            <p:nvPr/>
          </p:nvSpPr>
          <p:spPr>
            <a:xfrm>
              <a:off x="894680" y="2420287"/>
              <a:ext cx="70485" cy="0"/>
            </a:xfrm>
            <a:custGeom>
              <a:avLst/>
              <a:gdLst/>
              <a:ahLst/>
              <a:cxnLst/>
              <a:rect l="l" t="t" r="r" b="b"/>
              <a:pathLst>
                <a:path w="70484">
                  <a:moveTo>
                    <a:pt x="0" y="0"/>
                  </a:moveTo>
                  <a:lnTo>
                    <a:pt x="70192" y="0"/>
                  </a:lnTo>
                </a:path>
              </a:pathLst>
            </a:custGeom>
            <a:ln w="12700">
              <a:solidFill>
                <a:srgbClr val="231F20"/>
              </a:solidFill>
            </a:ln>
          </p:spPr>
          <p:txBody>
            <a:bodyPr wrap="square" lIns="0" tIns="0" rIns="0" bIns="0" rtlCol="0"/>
            <a:lstStyle/>
            <a:p>
              <a:endParaRPr sz="649"/>
            </a:p>
          </p:txBody>
        </p:sp>
        <p:sp>
          <p:nvSpPr>
            <p:cNvPr id="12" name="object 12"/>
            <p:cNvSpPr/>
            <p:nvPr/>
          </p:nvSpPr>
          <p:spPr>
            <a:xfrm>
              <a:off x="894680" y="2706521"/>
              <a:ext cx="47625" cy="0"/>
            </a:xfrm>
            <a:custGeom>
              <a:avLst/>
              <a:gdLst/>
              <a:ahLst/>
              <a:cxnLst/>
              <a:rect l="l" t="t" r="r" b="b"/>
              <a:pathLst>
                <a:path w="47625">
                  <a:moveTo>
                    <a:pt x="0" y="0"/>
                  </a:moveTo>
                  <a:lnTo>
                    <a:pt x="47307" y="0"/>
                  </a:lnTo>
                </a:path>
              </a:pathLst>
            </a:custGeom>
            <a:ln w="5080">
              <a:solidFill>
                <a:srgbClr val="231F20"/>
              </a:solidFill>
            </a:ln>
          </p:spPr>
          <p:txBody>
            <a:bodyPr wrap="square" lIns="0" tIns="0" rIns="0" bIns="0" rtlCol="0"/>
            <a:lstStyle/>
            <a:p>
              <a:endParaRPr sz="649"/>
            </a:p>
          </p:txBody>
        </p:sp>
        <p:sp>
          <p:nvSpPr>
            <p:cNvPr id="13" name="object 13"/>
            <p:cNvSpPr/>
            <p:nvPr/>
          </p:nvSpPr>
          <p:spPr>
            <a:xfrm>
              <a:off x="894680" y="2592023"/>
              <a:ext cx="47625" cy="0"/>
            </a:xfrm>
            <a:custGeom>
              <a:avLst/>
              <a:gdLst/>
              <a:ahLst/>
              <a:cxnLst/>
              <a:rect l="l" t="t" r="r" b="b"/>
              <a:pathLst>
                <a:path w="47625">
                  <a:moveTo>
                    <a:pt x="0" y="0"/>
                  </a:moveTo>
                  <a:lnTo>
                    <a:pt x="47307" y="0"/>
                  </a:lnTo>
                </a:path>
              </a:pathLst>
            </a:custGeom>
            <a:ln w="5080">
              <a:solidFill>
                <a:srgbClr val="231F20"/>
              </a:solidFill>
            </a:ln>
          </p:spPr>
          <p:txBody>
            <a:bodyPr wrap="square" lIns="0" tIns="0" rIns="0" bIns="0" rtlCol="0"/>
            <a:lstStyle/>
            <a:p>
              <a:endParaRPr sz="649"/>
            </a:p>
          </p:txBody>
        </p:sp>
        <p:sp>
          <p:nvSpPr>
            <p:cNvPr id="14" name="object 14"/>
            <p:cNvSpPr/>
            <p:nvPr/>
          </p:nvSpPr>
          <p:spPr>
            <a:xfrm>
              <a:off x="894680" y="2477537"/>
              <a:ext cx="47625" cy="0"/>
            </a:xfrm>
            <a:custGeom>
              <a:avLst/>
              <a:gdLst/>
              <a:ahLst/>
              <a:cxnLst/>
              <a:rect l="l" t="t" r="r" b="b"/>
              <a:pathLst>
                <a:path w="47625">
                  <a:moveTo>
                    <a:pt x="0" y="0"/>
                  </a:moveTo>
                  <a:lnTo>
                    <a:pt x="47307" y="0"/>
                  </a:lnTo>
                </a:path>
              </a:pathLst>
            </a:custGeom>
            <a:ln w="5080">
              <a:solidFill>
                <a:srgbClr val="231F20"/>
              </a:solidFill>
            </a:ln>
          </p:spPr>
          <p:txBody>
            <a:bodyPr wrap="square" lIns="0" tIns="0" rIns="0" bIns="0" rtlCol="0"/>
            <a:lstStyle/>
            <a:p>
              <a:endParaRPr sz="649"/>
            </a:p>
          </p:txBody>
        </p:sp>
        <p:sp>
          <p:nvSpPr>
            <p:cNvPr id="15" name="object 15"/>
            <p:cNvSpPr/>
            <p:nvPr/>
          </p:nvSpPr>
          <p:spPr>
            <a:xfrm>
              <a:off x="699912" y="2497945"/>
              <a:ext cx="226695" cy="566420"/>
            </a:xfrm>
            <a:custGeom>
              <a:avLst/>
              <a:gdLst/>
              <a:ahLst/>
              <a:cxnLst/>
              <a:rect l="l" t="t" r="r" b="b"/>
              <a:pathLst>
                <a:path w="226694" h="566419">
                  <a:moveTo>
                    <a:pt x="132397" y="0"/>
                  </a:moveTo>
                  <a:lnTo>
                    <a:pt x="94297" y="0"/>
                  </a:lnTo>
                  <a:lnTo>
                    <a:pt x="94297" y="341020"/>
                  </a:lnTo>
                  <a:lnTo>
                    <a:pt x="56991" y="354405"/>
                  </a:lnTo>
                  <a:lnTo>
                    <a:pt x="27084" y="379204"/>
                  </a:lnTo>
                  <a:lnTo>
                    <a:pt x="7209" y="412816"/>
                  </a:lnTo>
                  <a:lnTo>
                    <a:pt x="0" y="452640"/>
                  </a:lnTo>
                  <a:lnTo>
                    <a:pt x="8907" y="496767"/>
                  </a:lnTo>
                  <a:lnTo>
                    <a:pt x="33199" y="532799"/>
                  </a:lnTo>
                  <a:lnTo>
                    <a:pt x="69228" y="557093"/>
                  </a:lnTo>
                  <a:lnTo>
                    <a:pt x="113347" y="566000"/>
                  </a:lnTo>
                  <a:lnTo>
                    <a:pt x="157466" y="557093"/>
                  </a:lnTo>
                  <a:lnTo>
                    <a:pt x="193495" y="532799"/>
                  </a:lnTo>
                  <a:lnTo>
                    <a:pt x="217787" y="496767"/>
                  </a:lnTo>
                  <a:lnTo>
                    <a:pt x="226694" y="452640"/>
                  </a:lnTo>
                  <a:lnTo>
                    <a:pt x="219485" y="412816"/>
                  </a:lnTo>
                  <a:lnTo>
                    <a:pt x="199610" y="379204"/>
                  </a:lnTo>
                  <a:lnTo>
                    <a:pt x="169703" y="354405"/>
                  </a:lnTo>
                  <a:lnTo>
                    <a:pt x="132397" y="341020"/>
                  </a:lnTo>
                  <a:lnTo>
                    <a:pt x="132397" y="0"/>
                  </a:lnTo>
                  <a:close/>
                </a:path>
              </a:pathLst>
            </a:custGeom>
            <a:solidFill>
              <a:srgbClr val="E3873E"/>
            </a:solidFill>
          </p:spPr>
          <p:txBody>
            <a:bodyPr wrap="square" lIns="0" tIns="0" rIns="0" bIns="0" rtlCol="0"/>
            <a:lstStyle/>
            <a:p>
              <a:endParaRPr sz="649"/>
            </a:p>
          </p:txBody>
        </p:sp>
        <p:sp>
          <p:nvSpPr>
            <p:cNvPr id="16" name="object 16"/>
            <p:cNvSpPr/>
            <p:nvPr/>
          </p:nvSpPr>
          <p:spPr>
            <a:xfrm>
              <a:off x="1201893" y="2028430"/>
              <a:ext cx="1080135" cy="1080135"/>
            </a:xfrm>
            <a:custGeom>
              <a:avLst/>
              <a:gdLst/>
              <a:ahLst/>
              <a:cxnLst/>
              <a:rect l="l" t="t" r="r" b="b"/>
              <a:pathLst>
                <a:path w="1080135" h="1080135">
                  <a:moveTo>
                    <a:pt x="539991" y="0"/>
                  </a:moveTo>
                  <a:lnTo>
                    <a:pt x="490842" y="2206"/>
                  </a:lnTo>
                  <a:lnTo>
                    <a:pt x="442929" y="8700"/>
                  </a:lnTo>
                  <a:lnTo>
                    <a:pt x="396442" y="19289"/>
                  </a:lnTo>
                  <a:lnTo>
                    <a:pt x="351573" y="33784"/>
                  </a:lnTo>
                  <a:lnTo>
                    <a:pt x="308512" y="51993"/>
                  </a:lnTo>
                  <a:lnTo>
                    <a:pt x="267450" y="73726"/>
                  </a:lnTo>
                  <a:lnTo>
                    <a:pt x="228577" y="98793"/>
                  </a:lnTo>
                  <a:lnTo>
                    <a:pt x="192084" y="127002"/>
                  </a:lnTo>
                  <a:lnTo>
                    <a:pt x="158162" y="158164"/>
                  </a:lnTo>
                  <a:lnTo>
                    <a:pt x="127001" y="192087"/>
                  </a:lnTo>
                  <a:lnTo>
                    <a:pt x="98792" y="228580"/>
                  </a:lnTo>
                  <a:lnTo>
                    <a:pt x="73726" y="267454"/>
                  </a:lnTo>
                  <a:lnTo>
                    <a:pt x="51993" y="308517"/>
                  </a:lnTo>
                  <a:lnTo>
                    <a:pt x="33784" y="351579"/>
                  </a:lnTo>
                  <a:lnTo>
                    <a:pt x="19289" y="396450"/>
                  </a:lnTo>
                  <a:lnTo>
                    <a:pt x="8700" y="442938"/>
                  </a:lnTo>
                  <a:lnTo>
                    <a:pt x="2206" y="490852"/>
                  </a:lnTo>
                  <a:lnTo>
                    <a:pt x="0" y="540003"/>
                  </a:lnTo>
                  <a:lnTo>
                    <a:pt x="2206" y="589153"/>
                  </a:lnTo>
                  <a:lnTo>
                    <a:pt x="8700" y="637066"/>
                  </a:lnTo>
                  <a:lnTo>
                    <a:pt x="19289" y="683553"/>
                  </a:lnTo>
                  <a:lnTo>
                    <a:pt x="33784" y="728423"/>
                  </a:lnTo>
                  <a:lnTo>
                    <a:pt x="51993" y="771484"/>
                  </a:lnTo>
                  <a:lnTo>
                    <a:pt x="73726" y="812547"/>
                  </a:lnTo>
                  <a:lnTo>
                    <a:pt x="98792" y="851421"/>
                  </a:lnTo>
                  <a:lnTo>
                    <a:pt x="127001" y="887915"/>
                  </a:lnTo>
                  <a:lnTo>
                    <a:pt x="158162" y="921839"/>
                  </a:lnTo>
                  <a:lnTo>
                    <a:pt x="192084" y="953001"/>
                  </a:lnTo>
                  <a:lnTo>
                    <a:pt x="228577" y="981211"/>
                  </a:lnTo>
                  <a:lnTo>
                    <a:pt x="267450" y="1006278"/>
                  </a:lnTo>
                  <a:lnTo>
                    <a:pt x="308512" y="1028012"/>
                  </a:lnTo>
                  <a:lnTo>
                    <a:pt x="351573" y="1046222"/>
                  </a:lnTo>
                  <a:lnTo>
                    <a:pt x="396442" y="1060717"/>
                  </a:lnTo>
                  <a:lnTo>
                    <a:pt x="442929" y="1071307"/>
                  </a:lnTo>
                  <a:lnTo>
                    <a:pt x="490842" y="1077801"/>
                  </a:lnTo>
                  <a:lnTo>
                    <a:pt x="539991" y="1080008"/>
                  </a:lnTo>
                  <a:lnTo>
                    <a:pt x="589144" y="1077801"/>
                  </a:lnTo>
                  <a:lnTo>
                    <a:pt x="637060" y="1071307"/>
                  </a:lnTo>
                  <a:lnTo>
                    <a:pt x="683549" y="1060717"/>
                  </a:lnTo>
                  <a:lnTo>
                    <a:pt x="728420" y="1046222"/>
                  </a:lnTo>
                  <a:lnTo>
                    <a:pt x="771483" y="1028012"/>
                  </a:lnTo>
                  <a:lnTo>
                    <a:pt x="812546" y="1006278"/>
                  </a:lnTo>
                  <a:lnTo>
                    <a:pt x="851420" y="981211"/>
                  </a:lnTo>
                  <a:lnTo>
                    <a:pt x="887913" y="953001"/>
                  </a:lnTo>
                  <a:lnTo>
                    <a:pt x="921835" y="921839"/>
                  </a:lnTo>
                  <a:lnTo>
                    <a:pt x="952996" y="887915"/>
                  </a:lnTo>
                  <a:lnTo>
                    <a:pt x="981205" y="851421"/>
                  </a:lnTo>
                  <a:lnTo>
                    <a:pt x="1006271" y="812547"/>
                  </a:lnTo>
                  <a:lnTo>
                    <a:pt x="1028003" y="771484"/>
                  </a:lnTo>
                  <a:lnTo>
                    <a:pt x="1046212" y="728423"/>
                  </a:lnTo>
                  <a:lnTo>
                    <a:pt x="1060706" y="683553"/>
                  </a:lnTo>
                  <a:lnTo>
                    <a:pt x="1071295" y="637066"/>
                  </a:lnTo>
                  <a:lnTo>
                    <a:pt x="1077788" y="589153"/>
                  </a:lnTo>
                  <a:lnTo>
                    <a:pt x="1079995" y="540003"/>
                  </a:lnTo>
                  <a:lnTo>
                    <a:pt x="1077788" y="490852"/>
                  </a:lnTo>
                  <a:lnTo>
                    <a:pt x="1071295" y="442938"/>
                  </a:lnTo>
                  <a:lnTo>
                    <a:pt x="1060706" y="396450"/>
                  </a:lnTo>
                  <a:lnTo>
                    <a:pt x="1046212" y="351579"/>
                  </a:lnTo>
                  <a:lnTo>
                    <a:pt x="1028003" y="308517"/>
                  </a:lnTo>
                  <a:lnTo>
                    <a:pt x="1006271" y="267454"/>
                  </a:lnTo>
                  <a:lnTo>
                    <a:pt x="981205" y="228580"/>
                  </a:lnTo>
                  <a:lnTo>
                    <a:pt x="952996" y="192087"/>
                  </a:lnTo>
                  <a:lnTo>
                    <a:pt x="921835" y="158164"/>
                  </a:lnTo>
                  <a:lnTo>
                    <a:pt x="887913" y="127002"/>
                  </a:lnTo>
                  <a:lnTo>
                    <a:pt x="851420" y="98793"/>
                  </a:lnTo>
                  <a:lnTo>
                    <a:pt x="812546" y="73726"/>
                  </a:lnTo>
                  <a:lnTo>
                    <a:pt x="771483" y="51993"/>
                  </a:lnTo>
                  <a:lnTo>
                    <a:pt x="728420" y="33784"/>
                  </a:lnTo>
                  <a:lnTo>
                    <a:pt x="683549" y="19289"/>
                  </a:lnTo>
                  <a:lnTo>
                    <a:pt x="637060" y="8700"/>
                  </a:lnTo>
                  <a:lnTo>
                    <a:pt x="589144" y="2206"/>
                  </a:lnTo>
                  <a:lnTo>
                    <a:pt x="539991" y="0"/>
                  </a:lnTo>
                  <a:close/>
                </a:path>
              </a:pathLst>
            </a:custGeom>
            <a:solidFill>
              <a:srgbClr val="D1D3D4"/>
            </a:solidFill>
          </p:spPr>
          <p:txBody>
            <a:bodyPr wrap="square" lIns="0" tIns="0" rIns="0" bIns="0" rtlCol="0"/>
            <a:lstStyle/>
            <a:p>
              <a:endParaRPr sz="649"/>
            </a:p>
          </p:txBody>
        </p:sp>
        <p:sp>
          <p:nvSpPr>
            <p:cNvPr id="17" name="object 17"/>
            <p:cNvSpPr/>
            <p:nvPr/>
          </p:nvSpPr>
          <p:spPr>
            <a:xfrm>
              <a:off x="1201893" y="2028430"/>
              <a:ext cx="1080135" cy="1080135"/>
            </a:xfrm>
            <a:custGeom>
              <a:avLst/>
              <a:gdLst/>
              <a:ahLst/>
              <a:cxnLst/>
              <a:rect l="l" t="t" r="r" b="b"/>
              <a:pathLst>
                <a:path w="1080135" h="1080135">
                  <a:moveTo>
                    <a:pt x="1079995" y="540003"/>
                  </a:moveTo>
                  <a:lnTo>
                    <a:pt x="1077788" y="589153"/>
                  </a:lnTo>
                  <a:lnTo>
                    <a:pt x="1071295" y="637066"/>
                  </a:lnTo>
                  <a:lnTo>
                    <a:pt x="1060706" y="683553"/>
                  </a:lnTo>
                  <a:lnTo>
                    <a:pt x="1046212" y="728423"/>
                  </a:lnTo>
                  <a:lnTo>
                    <a:pt x="1028003" y="771484"/>
                  </a:lnTo>
                  <a:lnTo>
                    <a:pt x="1006271" y="812547"/>
                  </a:lnTo>
                  <a:lnTo>
                    <a:pt x="981205" y="851421"/>
                  </a:lnTo>
                  <a:lnTo>
                    <a:pt x="952996" y="887915"/>
                  </a:lnTo>
                  <a:lnTo>
                    <a:pt x="921835" y="921839"/>
                  </a:lnTo>
                  <a:lnTo>
                    <a:pt x="887913" y="953001"/>
                  </a:lnTo>
                  <a:lnTo>
                    <a:pt x="851420" y="981211"/>
                  </a:lnTo>
                  <a:lnTo>
                    <a:pt x="812546" y="1006278"/>
                  </a:lnTo>
                  <a:lnTo>
                    <a:pt x="771483" y="1028012"/>
                  </a:lnTo>
                  <a:lnTo>
                    <a:pt x="728420" y="1046222"/>
                  </a:lnTo>
                  <a:lnTo>
                    <a:pt x="683549" y="1060717"/>
                  </a:lnTo>
                  <a:lnTo>
                    <a:pt x="637060" y="1071307"/>
                  </a:lnTo>
                  <a:lnTo>
                    <a:pt x="589144" y="1077801"/>
                  </a:lnTo>
                  <a:lnTo>
                    <a:pt x="539991" y="1080008"/>
                  </a:lnTo>
                  <a:lnTo>
                    <a:pt x="490842" y="1077801"/>
                  </a:lnTo>
                  <a:lnTo>
                    <a:pt x="442929" y="1071307"/>
                  </a:lnTo>
                  <a:lnTo>
                    <a:pt x="396442" y="1060717"/>
                  </a:lnTo>
                  <a:lnTo>
                    <a:pt x="351573" y="1046222"/>
                  </a:lnTo>
                  <a:lnTo>
                    <a:pt x="308512" y="1028012"/>
                  </a:lnTo>
                  <a:lnTo>
                    <a:pt x="267450" y="1006278"/>
                  </a:lnTo>
                  <a:lnTo>
                    <a:pt x="228577" y="981211"/>
                  </a:lnTo>
                  <a:lnTo>
                    <a:pt x="192084" y="953001"/>
                  </a:lnTo>
                  <a:lnTo>
                    <a:pt x="158162" y="921839"/>
                  </a:lnTo>
                  <a:lnTo>
                    <a:pt x="127001" y="887915"/>
                  </a:lnTo>
                  <a:lnTo>
                    <a:pt x="98792" y="851421"/>
                  </a:lnTo>
                  <a:lnTo>
                    <a:pt x="73726" y="812547"/>
                  </a:lnTo>
                  <a:lnTo>
                    <a:pt x="51993" y="771484"/>
                  </a:lnTo>
                  <a:lnTo>
                    <a:pt x="33784" y="728423"/>
                  </a:lnTo>
                  <a:lnTo>
                    <a:pt x="19289" y="683553"/>
                  </a:lnTo>
                  <a:lnTo>
                    <a:pt x="8700" y="637066"/>
                  </a:lnTo>
                  <a:lnTo>
                    <a:pt x="2206" y="589153"/>
                  </a:lnTo>
                  <a:lnTo>
                    <a:pt x="0" y="540003"/>
                  </a:lnTo>
                  <a:lnTo>
                    <a:pt x="2206" y="490852"/>
                  </a:lnTo>
                  <a:lnTo>
                    <a:pt x="8700" y="442938"/>
                  </a:lnTo>
                  <a:lnTo>
                    <a:pt x="19289" y="396450"/>
                  </a:lnTo>
                  <a:lnTo>
                    <a:pt x="33784" y="351579"/>
                  </a:lnTo>
                  <a:lnTo>
                    <a:pt x="51993" y="308517"/>
                  </a:lnTo>
                  <a:lnTo>
                    <a:pt x="73726" y="267454"/>
                  </a:lnTo>
                  <a:lnTo>
                    <a:pt x="98792" y="228580"/>
                  </a:lnTo>
                  <a:lnTo>
                    <a:pt x="127001" y="192087"/>
                  </a:lnTo>
                  <a:lnTo>
                    <a:pt x="158162" y="158164"/>
                  </a:lnTo>
                  <a:lnTo>
                    <a:pt x="192084" y="127002"/>
                  </a:lnTo>
                  <a:lnTo>
                    <a:pt x="228577" y="98793"/>
                  </a:lnTo>
                  <a:lnTo>
                    <a:pt x="267450" y="73726"/>
                  </a:lnTo>
                  <a:lnTo>
                    <a:pt x="308512" y="51993"/>
                  </a:lnTo>
                  <a:lnTo>
                    <a:pt x="351573" y="33784"/>
                  </a:lnTo>
                  <a:lnTo>
                    <a:pt x="396442" y="19289"/>
                  </a:lnTo>
                  <a:lnTo>
                    <a:pt x="442929" y="8700"/>
                  </a:lnTo>
                  <a:lnTo>
                    <a:pt x="490842" y="2206"/>
                  </a:lnTo>
                  <a:lnTo>
                    <a:pt x="539991" y="0"/>
                  </a:lnTo>
                  <a:lnTo>
                    <a:pt x="589144" y="2206"/>
                  </a:lnTo>
                  <a:lnTo>
                    <a:pt x="637060" y="8700"/>
                  </a:lnTo>
                  <a:lnTo>
                    <a:pt x="683549" y="19289"/>
                  </a:lnTo>
                  <a:lnTo>
                    <a:pt x="728420" y="33784"/>
                  </a:lnTo>
                  <a:lnTo>
                    <a:pt x="771483" y="51993"/>
                  </a:lnTo>
                  <a:lnTo>
                    <a:pt x="812546" y="73726"/>
                  </a:lnTo>
                  <a:lnTo>
                    <a:pt x="851420" y="98793"/>
                  </a:lnTo>
                  <a:lnTo>
                    <a:pt x="887913" y="127002"/>
                  </a:lnTo>
                  <a:lnTo>
                    <a:pt x="921835" y="158164"/>
                  </a:lnTo>
                  <a:lnTo>
                    <a:pt x="952996" y="192087"/>
                  </a:lnTo>
                  <a:lnTo>
                    <a:pt x="981205" y="228580"/>
                  </a:lnTo>
                  <a:lnTo>
                    <a:pt x="1006271" y="267454"/>
                  </a:lnTo>
                  <a:lnTo>
                    <a:pt x="1028003" y="308517"/>
                  </a:lnTo>
                  <a:lnTo>
                    <a:pt x="1046212" y="351579"/>
                  </a:lnTo>
                  <a:lnTo>
                    <a:pt x="1060706" y="396450"/>
                  </a:lnTo>
                  <a:lnTo>
                    <a:pt x="1071295" y="442938"/>
                  </a:lnTo>
                  <a:lnTo>
                    <a:pt x="1077788" y="490852"/>
                  </a:lnTo>
                  <a:lnTo>
                    <a:pt x="1079995" y="540003"/>
                  </a:lnTo>
                  <a:close/>
                </a:path>
              </a:pathLst>
            </a:custGeom>
            <a:ln w="25400">
              <a:solidFill>
                <a:srgbClr val="E3873E"/>
              </a:solidFill>
              <a:prstDash val="sysDash"/>
            </a:ln>
          </p:spPr>
          <p:txBody>
            <a:bodyPr wrap="square" lIns="0" tIns="0" rIns="0" bIns="0" rtlCol="0"/>
            <a:lstStyle/>
            <a:p>
              <a:endParaRPr sz="649"/>
            </a:p>
          </p:txBody>
        </p:sp>
        <p:sp>
          <p:nvSpPr>
            <p:cNvPr id="18" name="object 18"/>
            <p:cNvSpPr/>
            <p:nvPr/>
          </p:nvSpPr>
          <p:spPr>
            <a:xfrm>
              <a:off x="1349147" y="2573493"/>
              <a:ext cx="41910" cy="0"/>
            </a:xfrm>
            <a:custGeom>
              <a:avLst/>
              <a:gdLst/>
              <a:ahLst/>
              <a:cxnLst/>
              <a:rect l="l" t="t" r="r" b="b"/>
              <a:pathLst>
                <a:path w="41909">
                  <a:moveTo>
                    <a:pt x="0" y="0"/>
                  </a:moveTo>
                  <a:lnTo>
                    <a:pt x="41490" y="0"/>
                  </a:lnTo>
                </a:path>
              </a:pathLst>
            </a:custGeom>
            <a:ln w="12700">
              <a:solidFill>
                <a:srgbClr val="231F20"/>
              </a:solidFill>
            </a:ln>
          </p:spPr>
          <p:txBody>
            <a:bodyPr wrap="square" lIns="0" tIns="0" rIns="0" bIns="0" rtlCol="0"/>
            <a:lstStyle/>
            <a:p>
              <a:endParaRPr sz="649"/>
            </a:p>
          </p:txBody>
        </p:sp>
        <p:sp>
          <p:nvSpPr>
            <p:cNvPr id="19" name="object 19"/>
            <p:cNvSpPr/>
            <p:nvPr/>
          </p:nvSpPr>
          <p:spPr>
            <a:xfrm>
              <a:off x="1740640" y="2180600"/>
              <a:ext cx="0" cy="46355"/>
            </a:xfrm>
            <a:custGeom>
              <a:avLst/>
              <a:gdLst/>
              <a:ahLst/>
              <a:cxnLst/>
              <a:rect l="l" t="t" r="r" b="b"/>
              <a:pathLst>
                <a:path h="46355">
                  <a:moveTo>
                    <a:pt x="0" y="0"/>
                  </a:moveTo>
                  <a:lnTo>
                    <a:pt x="0" y="46088"/>
                  </a:lnTo>
                </a:path>
              </a:pathLst>
            </a:custGeom>
            <a:ln w="12700">
              <a:solidFill>
                <a:srgbClr val="231F20"/>
              </a:solidFill>
            </a:ln>
          </p:spPr>
          <p:txBody>
            <a:bodyPr wrap="square" lIns="0" tIns="0" rIns="0" bIns="0" rtlCol="0"/>
            <a:lstStyle/>
            <a:p>
              <a:endParaRPr sz="649"/>
            </a:p>
          </p:txBody>
        </p:sp>
        <p:sp>
          <p:nvSpPr>
            <p:cNvPr id="20" name="object 20"/>
            <p:cNvSpPr/>
            <p:nvPr/>
          </p:nvSpPr>
          <p:spPr>
            <a:xfrm>
              <a:off x="1740640" y="2920040"/>
              <a:ext cx="0" cy="46355"/>
            </a:xfrm>
            <a:custGeom>
              <a:avLst/>
              <a:gdLst/>
              <a:ahLst/>
              <a:cxnLst/>
              <a:rect l="l" t="t" r="r" b="b"/>
              <a:pathLst>
                <a:path h="46355">
                  <a:moveTo>
                    <a:pt x="0" y="0"/>
                  </a:moveTo>
                  <a:lnTo>
                    <a:pt x="0" y="46088"/>
                  </a:lnTo>
                </a:path>
              </a:pathLst>
            </a:custGeom>
            <a:ln w="12700">
              <a:solidFill>
                <a:srgbClr val="231F20"/>
              </a:solidFill>
            </a:ln>
          </p:spPr>
          <p:txBody>
            <a:bodyPr wrap="square" lIns="0" tIns="0" rIns="0" bIns="0" rtlCol="0"/>
            <a:lstStyle/>
            <a:p>
              <a:endParaRPr sz="649"/>
            </a:p>
          </p:txBody>
        </p:sp>
        <p:pic>
          <p:nvPicPr>
            <p:cNvPr id="21" name="object 21"/>
            <p:cNvPicPr/>
            <p:nvPr/>
          </p:nvPicPr>
          <p:blipFill>
            <a:blip r:embed="rId2" cstate="print"/>
            <a:stretch>
              <a:fillRect/>
            </a:stretch>
          </p:blipFill>
          <p:spPr>
            <a:xfrm>
              <a:off x="1710387" y="2546747"/>
              <a:ext cx="65189" cy="65176"/>
            </a:xfrm>
            <a:prstGeom prst="rect">
              <a:avLst/>
            </a:prstGeom>
          </p:spPr>
        </p:pic>
        <p:sp>
          <p:nvSpPr>
            <p:cNvPr id="22" name="object 22"/>
            <p:cNvSpPr/>
            <p:nvPr/>
          </p:nvSpPr>
          <p:spPr>
            <a:xfrm>
              <a:off x="1637742" y="2393207"/>
              <a:ext cx="386080" cy="187960"/>
            </a:xfrm>
            <a:custGeom>
              <a:avLst/>
              <a:gdLst/>
              <a:ahLst/>
              <a:cxnLst/>
              <a:rect l="l" t="t" r="r" b="b"/>
              <a:pathLst>
                <a:path w="386080" h="187960">
                  <a:moveTo>
                    <a:pt x="386029" y="13538"/>
                  </a:moveTo>
                  <a:lnTo>
                    <a:pt x="102730" y="187769"/>
                  </a:lnTo>
                  <a:lnTo>
                    <a:pt x="0" y="0"/>
                  </a:lnTo>
                </a:path>
              </a:pathLst>
            </a:custGeom>
            <a:ln w="25400">
              <a:solidFill>
                <a:srgbClr val="231F20"/>
              </a:solidFill>
            </a:ln>
          </p:spPr>
          <p:txBody>
            <a:bodyPr wrap="square" lIns="0" tIns="0" rIns="0" bIns="0" rtlCol="0"/>
            <a:lstStyle/>
            <a:p>
              <a:endParaRPr sz="649"/>
            </a:p>
          </p:txBody>
        </p:sp>
        <p:sp>
          <p:nvSpPr>
            <p:cNvPr id="23" name="object 23"/>
            <p:cNvSpPr/>
            <p:nvPr/>
          </p:nvSpPr>
          <p:spPr>
            <a:xfrm>
              <a:off x="1304801" y="2131342"/>
              <a:ext cx="864869" cy="874394"/>
            </a:xfrm>
            <a:custGeom>
              <a:avLst/>
              <a:gdLst/>
              <a:ahLst/>
              <a:cxnLst/>
              <a:rect l="l" t="t" r="r" b="b"/>
              <a:pathLst>
                <a:path w="864869" h="874394">
                  <a:moveTo>
                    <a:pt x="853351" y="570814"/>
                  </a:moveTo>
                  <a:lnTo>
                    <a:pt x="837013" y="613752"/>
                  </a:lnTo>
                  <a:lnTo>
                    <a:pt x="816427" y="654391"/>
                  </a:lnTo>
                  <a:lnTo>
                    <a:pt x="791867" y="692458"/>
                  </a:lnTo>
                  <a:lnTo>
                    <a:pt x="763605" y="727679"/>
                  </a:lnTo>
                  <a:lnTo>
                    <a:pt x="731916" y="759781"/>
                  </a:lnTo>
                  <a:lnTo>
                    <a:pt x="697072" y="788490"/>
                  </a:lnTo>
                  <a:lnTo>
                    <a:pt x="659349" y="813533"/>
                  </a:lnTo>
                  <a:lnTo>
                    <a:pt x="619018" y="834636"/>
                  </a:lnTo>
                  <a:lnTo>
                    <a:pt x="576353" y="851526"/>
                  </a:lnTo>
                  <a:lnTo>
                    <a:pt x="531629" y="863928"/>
                  </a:lnTo>
                  <a:lnTo>
                    <a:pt x="485119" y="871570"/>
                  </a:lnTo>
                  <a:lnTo>
                    <a:pt x="437095" y="874179"/>
                  </a:lnTo>
                  <a:lnTo>
                    <a:pt x="389469" y="871614"/>
                  </a:lnTo>
                  <a:lnTo>
                    <a:pt x="343328" y="864098"/>
                  </a:lnTo>
                  <a:lnTo>
                    <a:pt x="298939" y="851897"/>
                  </a:lnTo>
                  <a:lnTo>
                    <a:pt x="256569" y="835277"/>
                  </a:lnTo>
                  <a:lnTo>
                    <a:pt x="216485" y="814506"/>
                  </a:lnTo>
                  <a:lnTo>
                    <a:pt x="178952" y="789849"/>
                  </a:lnTo>
                  <a:lnTo>
                    <a:pt x="144238" y="761574"/>
                  </a:lnTo>
                  <a:lnTo>
                    <a:pt x="112610" y="729947"/>
                  </a:lnTo>
                  <a:lnTo>
                    <a:pt x="84334" y="695234"/>
                  </a:lnTo>
                  <a:lnTo>
                    <a:pt x="59676" y="657703"/>
                  </a:lnTo>
                  <a:lnTo>
                    <a:pt x="38903" y="617619"/>
                  </a:lnTo>
                  <a:lnTo>
                    <a:pt x="22283" y="575250"/>
                  </a:lnTo>
                  <a:lnTo>
                    <a:pt x="10081" y="530862"/>
                  </a:lnTo>
                  <a:lnTo>
                    <a:pt x="2564" y="484722"/>
                  </a:lnTo>
                  <a:lnTo>
                    <a:pt x="0" y="437095"/>
                  </a:lnTo>
                  <a:lnTo>
                    <a:pt x="2564" y="389467"/>
                  </a:lnTo>
                  <a:lnTo>
                    <a:pt x="10081" y="343324"/>
                  </a:lnTo>
                  <a:lnTo>
                    <a:pt x="22283" y="298934"/>
                  </a:lnTo>
                  <a:lnTo>
                    <a:pt x="38903" y="256564"/>
                  </a:lnTo>
                  <a:lnTo>
                    <a:pt x="59676" y="216479"/>
                  </a:lnTo>
                  <a:lnTo>
                    <a:pt x="84334" y="178947"/>
                  </a:lnTo>
                  <a:lnTo>
                    <a:pt x="112610" y="144233"/>
                  </a:lnTo>
                  <a:lnTo>
                    <a:pt x="144238" y="112606"/>
                  </a:lnTo>
                  <a:lnTo>
                    <a:pt x="178952" y="84330"/>
                  </a:lnTo>
                  <a:lnTo>
                    <a:pt x="216485" y="59673"/>
                  </a:lnTo>
                  <a:lnTo>
                    <a:pt x="256569" y="38901"/>
                  </a:lnTo>
                  <a:lnTo>
                    <a:pt x="298939" y="22282"/>
                  </a:lnTo>
                  <a:lnTo>
                    <a:pt x="343328" y="10080"/>
                  </a:lnTo>
                  <a:lnTo>
                    <a:pt x="389469" y="2564"/>
                  </a:lnTo>
                  <a:lnTo>
                    <a:pt x="437095" y="0"/>
                  </a:lnTo>
                  <a:lnTo>
                    <a:pt x="484962" y="2590"/>
                  </a:lnTo>
                  <a:lnTo>
                    <a:pt x="531327" y="10183"/>
                  </a:lnTo>
                  <a:lnTo>
                    <a:pt x="575919" y="22506"/>
                  </a:lnTo>
                  <a:lnTo>
                    <a:pt x="618467" y="39289"/>
                  </a:lnTo>
                  <a:lnTo>
                    <a:pt x="658700" y="60262"/>
                  </a:lnTo>
                  <a:lnTo>
                    <a:pt x="696349" y="85153"/>
                  </a:lnTo>
                  <a:lnTo>
                    <a:pt x="731141" y="113692"/>
                  </a:lnTo>
                  <a:lnTo>
                    <a:pt x="762807" y="145608"/>
                  </a:lnTo>
                  <a:lnTo>
                    <a:pt x="791075" y="180630"/>
                  </a:lnTo>
                  <a:lnTo>
                    <a:pt x="815674" y="218487"/>
                  </a:lnTo>
                  <a:lnTo>
                    <a:pt x="836335" y="258910"/>
                  </a:lnTo>
                  <a:lnTo>
                    <a:pt x="852785" y="301627"/>
                  </a:lnTo>
                  <a:lnTo>
                    <a:pt x="864755" y="346367"/>
                  </a:lnTo>
                </a:path>
              </a:pathLst>
            </a:custGeom>
            <a:ln w="25400">
              <a:solidFill>
                <a:srgbClr val="FFFFFF"/>
              </a:solidFill>
            </a:ln>
          </p:spPr>
          <p:txBody>
            <a:bodyPr wrap="square" lIns="0" tIns="0" rIns="0" bIns="0" rtlCol="0"/>
            <a:lstStyle/>
            <a:p>
              <a:endParaRPr sz="649"/>
            </a:p>
          </p:txBody>
        </p:sp>
        <p:sp>
          <p:nvSpPr>
            <p:cNvPr id="24" name="object 24"/>
            <p:cNvSpPr/>
            <p:nvPr/>
          </p:nvSpPr>
          <p:spPr>
            <a:xfrm>
              <a:off x="2102563" y="2451769"/>
              <a:ext cx="125730" cy="116839"/>
            </a:xfrm>
            <a:custGeom>
              <a:avLst/>
              <a:gdLst/>
              <a:ahLst/>
              <a:cxnLst/>
              <a:rect l="l" t="t" r="r" b="b"/>
              <a:pathLst>
                <a:path w="125730" h="116839">
                  <a:moveTo>
                    <a:pt x="125679" y="0"/>
                  </a:moveTo>
                  <a:lnTo>
                    <a:pt x="0" y="15684"/>
                  </a:lnTo>
                  <a:lnTo>
                    <a:pt x="76428" y="116662"/>
                  </a:lnTo>
                  <a:lnTo>
                    <a:pt x="125679" y="0"/>
                  </a:lnTo>
                  <a:close/>
                </a:path>
              </a:pathLst>
            </a:custGeom>
            <a:solidFill>
              <a:srgbClr val="FFFFFF"/>
            </a:solidFill>
          </p:spPr>
          <p:txBody>
            <a:bodyPr wrap="square" lIns="0" tIns="0" rIns="0" bIns="0" rtlCol="0"/>
            <a:lstStyle/>
            <a:p>
              <a:endParaRPr sz="649"/>
            </a:p>
          </p:txBody>
        </p:sp>
      </p:grpSp>
      <p:sp>
        <p:nvSpPr>
          <p:cNvPr id="25" name="object 25"/>
          <p:cNvSpPr txBox="1"/>
          <p:nvPr/>
        </p:nvSpPr>
        <p:spPr>
          <a:xfrm>
            <a:off x="3052632" y="1257203"/>
            <a:ext cx="829202" cy="492193"/>
          </a:xfrm>
          <a:prstGeom prst="rect">
            <a:avLst/>
          </a:prstGeom>
        </p:spPr>
        <p:txBody>
          <a:bodyPr vert="horz" wrap="square" lIns="0" tIns="7944" rIns="0" bIns="0" rtlCol="0">
            <a:spAutoFit/>
          </a:bodyPr>
          <a:lstStyle/>
          <a:p>
            <a:pPr marL="538899">
              <a:spcBef>
                <a:spcPts val="63"/>
              </a:spcBef>
            </a:pPr>
            <a:r>
              <a:rPr sz="674" b="1" spc="-46" dirty="0">
                <a:solidFill>
                  <a:srgbClr val="231F20"/>
                </a:solidFill>
                <a:latin typeface="Tahoma"/>
                <a:cs typeface="Tahoma"/>
              </a:rPr>
              <a:t>24h</a:t>
            </a:r>
            <a:endParaRPr sz="674">
              <a:latin typeface="Tahoma"/>
              <a:cs typeface="Tahoma"/>
            </a:endParaRPr>
          </a:p>
          <a:p>
            <a:pPr>
              <a:lnSpc>
                <a:spcPct val="100000"/>
              </a:lnSpc>
            </a:pPr>
            <a:endParaRPr sz="818">
              <a:latin typeface="Tahoma"/>
              <a:cs typeface="Tahoma"/>
            </a:endParaRPr>
          </a:p>
          <a:p>
            <a:pPr marL="133808" marR="2444" indent="-128004">
              <a:spcBef>
                <a:spcPts val="635"/>
              </a:spcBef>
            </a:pPr>
            <a:r>
              <a:rPr sz="577" spc="7" dirty="0">
                <a:solidFill>
                  <a:srgbClr val="231F20"/>
                </a:solidFill>
                <a:latin typeface="Tahoma"/>
                <a:cs typeface="Tahoma"/>
              </a:rPr>
              <a:t>Acclimates</a:t>
            </a:r>
            <a:r>
              <a:rPr sz="577" spc="-70" dirty="0">
                <a:solidFill>
                  <a:srgbClr val="231F20"/>
                </a:solidFill>
                <a:latin typeface="Tahoma"/>
                <a:cs typeface="Tahoma"/>
              </a:rPr>
              <a:t> </a:t>
            </a:r>
            <a:r>
              <a:rPr sz="577" spc="7" dirty="0">
                <a:solidFill>
                  <a:srgbClr val="231F20"/>
                </a:solidFill>
                <a:latin typeface="Tahoma"/>
                <a:cs typeface="Tahoma"/>
              </a:rPr>
              <a:t>indoors</a:t>
            </a:r>
            <a:r>
              <a:rPr sz="577" spc="-70" dirty="0">
                <a:solidFill>
                  <a:srgbClr val="231F20"/>
                </a:solidFill>
                <a:latin typeface="Tahoma"/>
                <a:cs typeface="Tahoma"/>
              </a:rPr>
              <a:t> </a:t>
            </a:r>
            <a:r>
              <a:rPr sz="577" spc="12" dirty="0">
                <a:solidFill>
                  <a:srgbClr val="231F20"/>
                </a:solidFill>
                <a:latin typeface="Tahoma"/>
                <a:cs typeface="Tahoma"/>
              </a:rPr>
              <a:t>for</a:t>
            </a:r>
            <a:r>
              <a:rPr sz="577" spc="-70" dirty="0">
                <a:solidFill>
                  <a:srgbClr val="231F20"/>
                </a:solidFill>
                <a:latin typeface="Tahoma"/>
                <a:cs typeface="Tahoma"/>
              </a:rPr>
              <a:t> </a:t>
            </a:r>
            <a:r>
              <a:rPr sz="577" spc="14" dirty="0">
                <a:solidFill>
                  <a:srgbClr val="231F20"/>
                </a:solidFill>
                <a:latin typeface="Tahoma"/>
                <a:cs typeface="Tahoma"/>
              </a:rPr>
              <a:t>24  </a:t>
            </a:r>
            <a:r>
              <a:rPr sz="577" spc="2" dirty="0">
                <a:solidFill>
                  <a:srgbClr val="231F20"/>
                </a:solidFill>
                <a:latin typeface="Tahoma"/>
                <a:cs typeface="Tahoma"/>
              </a:rPr>
              <a:t>hours</a:t>
            </a:r>
            <a:r>
              <a:rPr sz="577" spc="-70" dirty="0">
                <a:solidFill>
                  <a:srgbClr val="231F20"/>
                </a:solidFill>
                <a:latin typeface="Tahoma"/>
                <a:cs typeface="Tahoma"/>
              </a:rPr>
              <a:t> </a:t>
            </a:r>
            <a:r>
              <a:rPr sz="577" spc="7" dirty="0">
                <a:solidFill>
                  <a:srgbClr val="231F20"/>
                </a:solidFill>
                <a:latin typeface="Tahoma"/>
                <a:cs typeface="Tahoma"/>
              </a:rPr>
              <a:t>before</a:t>
            </a:r>
            <a:r>
              <a:rPr sz="577" spc="-70" dirty="0">
                <a:solidFill>
                  <a:srgbClr val="231F20"/>
                </a:solidFill>
                <a:latin typeface="Tahoma"/>
                <a:cs typeface="Tahoma"/>
              </a:rPr>
              <a:t> </a:t>
            </a:r>
            <a:r>
              <a:rPr sz="577" spc="-2" dirty="0">
                <a:solidFill>
                  <a:srgbClr val="231F20"/>
                </a:solidFill>
                <a:latin typeface="Tahoma"/>
                <a:cs typeface="Tahoma"/>
              </a:rPr>
              <a:t>use!</a:t>
            </a:r>
            <a:endParaRPr sz="577">
              <a:latin typeface="Tahoma"/>
              <a:cs typeface="Tahoma"/>
            </a:endParaRPr>
          </a:p>
        </p:txBody>
      </p:sp>
      <p:grpSp>
        <p:nvGrpSpPr>
          <p:cNvPr id="26" name="object 26"/>
          <p:cNvGrpSpPr/>
          <p:nvPr/>
        </p:nvGrpSpPr>
        <p:grpSpPr>
          <a:xfrm>
            <a:off x="4384018" y="1456637"/>
            <a:ext cx="1513279" cy="953552"/>
            <a:chOff x="3387554" y="3027431"/>
            <a:chExt cx="3145155" cy="1981835"/>
          </a:xfrm>
        </p:grpSpPr>
        <p:sp>
          <p:nvSpPr>
            <p:cNvPr id="27" name="object 27"/>
            <p:cNvSpPr/>
            <p:nvPr/>
          </p:nvSpPr>
          <p:spPr>
            <a:xfrm>
              <a:off x="4967889" y="3040131"/>
              <a:ext cx="1551940" cy="1594485"/>
            </a:xfrm>
            <a:custGeom>
              <a:avLst/>
              <a:gdLst/>
              <a:ahLst/>
              <a:cxnLst/>
              <a:rect l="l" t="t" r="r" b="b"/>
              <a:pathLst>
                <a:path w="1551940" h="1594485">
                  <a:moveTo>
                    <a:pt x="1277327" y="1588436"/>
                  </a:moveTo>
                  <a:lnTo>
                    <a:pt x="1337984" y="1594216"/>
                  </a:lnTo>
                  <a:lnTo>
                    <a:pt x="1379815" y="1593743"/>
                  </a:lnTo>
                  <a:lnTo>
                    <a:pt x="1405785" y="1590735"/>
                  </a:lnTo>
                  <a:lnTo>
                    <a:pt x="1431367" y="1531032"/>
                  </a:lnTo>
                  <a:lnTo>
                    <a:pt x="1437545" y="1489964"/>
                  </a:lnTo>
                  <a:lnTo>
                    <a:pt x="1444458" y="1440475"/>
                  </a:lnTo>
                  <a:lnTo>
                    <a:pt x="1451944" y="1384042"/>
                  </a:lnTo>
                  <a:lnTo>
                    <a:pt x="1459841" y="1322147"/>
                  </a:lnTo>
                  <a:lnTo>
                    <a:pt x="1467989" y="1256267"/>
                  </a:lnTo>
                  <a:lnTo>
                    <a:pt x="1476226" y="1187885"/>
                  </a:lnTo>
                  <a:lnTo>
                    <a:pt x="1484389" y="1118477"/>
                  </a:lnTo>
                  <a:lnTo>
                    <a:pt x="1492319" y="1049525"/>
                  </a:lnTo>
                  <a:lnTo>
                    <a:pt x="1499853" y="982508"/>
                  </a:lnTo>
                  <a:lnTo>
                    <a:pt x="1506829" y="918905"/>
                  </a:lnTo>
                  <a:lnTo>
                    <a:pt x="1511105" y="864941"/>
                  </a:lnTo>
                  <a:lnTo>
                    <a:pt x="1513090" y="806132"/>
                  </a:lnTo>
                  <a:lnTo>
                    <a:pt x="1513109" y="743858"/>
                  </a:lnTo>
                  <a:lnTo>
                    <a:pt x="1511486" y="679502"/>
                  </a:lnTo>
                  <a:lnTo>
                    <a:pt x="1508546" y="614444"/>
                  </a:lnTo>
                  <a:lnTo>
                    <a:pt x="1504613" y="550065"/>
                  </a:lnTo>
                  <a:lnTo>
                    <a:pt x="1500012" y="487746"/>
                  </a:lnTo>
                  <a:lnTo>
                    <a:pt x="1495068" y="428869"/>
                  </a:lnTo>
                  <a:lnTo>
                    <a:pt x="1490106" y="374815"/>
                  </a:lnTo>
                  <a:lnTo>
                    <a:pt x="1485449" y="326964"/>
                  </a:lnTo>
                  <a:lnTo>
                    <a:pt x="1481423" y="286697"/>
                  </a:lnTo>
                  <a:lnTo>
                    <a:pt x="1478352" y="255397"/>
                  </a:lnTo>
                  <a:lnTo>
                    <a:pt x="1476561" y="234444"/>
                  </a:lnTo>
                  <a:lnTo>
                    <a:pt x="1476375" y="225218"/>
                  </a:lnTo>
                  <a:lnTo>
                    <a:pt x="1488899" y="213568"/>
                  </a:lnTo>
                  <a:lnTo>
                    <a:pt x="1513517" y="194187"/>
                  </a:lnTo>
                  <a:lnTo>
                    <a:pt x="1538395" y="159969"/>
                  </a:lnTo>
                  <a:lnTo>
                    <a:pt x="1551698" y="103806"/>
                  </a:lnTo>
                  <a:lnTo>
                    <a:pt x="1547278" y="60684"/>
                  </a:lnTo>
                  <a:lnTo>
                    <a:pt x="1528256" y="28488"/>
                  </a:lnTo>
                  <a:lnTo>
                    <a:pt x="1493423" y="8000"/>
                  </a:lnTo>
                  <a:lnTo>
                    <a:pt x="1441565" y="0"/>
                  </a:lnTo>
                  <a:lnTo>
                    <a:pt x="1371473" y="5267"/>
                  </a:lnTo>
                  <a:lnTo>
                    <a:pt x="1352421" y="7990"/>
                  </a:lnTo>
                  <a:lnTo>
                    <a:pt x="1326768" y="11351"/>
                  </a:lnTo>
                  <a:lnTo>
                    <a:pt x="1257872" y="19683"/>
                  </a:lnTo>
                  <a:lnTo>
                    <a:pt x="1215732" y="24504"/>
                  </a:lnTo>
                  <a:lnTo>
                    <a:pt x="1169203" y="29662"/>
                  </a:lnTo>
                  <a:lnTo>
                    <a:pt x="1118835" y="35081"/>
                  </a:lnTo>
                  <a:lnTo>
                    <a:pt x="1065183" y="40686"/>
                  </a:lnTo>
                  <a:lnTo>
                    <a:pt x="1008797" y="46403"/>
                  </a:lnTo>
                  <a:lnTo>
                    <a:pt x="950231" y="52155"/>
                  </a:lnTo>
                  <a:lnTo>
                    <a:pt x="890038" y="57869"/>
                  </a:lnTo>
                  <a:lnTo>
                    <a:pt x="828769" y="63468"/>
                  </a:lnTo>
                  <a:lnTo>
                    <a:pt x="766978" y="68877"/>
                  </a:lnTo>
                  <a:lnTo>
                    <a:pt x="705216" y="74022"/>
                  </a:lnTo>
                  <a:lnTo>
                    <a:pt x="644038" y="78827"/>
                  </a:lnTo>
                  <a:lnTo>
                    <a:pt x="583994" y="83217"/>
                  </a:lnTo>
                  <a:lnTo>
                    <a:pt x="525638" y="87116"/>
                  </a:lnTo>
                  <a:lnTo>
                    <a:pt x="469522" y="90450"/>
                  </a:lnTo>
                  <a:lnTo>
                    <a:pt x="416199" y="93144"/>
                  </a:lnTo>
                  <a:lnTo>
                    <a:pt x="366221" y="95122"/>
                  </a:lnTo>
                  <a:lnTo>
                    <a:pt x="320140" y="96310"/>
                  </a:lnTo>
                  <a:lnTo>
                    <a:pt x="278510" y="96631"/>
                  </a:lnTo>
                  <a:lnTo>
                    <a:pt x="227432" y="96856"/>
                  </a:lnTo>
                  <a:lnTo>
                    <a:pt x="187571" y="99430"/>
                  </a:lnTo>
                  <a:lnTo>
                    <a:pt x="109194" y="120621"/>
                  </a:lnTo>
                  <a:lnTo>
                    <a:pt x="66049" y="138795"/>
                  </a:lnTo>
                  <a:lnTo>
                    <a:pt x="31837" y="160707"/>
                  </a:lnTo>
                  <a:lnTo>
                    <a:pt x="9005" y="192046"/>
                  </a:lnTo>
                  <a:lnTo>
                    <a:pt x="0" y="238502"/>
                  </a:lnTo>
                  <a:lnTo>
                    <a:pt x="5203" y="283947"/>
                  </a:lnTo>
                  <a:lnTo>
                    <a:pt x="18203" y="310867"/>
                  </a:lnTo>
                  <a:lnTo>
                    <a:pt x="31202" y="326738"/>
                  </a:lnTo>
                  <a:lnTo>
                    <a:pt x="36398" y="339036"/>
                  </a:lnTo>
                  <a:lnTo>
                    <a:pt x="34046" y="408643"/>
                  </a:lnTo>
                  <a:lnTo>
                    <a:pt x="30556" y="544876"/>
                  </a:lnTo>
                  <a:lnTo>
                    <a:pt x="27389" y="677858"/>
                  </a:lnTo>
                  <a:lnTo>
                    <a:pt x="26009" y="737714"/>
                  </a:lnTo>
                </a:path>
              </a:pathLst>
            </a:custGeom>
            <a:ln w="25400">
              <a:solidFill>
                <a:srgbClr val="231F20"/>
              </a:solidFill>
            </a:ln>
          </p:spPr>
          <p:txBody>
            <a:bodyPr wrap="square" lIns="0" tIns="0" rIns="0" bIns="0" rtlCol="0"/>
            <a:lstStyle/>
            <a:p>
              <a:endParaRPr sz="649"/>
            </a:p>
          </p:txBody>
        </p:sp>
        <p:sp>
          <p:nvSpPr>
            <p:cNvPr id="28" name="object 28"/>
            <p:cNvSpPr/>
            <p:nvPr/>
          </p:nvSpPr>
          <p:spPr>
            <a:xfrm>
              <a:off x="4429659" y="3748662"/>
              <a:ext cx="1875789" cy="1247775"/>
            </a:xfrm>
            <a:custGeom>
              <a:avLst/>
              <a:gdLst/>
              <a:ahLst/>
              <a:cxnLst/>
              <a:rect l="l" t="t" r="r" b="b"/>
              <a:pathLst>
                <a:path w="1875789" h="1247775">
                  <a:moveTo>
                    <a:pt x="277672" y="145824"/>
                  </a:moveTo>
                  <a:lnTo>
                    <a:pt x="354803" y="137833"/>
                  </a:lnTo>
                  <a:lnTo>
                    <a:pt x="402860" y="133618"/>
                  </a:lnTo>
                  <a:lnTo>
                    <a:pt x="455521" y="129235"/>
                  </a:lnTo>
                  <a:lnTo>
                    <a:pt x="511490" y="124670"/>
                  </a:lnTo>
                  <a:lnTo>
                    <a:pt x="569475" y="119905"/>
                  </a:lnTo>
                  <a:lnTo>
                    <a:pt x="628181" y="114925"/>
                  </a:lnTo>
                  <a:lnTo>
                    <a:pt x="686314" y="109714"/>
                  </a:lnTo>
                  <a:lnTo>
                    <a:pt x="742580" y="104255"/>
                  </a:lnTo>
                  <a:lnTo>
                    <a:pt x="795686" y="98534"/>
                  </a:lnTo>
                  <a:lnTo>
                    <a:pt x="844337" y="92534"/>
                  </a:lnTo>
                  <a:lnTo>
                    <a:pt x="887239" y="86238"/>
                  </a:lnTo>
                  <a:lnTo>
                    <a:pt x="960257" y="71427"/>
                  </a:lnTo>
                  <a:lnTo>
                    <a:pt x="1002144" y="61841"/>
                  </a:lnTo>
                  <a:lnTo>
                    <a:pt x="1048076" y="51412"/>
                  </a:lnTo>
                  <a:lnTo>
                    <a:pt x="1097368" y="40677"/>
                  </a:lnTo>
                  <a:lnTo>
                    <a:pt x="1149338" y="30175"/>
                  </a:lnTo>
                  <a:lnTo>
                    <a:pt x="1203301" y="20445"/>
                  </a:lnTo>
                  <a:lnTo>
                    <a:pt x="1258573" y="12024"/>
                  </a:lnTo>
                  <a:lnTo>
                    <a:pt x="1314471" y="5451"/>
                  </a:lnTo>
                  <a:lnTo>
                    <a:pt x="1370310" y="1263"/>
                  </a:lnTo>
                  <a:lnTo>
                    <a:pt x="1425408" y="0"/>
                  </a:lnTo>
                  <a:lnTo>
                    <a:pt x="1479080" y="2198"/>
                  </a:lnTo>
                  <a:lnTo>
                    <a:pt x="1530642" y="8397"/>
                  </a:lnTo>
                  <a:lnTo>
                    <a:pt x="1588907" y="18683"/>
                  </a:lnTo>
                  <a:lnTo>
                    <a:pt x="1642798" y="29849"/>
                  </a:lnTo>
                  <a:lnTo>
                    <a:pt x="1691962" y="42524"/>
                  </a:lnTo>
                  <a:lnTo>
                    <a:pt x="1736048" y="57336"/>
                  </a:lnTo>
                  <a:lnTo>
                    <a:pt x="1774704" y="74914"/>
                  </a:lnTo>
                  <a:lnTo>
                    <a:pt x="1807578" y="95885"/>
                  </a:lnTo>
                  <a:lnTo>
                    <a:pt x="1854572" y="150524"/>
                  </a:lnTo>
                  <a:lnTo>
                    <a:pt x="1874215" y="226279"/>
                  </a:lnTo>
                  <a:lnTo>
                    <a:pt x="1875244" y="290955"/>
                  </a:lnTo>
                  <a:lnTo>
                    <a:pt x="1874371" y="333529"/>
                  </a:lnTo>
                  <a:lnTo>
                    <a:pt x="1872515" y="381496"/>
                  </a:lnTo>
                  <a:lnTo>
                    <a:pt x="1869633" y="433781"/>
                  </a:lnTo>
                  <a:lnTo>
                    <a:pt x="1865682" y="489313"/>
                  </a:lnTo>
                  <a:lnTo>
                    <a:pt x="1860618" y="547017"/>
                  </a:lnTo>
                  <a:lnTo>
                    <a:pt x="1854400" y="605820"/>
                  </a:lnTo>
                  <a:lnTo>
                    <a:pt x="1846983" y="664649"/>
                  </a:lnTo>
                  <a:lnTo>
                    <a:pt x="1838324" y="722431"/>
                  </a:lnTo>
                  <a:lnTo>
                    <a:pt x="1828381" y="778091"/>
                  </a:lnTo>
                  <a:lnTo>
                    <a:pt x="1817110" y="830557"/>
                  </a:lnTo>
                  <a:lnTo>
                    <a:pt x="1804468" y="878755"/>
                  </a:lnTo>
                  <a:lnTo>
                    <a:pt x="1790412" y="921612"/>
                  </a:lnTo>
                  <a:lnTo>
                    <a:pt x="1774899" y="958055"/>
                  </a:lnTo>
                  <a:lnTo>
                    <a:pt x="1739329" y="1007403"/>
                  </a:lnTo>
                  <a:lnTo>
                    <a:pt x="1700616" y="1022687"/>
                  </a:lnTo>
                  <a:lnTo>
                    <a:pt x="1641020" y="1035337"/>
                  </a:lnTo>
                  <a:lnTo>
                    <a:pt x="1601294" y="1043238"/>
                  </a:lnTo>
                  <a:lnTo>
                    <a:pt x="1555815" y="1052039"/>
                  </a:lnTo>
                  <a:lnTo>
                    <a:pt x="1505233" y="1061630"/>
                  </a:lnTo>
                  <a:lnTo>
                    <a:pt x="1450198" y="1071898"/>
                  </a:lnTo>
                  <a:lnTo>
                    <a:pt x="1391360" y="1082730"/>
                  </a:lnTo>
                  <a:lnTo>
                    <a:pt x="1329368" y="1094014"/>
                  </a:lnTo>
                  <a:lnTo>
                    <a:pt x="1264872" y="1105639"/>
                  </a:lnTo>
                  <a:lnTo>
                    <a:pt x="1198522" y="1117491"/>
                  </a:lnTo>
                  <a:lnTo>
                    <a:pt x="1130966" y="1129459"/>
                  </a:lnTo>
                  <a:lnTo>
                    <a:pt x="1062856" y="1141431"/>
                  </a:lnTo>
                  <a:lnTo>
                    <a:pt x="994841" y="1153294"/>
                  </a:lnTo>
                  <a:lnTo>
                    <a:pt x="927569" y="1164937"/>
                  </a:lnTo>
                  <a:lnTo>
                    <a:pt x="861692" y="1176247"/>
                  </a:lnTo>
                  <a:lnTo>
                    <a:pt x="797859" y="1187111"/>
                  </a:lnTo>
                  <a:lnTo>
                    <a:pt x="736719" y="1197419"/>
                  </a:lnTo>
                  <a:lnTo>
                    <a:pt x="678923" y="1207057"/>
                  </a:lnTo>
                  <a:lnTo>
                    <a:pt x="625119" y="1215913"/>
                  </a:lnTo>
                  <a:lnTo>
                    <a:pt x="575957" y="1223875"/>
                  </a:lnTo>
                  <a:lnTo>
                    <a:pt x="532088" y="1230832"/>
                  </a:lnTo>
                  <a:lnTo>
                    <a:pt x="494161" y="1236671"/>
                  </a:lnTo>
                  <a:lnTo>
                    <a:pt x="438732" y="1244544"/>
                  </a:lnTo>
                  <a:lnTo>
                    <a:pt x="379341" y="1247294"/>
                  </a:lnTo>
                  <a:lnTo>
                    <a:pt x="325149" y="1244124"/>
                  </a:lnTo>
                  <a:lnTo>
                    <a:pt x="264595" y="1237293"/>
                  </a:lnTo>
                  <a:lnTo>
                    <a:pt x="202318" y="1227248"/>
                  </a:lnTo>
                  <a:lnTo>
                    <a:pt x="142962" y="1214439"/>
                  </a:lnTo>
                  <a:lnTo>
                    <a:pt x="91167" y="1199314"/>
                  </a:lnTo>
                  <a:lnTo>
                    <a:pt x="51576" y="1182320"/>
                  </a:lnTo>
                  <a:lnTo>
                    <a:pt x="14744" y="1140113"/>
                  </a:lnTo>
                  <a:lnTo>
                    <a:pt x="1311" y="1107495"/>
                  </a:lnTo>
                  <a:lnTo>
                    <a:pt x="0" y="1102668"/>
                  </a:lnTo>
                </a:path>
              </a:pathLst>
            </a:custGeom>
            <a:ln w="25400">
              <a:solidFill>
                <a:srgbClr val="231F20"/>
              </a:solidFill>
            </a:ln>
          </p:spPr>
          <p:txBody>
            <a:bodyPr wrap="square" lIns="0" tIns="0" rIns="0" bIns="0" rtlCol="0"/>
            <a:lstStyle/>
            <a:p>
              <a:endParaRPr sz="649"/>
            </a:p>
          </p:txBody>
        </p:sp>
        <p:sp>
          <p:nvSpPr>
            <p:cNvPr id="29" name="object 29"/>
            <p:cNvSpPr/>
            <p:nvPr/>
          </p:nvSpPr>
          <p:spPr>
            <a:xfrm>
              <a:off x="3400254" y="3188826"/>
              <a:ext cx="1443990" cy="1699895"/>
            </a:xfrm>
            <a:custGeom>
              <a:avLst/>
              <a:gdLst/>
              <a:ahLst/>
              <a:cxnLst/>
              <a:rect l="l" t="t" r="r" b="b"/>
              <a:pathLst>
                <a:path w="1443989" h="1699895">
                  <a:moveTo>
                    <a:pt x="459384" y="32274"/>
                  </a:moveTo>
                  <a:lnTo>
                    <a:pt x="390868" y="38518"/>
                  </a:lnTo>
                  <a:lnTo>
                    <a:pt x="325580" y="42936"/>
                  </a:lnTo>
                  <a:lnTo>
                    <a:pt x="264675" y="45845"/>
                  </a:lnTo>
                  <a:lnTo>
                    <a:pt x="209308" y="47559"/>
                  </a:lnTo>
                  <a:lnTo>
                    <a:pt x="160634" y="48393"/>
                  </a:lnTo>
                  <a:lnTo>
                    <a:pt x="119808" y="48663"/>
                  </a:lnTo>
                  <a:lnTo>
                    <a:pt x="87985" y="48683"/>
                  </a:lnTo>
                  <a:lnTo>
                    <a:pt x="48057" y="58181"/>
                  </a:lnTo>
                  <a:lnTo>
                    <a:pt x="21318" y="83789"/>
                  </a:lnTo>
                  <a:lnTo>
                    <a:pt x="5916" y="121174"/>
                  </a:lnTo>
                  <a:lnTo>
                    <a:pt x="0" y="166005"/>
                  </a:lnTo>
                  <a:lnTo>
                    <a:pt x="11090" y="205922"/>
                  </a:lnTo>
                  <a:lnTo>
                    <a:pt x="38158" y="233503"/>
                  </a:lnTo>
                  <a:lnTo>
                    <a:pt x="66467" y="252402"/>
                  </a:lnTo>
                  <a:lnTo>
                    <a:pt x="81280" y="266272"/>
                  </a:lnTo>
                  <a:lnTo>
                    <a:pt x="82796" y="277464"/>
                  </a:lnTo>
                  <a:lnTo>
                    <a:pt x="85077" y="300946"/>
                  </a:lnTo>
                  <a:lnTo>
                    <a:pt x="88137" y="335279"/>
                  </a:lnTo>
                  <a:lnTo>
                    <a:pt x="91992" y="379025"/>
                  </a:lnTo>
                  <a:lnTo>
                    <a:pt x="96655" y="430745"/>
                  </a:lnTo>
                  <a:lnTo>
                    <a:pt x="102142" y="489003"/>
                  </a:lnTo>
                  <a:lnTo>
                    <a:pt x="108468" y="552359"/>
                  </a:lnTo>
                  <a:lnTo>
                    <a:pt x="115647" y="619375"/>
                  </a:lnTo>
                  <a:lnTo>
                    <a:pt x="123695" y="688614"/>
                  </a:lnTo>
                  <a:lnTo>
                    <a:pt x="132626" y="758637"/>
                  </a:lnTo>
                  <a:lnTo>
                    <a:pt x="142455" y="828006"/>
                  </a:lnTo>
                  <a:lnTo>
                    <a:pt x="153107" y="897075"/>
                  </a:lnTo>
                  <a:lnTo>
                    <a:pt x="164307" y="966277"/>
                  </a:lnTo>
                  <a:lnTo>
                    <a:pt x="175772" y="1034290"/>
                  </a:lnTo>
                  <a:lnTo>
                    <a:pt x="187218" y="1099790"/>
                  </a:lnTo>
                  <a:lnTo>
                    <a:pt x="198361" y="1161456"/>
                  </a:lnTo>
                  <a:lnTo>
                    <a:pt x="208920" y="1217966"/>
                  </a:lnTo>
                  <a:lnTo>
                    <a:pt x="218609" y="1267997"/>
                  </a:lnTo>
                  <a:lnTo>
                    <a:pt x="227147" y="1310226"/>
                  </a:lnTo>
                  <a:lnTo>
                    <a:pt x="239633" y="1365994"/>
                  </a:lnTo>
                  <a:lnTo>
                    <a:pt x="270064" y="1398677"/>
                  </a:lnTo>
                  <a:lnTo>
                    <a:pt x="336732" y="1438568"/>
                  </a:lnTo>
                  <a:lnTo>
                    <a:pt x="382849" y="1462787"/>
                  </a:lnTo>
                  <a:lnTo>
                    <a:pt x="436382" y="1488513"/>
                  </a:lnTo>
                  <a:lnTo>
                    <a:pt x="496502" y="1514742"/>
                  </a:lnTo>
                  <a:lnTo>
                    <a:pt x="562379" y="1540468"/>
                  </a:lnTo>
                  <a:lnTo>
                    <a:pt x="633184" y="1564684"/>
                  </a:lnTo>
                  <a:lnTo>
                    <a:pt x="708088" y="1586386"/>
                  </a:lnTo>
                  <a:lnTo>
                    <a:pt x="772775" y="1602773"/>
                  </a:lnTo>
                  <a:lnTo>
                    <a:pt x="838365" y="1618331"/>
                  </a:lnTo>
                  <a:lnTo>
                    <a:pt x="903837" y="1632929"/>
                  </a:lnTo>
                  <a:lnTo>
                    <a:pt x="968176" y="1646436"/>
                  </a:lnTo>
                  <a:lnTo>
                    <a:pt x="1030360" y="1658722"/>
                  </a:lnTo>
                  <a:lnTo>
                    <a:pt x="1089374" y="1669655"/>
                  </a:lnTo>
                  <a:lnTo>
                    <a:pt x="1144197" y="1679105"/>
                  </a:lnTo>
                  <a:lnTo>
                    <a:pt x="1193812" y="1686940"/>
                  </a:lnTo>
                  <a:lnTo>
                    <a:pt x="1237201" y="1693030"/>
                  </a:lnTo>
                  <a:lnTo>
                    <a:pt x="1301224" y="1699450"/>
                  </a:lnTo>
                  <a:lnTo>
                    <a:pt x="1319822" y="1699518"/>
                  </a:lnTo>
                  <a:lnTo>
                    <a:pt x="1360020" y="1697291"/>
                  </a:lnTo>
                  <a:lnTo>
                    <a:pt x="1424704" y="1686557"/>
                  </a:lnTo>
                  <a:lnTo>
                    <a:pt x="1443987" y="1634943"/>
                  </a:lnTo>
                  <a:lnTo>
                    <a:pt x="1443087" y="1602717"/>
                  </a:lnTo>
                  <a:lnTo>
                    <a:pt x="1440824" y="1562253"/>
                  </a:lnTo>
                  <a:lnTo>
                    <a:pt x="1437292" y="1514672"/>
                  </a:lnTo>
                  <a:lnTo>
                    <a:pt x="1432581" y="1461095"/>
                  </a:lnTo>
                  <a:lnTo>
                    <a:pt x="1426782" y="1402643"/>
                  </a:lnTo>
                  <a:lnTo>
                    <a:pt x="1419988" y="1340439"/>
                  </a:lnTo>
                  <a:lnTo>
                    <a:pt x="1412290" y="1275603"/>
                  </a:lnTo>
                  <a:lnTo>
                    <a:pt x="1403780" y="1209257"/>
                  </a:lnTo>
                  <a:lnTo>
                    <a:pt x="1394549" y="1142522"/>
                  </a:lnTo>
                  <a:lnTo>
                    <a:pt x="1384689" y="1076520"/>
                  </a:lnTo>
                  <a:lnTo>
                    <a:pt x="1374292" y="1012372"/>
                  </a:lnTo>
                  <a:lnTo>
                    <a:pt x="1364803" y="960253"/>
                  </a:lnTo>
                  <a:lnTo>
                    <a:pt x="1353768" y="906336"/>
                  </a:lnTo>
                  <a:lnTo>
                    <a:pt x="1341407" y="851082"/>
                  </a:lnTo>
                  <a:lnTo>
                    <a:pt x="1327940" y="794949"/>
                  </a:lnTo>
                  <a:lnTo>
                    <a:pt x="1313590" y="738399"/>
                  </a:lnTo>
                  <a:lnTo>
                    <a:pt x="1298578" y="681893"/>
                  </a:lnTo>
                  <a:lnTo>
                    <a:pt x="1283123" y="625889"/>
                  </a:lnTo>
                  <a:lnTo>
                    <a:pt x="1267447" y="570850"/>
                  </a:lnTo>
                  <a:lnTo>
                    <a:pt x="1251771" y="517234"/>
                  </a:lnTo>
                  <a:lnTo>
                    <a:pt x="1236316" y="465503"/>
                  </a:lnTo>
                  <a:lnTo>
                    <a:pt x="1221303" y="416116"/>
                  </a:lnTo>
                  <a:lnTo>
                    <a:pt x="1206953" y="369534"/>
                  </a:lnTo>
                  <a:lnTo>
                    <a:pt x="1193487" y="326218"/>
                  </a:lnTo>
                  <a:lnTo>
                    <a:pt x="1181126" y="286627"/>
                  </a:lnTo>
                  <a:lnTo>
                    <a:pt x="1170090" y="251222"/>
                  </a:lnTo>
                  <a:lnTo>
                    <a:pt x="1143045" y="169692"/>
                  </a:lnTo>
                  <a:lnTo>
                    <a:pt x="1123975" y="129405"/>
                  </a:lnTo>
                  <a:lnTo>
                    <a:pt x="1101943" y="97947"/>
                  </a:lnTo>
                  <a:lnTo>
                    <a:pt x="1043198" y="54897"/>
                  </a:lnTo>
                  <a:lnTo>
                    <a:pt x="1003587" y="39996"/>
                  </a:lnTo>
                  <a:lnTo>
                    <a:pt x="955219" y="27304"/>
                  </a:lnTo>
                  <a:lnTo>
                    <a:pt x="896645" y="15168"/>
                  </a:lnTo>
                  <a:lnTo>
                    <a:pt x="829340" y="4903"/>
                  </a:lnTo>
                  <a:lnTo>
                    <a:pt x="766184" y="208"/>
                  </a:lnTo>
                  <a:lnTo>
                    <a:pt x="707405" y="0"/>
                  </a:lnTo>
                  <a:lnTo>
                    <a:pt x="653231" y="3194"/>
                  </a:lnTo>
                  <a:lnTo>
                    <a:pt x="603888" y="8707"/>
                  </a:lnTo>
                  <a:lnTo>
                    <a:pt x="559605" y="15455"/>
                  </a:lnTo>
                  <a:lnTo>
                    <a:pt x="520608" y="22355"/>
                  </a:lnTo>
                  <a:lnTo>
                    <a:pt x="487125" y="28323"/>
                  </a:lnTo>
                  <a:lnTo>
                    <a:pt x="459384" y="32274"/>
                  </a:lnTo>
                  <a:close/>
                </a:path>
              </a:pathLst>
            </a:custGeom>
            <a:ln w="25400">
              <a:solidFill>
                <a:srgbClr val="231F20"/>
              </a:solidFill>
            </a:ln>
          </p:spPr>
          <p:txBody>
            <a:bodyPr wrap="square" lIns="0" tIns="0" rIns="0" bIns="0" rtlCol="0"/>
            <a:lstStyle/>
            <a:p>
              <a:endParaRPr sz="649"/>
            </a:p>
          </p:txBody>
        </p:sp>
        <p:sp>
          <p:nvSpPr>
            <p:cNvPr id="30" name="object 30"/>
            <p:cNvSpPr/>
            <p:nvPr/>
          </p:nvSpPr>
          <p:spPr>
            <a:xfrm>
              <a:off x="3471271" y="3445769"/>
              <a:ext cx="1223645" cy="1440815"/>
            </a:xfrm>
            <a:custGeom>
              <a:avLst/>
              <a:gdLst/>
              <a:ahLst/>
              <a:cxnLst/>
              <a:rect l="l" t="t" r="r" b="b"/>
              <a:pathLst>
                <a:path w="1223645" h="1440814">
                  <a:moveTo>
                    <a:pt x="0" y="0"/>
                  </a:moveTo>
                  <a:lnTo>
                    <a:pt x="61958" y="14235"/>
                  </a:lnTo>
                  <a:lnTo>
                    <a:pt x="120699" y="25085"/>
                  </a:lnTo>
                  <a:lnTo>
                    <a:pt x="176532" y="32933"/>
                  </a:lnTo>
                  <a:lnTo>
                    <a:pt x="229766" y="38166"/>
                  </a:lnTo>
                  <a:lnTo>
                    <a:pt x="280710" y="41169"/>
                  </a:lnTo>
                  <a:lnTo>
                    <a:pt x="329674" y="42328"/>
                  </a:lnTo>
                  <a:lnTo>
                    <a:pt x="376968" y="42028"/>
                  </a:lnTo>
                  <a:lnTo>
                    <a:pt x="422900" y="40656"/>
                  </a:lnTo>
                  <a:lnTo>
                    <a:pt x="467781" y="38595"/>
                  </a:lnTo>
                  <a:lnTo>
                    <a:pt x="511919" y="36233"/>
                  </a:lnTo>
                  <a:lnTo>
                    <a:pt x="555625" y="33955"/>
                  </a:lnTo>
                  <a:lnTo>
                    <a:pt x="599207" y="32145"/>
                  </a:lnTo>
                  <a:lnTo>
                    <a:pt x="642975" y="31191"/>
                  </a:lnTo>
                  <a:lnTo>
                    <a:pt x="717560" y="26781"/>
                  </a:lnTo>
                  <a:lnTo>
                    <a:pt x="773583" y="17856"/>
                  </a:lnTo>
                  <a:lnTo>
                    <a:pt x="814257" y="8555"/>
                  </a:lnTo>
                  <a:lnTo>
                    <a:pt x="842793" y="3018"/>
                  </a:lnTo>
                  <a:lnTo>
                    <a:pt x="862403" y="5384"/>
                  </a:lnTo>
                  <a:lnTo>
                    <a:pt x="876298" y="19791"/>
                  </a:lnTo>
                  <a:lnTo>
                    <a:pt x="887691" y="50380"/>
                  </a:lnTo>
                  <a:lnTo>
                    <a:pt x="895685" y="77751"/>
                  </a:lnTo>
                  <a:lnTo>
                    <a:pt x="906283" y="112424"/>
                  </a:lnTo>
                  <a:lnTo>
                    <a:pt x="919043" y="153344"/>
                  </a:lnTo>
                  <a:lnTo>
                    <a:pt x="933521" y="199456"/>
                  </a:lnTo>
                  <a:lnTo>
                    <a:pt x="949274" y="249703"/>
                  </a:lnTo>
                  <a:lnTo>
                    <a:pt x="965860" y="303031"/>
                  </a:lnTo>
                  <a:lnTo>
                    <a:pt x="982835" y="358384"/>
                  </a:lnTo>
                  <a:lnTo>
                    <a:pt x="999757" y="414707"/>
                  </a:lnTo>
                  <a:lnTo>
                    <a:pt x="1016182" y="470944"/>
                  </a:lnTo>
                  <a:lnTo>
                    <a:pt x="1031668" y="526039"/>
                  </a:lnTo>
                  <a:lnTo>
                    <a:pt x="1045771" y="578939"/>
                  </a:lnTo>
                  <a:lnTo>
                    <a:pt x="1058049" y="628586"/>
                  </a:lnTo>
                  <a:lnTo>
                    <a:pt x="1067294" y="668675"/>
                  </a:lnTo>
                  <a:lnTo>
                    <a:pt x="1078017" y="716529"/>
                  </a:lnTo>
                  <a:lnTo>
                    <a:pt x="1089931" y="770791"/>
                  </a:lnTo>
                  <a:lnTo>
                    <a:pt x="1102750" y="830098"/>
                  </a:lnTo>
                  <a:lnTo>
                    <a:pt x="1116189" y="893093"/>
                  </a:lnTo>
                  <a:lnTo>
                    <a:pt x="1129960" y="958415"/>
                  </a:lnTo>
                  <a:lnTo>
                    <a:pt x="1143778" y="1024703"/>
                  </a:lnTo>
                  <a:lnTo>
                    <a:pt x="1157357" y="1090599"/>
                  </a:lnTo>
                  <a:lnTo>
                    <a:pt x="1170410" y="1154743"/>
                  </a:lnTo>
                  <a:lnTo>
                    <a:pt x="1182651" y="1215773"/>
                  </a:lnTo>
                  <a:lnTo>
                    <a:pt x="1193794" y="1272332"/>
                  </a:lnTo>
                  <a:lnTo>
                    <a:pt x="1203553" y="1323059"/>
                  </a:lnTo>
                  <a:lnTo>
                    <a:pt x="1211642" y="1366593"/>
                  </a:lnTo>
                  <a:lnTo>
                    <a:pt x="1221662" y="1426647"/>
                  </a:lnTo>
                  <a:lnTo>
                    <a:pt x="1223022" y="1440446"/>
                  </a:lnTo>
                </a:path>
              </a:pathLst>
            </a:custGeom>
            <a:ln w="7620">
              <a:solidFill>
                <a:srgbClr val="231F20"/>
              </a:solidFill>
            </a:ln>
          </p:spPr>
          <p:txBody>
            <a:bodyPr wrap="square" lIns="0" tIns="0" rIns="0" bIns="0" rtlCol="0"/>
            <a:lstStyle/>
            <a:p>
              <a:endParaRPr sz="649"/>
            </a:p>
          </p:txBody>
        </p:sp>
        <p:sp>
          <p:nvSpPr>
            <p:cNvPr id="31" name="object 31"/>
            <p:cNvSpPr/>
            <p:nvPr/>
          </p:nvSpPr>
          <p:spPr>
            <a:xfrm>
              <a:off x="4879012" y="3738593"/>
              <a:ext cx="213995" cy="132080"/>
            </a:xfrm>
            <a:custGeom>
              <a:avLst/>
              <a:gdLst/>
              <a:ahLst/>
              <a:cxnLst/>
              <a:rect l="l" t="t" r="r" b="b"/>
              <a:pathLst>
                <a:path w="213995" h="132079">
                  <a:moveTo>
                    <a:pt x="0" y="131825"/>
                  </a:moveTo>
                  <a:lnTo>
                    <a:pt x="191135" y="0"/>
                  </a:lnTo>
                  <a:lnTo>
                    <a:pt x="213537" y="30314"/>
                  </a:lnTo>
                  <a:lnTo>
                    <a:pt x="196418" y="77774"/>
                  </a:lnTo>
                  <a:lnTo>
                    <a:pt x="122593" y="127863"/>
                  </a:lnTo>
                </a:path>
              </a:pathLst>
            </a:custGeom>
            <a:ln w="25400">
              <a:solidFill>
                <a:srgbClr val="231F20"/>
              </a:solidFill>
            </a:ln>
          </p:spPr>
          <p:txBody>
            <a:bodyPr wrap="square" lIns="0" tIns="0" rIns="0" bIns="0" rtlCol="0"/>
            <a:lstStyle/>
            <a:p>
              <a:endParaRPr sz="649"/>
            </a:p>
          </p:txBody>
        </p:sp>
        <p:sp>
          <p:nvSpPr>
            <p:cNvPr id="32" name="object 32"/>
            <p:cNvSpPr/>
            <p:nvPr/>
          </p:nvSpPr>
          <p:spPr>
            <a:xfrm>
              <a:off x="4954150" y="3768913"/>
              <a:ext cx="138430" cy="95250"/>
            </a:xfrm>
            <a:custGeom>
              <a:avLst/>
              <a:gdLst/>
              <a:ahLst/>
              <a:cxnLst/>
              <a:rect l="l" t="t" r="r" b="b"/>
              <a:pathLst>
                <a:path w="138429" h="95250">
                  <a:moveTo>
                    <a:pt x="138404" y="0"/>
                  </a:moveTo>
                  <a:lnTo>
                    <a:pt x="0" y="94919"/>
                  </a:lnTo>
                </a:path>
              </a:pathLst>
            </a:custGeom>
            <a:ln w="7620">
              <a:solidFill>
                <a:srgbClr val="231F20"/>
              </a:solidFill>
            </a:ln>
          </p:spPr>
          <p:txBody>
            <a:bodyPr wrap="square" lIns="0" tIns="0" rIns="0" bIns="0" rtlCol="0"/>
            <a:lstStyle/>
            <a:p>
              <a:endParaRPr sz="649"/>
            </a:p>
          </p:txBody>
        </p:sp>
        <p:sp>
          <p:nvSpPr>
            <p:cNvPr id="33" name="object 33"/>
            <p:cNvSpPr/>
            <p:nvPr/>
          </p:nvSpPr>
          <p:spPr>
            <a:xfrm>
              <a:off x="5017427" y="3357140"/>
              <a:ext cx="125730" cy="472440"/>
            </a:xfrm>
            <a:custGeom>
              <a:avLst/>
              <a:gdLst/>
              <a:ahLst/>
              <a:cxnLst/>
              <a:rect l="l" t="t" r="r" b="b"/>
              <a:pathLst>
                <a:path w="125729" h="472439">
                  <a:moveTo>
                    <a:pt x="52717" y="381454"/>
                  </a:moveTo>
                  <a:lnTo>
                    <a:pt x="28169" y="228832"/>
                  </a:lnTo>
                  <a:lnTo>
                    <a:pt x="14495" y="144179"/>
                  </a:lnTo>
                  <a:lnTo>
                    <a:pt x="6753" y="97093"/>
                  </a:lnTo>
                  <a:lnTo>
                    <a:pt x="0" y="57172"/>
                  </a:lnTo>
                  <a:lnTo>
                    <a:pt x="62" y="19256"/>
                  </a:lnTo>
                  <a:lnTo>
                    <a:pt x="11368" y="0"/>
                  </a:lnTo>
                  <a:lnTo>
                    <a:pt x="26876" y="1751"/>
                  </a:lnTo>
                  <a:lnTo>
                    <a:pt x="39547" y="26857"/>
                  </a:lnTo>
                  <a:lnTo>
                    <a:pt x="54226" y="90418"/>
                  </a:lnTo>
                  <a:lnTo>
                    <a:pt x="74966" y="181416"/>
                  </a:lnTo>
                  <a:lnTo>
                    <a:pt x="93484" y="263022"/>
                  </a:lnTo>
                  <a:lnTo>
                    <a:pt x="104140" y="363000"/>
                  </a:lnTo>
                  <a:lnTo>
                    <a:pt x="113360" y="369592"/>
                  </a:lnTo>
                  <a:lnTo>
                    <a:pt x="119951" y="382774"/>
                  </a:lnTo>
                  <a:lnTo>
                    <a:pt x="123720" y="395852"/>
                  </a:lnTo>
                  <a:lnTo>
                    <a:pt x="125388" y="412265"/>
                  </a:lnTo>
                  <a:lnTo>
                    <a:pt x="125325" y="427442"/>
                  </a:lnTo>
                  <a:lnTo>
                    <a:pt x="123901" y="436813"/>
                  </a:lnTo>
                  <a:lnTo>
                    <a:pt x="110840" y="445156"/>
                  </a:lnTo>
                  <a:lnTo>
                    <a:pt x="84683" y="457084"/>
                  </a:lnTo>
                  <a:lnTo>
                    <a:pt x="59021" y="467776"/>
                  </a:lnTo>
                  <a:lnTo>
                    <a:pt x="47447" y="472411"/>
                  </a:lnTo>
                </a:path>
              </a:pathLst>
            </a:custGeom>
            <a:ln w="25400">
              <a:solidFill>
                <a:srgbClr val="231F20"/>
              </a:solidFill>
            </a:ln>
          </p:spPr>
          <p:txBody>
            <a:bodyPr wrap="square" lIns="0" tIns="0" rIns="0" bIns="0" rtlCol="0"/>
            <a:lstStyle/>
            <a:p>
              <a:endParaRPr sz="649"/>
            </a:p>
          </p:txBody>
        </p:sp>
        <p:pic>
          <p:nvPicPr>
            <p:cNvPr id="34" name="object 34"/>
            <p:cNvPicPr/>
            <p:nvPr/>
          </p:nvPicPr>
          <p:blipFill>
            <a:blip r:embed="rId3" cstate="print"/>
            <a:stretch>
              <a:fillRect/>
            </a:stretch>
          </p:blipFill>
          <p:spPr>
            <a:xfrm>
              <a:off x="5070633" y="3756213"/>
              <a:ext cx="126452" cy="105651"/>
            </a:xfrm>
            <a:prstGeom prst="rect">
              <a:avLst/>
            </a:prstGeom>
          </p:spPr>
        </p:pic>
        <p:pic>
          <p:nvPicPr>
            <p:cNvPr id="35" name="object 35"/>
            <p:cNvPicPr/>
            <p:nvPr/>
          </p:nvPicPr>
          <p:blipFill>
            <a:blip r:embed="rId4" cstate="print"/>
            <a:stretch>
              <a:fillRect/>
            </a:stretch>
          </p:blipFill>
          <p:spPr>
            <a:xfrm>
              <a:off x="3785109" y="3615361"/>
              <a:ext cx="240042" cy="89560"/>
            </a:xfrm>
            <a:prstGeom prst="rect">
              <a:avLst/>
            </a:prstGeom>
          </p:spPr>
        </p:pic>
      </p:grpSp>
      <p:grpSp>
        <p:nvGrpSpPr>
          <p:cNvPr id="36" name="object 36"/>
          <p:cNvGrpSpPr/>
          <p:nvPr/>
        </p:nvGrpSpPr>
        <p:grpSpPr>
          <a:xfrm>
            <a:off x="4419621" y="1020838"/>
            <a:ext cx="1385874" cy="387104"/>
            <a:chOff x="3461551" y="2121680"/>
            <a:chExt cx="2880360" cy="804545"/>
          </a:xfrm>
        </p:grpSpPr>
        <p:sp>
          <p:nvSpPr>
            <p:cNvPr id="37" name="object 37"/>
            <p:cNvSpPr/>
            <p:nvPr/>
          </p:nvSpPr>
          <p:spPr>
            <a:xfrm>
              <a:off x="3529826" y="2134380"/>
              <a:ext cx="2799080" cy="779145"/>
            </a:xfrm>
            <a:custGeom>
              <a:avLst/>
              <a:gdLst/>
              <a:ahLst/>
              <a:cxnLst/>
              <a:rect l="l" t="t" r="r" b="b"/>
              <a:pathLst>
                <a:path w="2799079" h="779144">
                  <a:moveTo>
                    <a:pt x="5341" y="209515"/>
                  </a:moveTo>
                  <a:lnTo>
                    <a:pt x="50441" y="193355"/>
                  </a:lnTo>
                  <a:lnTo>
                    <a:pt x="88099" y="180897"/>
                  </a:lnTo>
                  <a:lnTo>
                    <a:pt x="133871" y="166530"/>
                  </a:lnTo>
                  <a:lnTo>
                    <a:pt x="186285" y="151013"/>
                  </a:lnTo>
                  <a:lnTo>
                    <a:pt x="243874" y="135104"/>
                  </a:lnTo>
                  <a:lnTo>
                    <a:pt x="305166" y="119561"/>
                  </a:lnTo>
                  <a:lnTo>
                    <a:pt x="368693" y="105143"/>
                  </a:lnTo>
                  <a:lnTo>
                    <a:pt x="432984" y="92607"/>
                  </a:lnTo>
                  <a:lnTo>
                    <a:pt x="496570" y="82712"/>
                  </a:lnTo>
                  <a:lnTo>
                    <a:pt x="557982" y="76215"/>
                  </a:lnTo>
                  <a:lnTo>
                    <a:pt x="617925" y="72652"/>
                  </a:lnTo>
                  <a:lnTo>
                    <a:pt x="677692" y="70841"/>
                  </a:lnTo>
                  <a:lnTo>
                    <a:pt x="736696" y="70469"/>
                  </a:lnTo>
                  <a:lnTo>
                    <a:pt x="794348" y="71224"/>
                  </a:lnTo>
                  <a:lnTo>
                    <a:pt x="850059" y="72793"/>
                  </a:lnTo>
                  <a:lnTo>
                    <a:pt x="903241" y="74863"/>
                  </a:lnTo>
                  <a:lnTo>
                    <a:pt x="953306" y="77120"/>
                  </a:lnTo>
                  <a:lnTo>
                    <a:pt x="999665" y="79252"/>
                  </a:lnTo>
                  <a:lnTo>
                    <a:pt x="1041729" y="80945"/>
                  </a:lnTo>
                  <a:lnTo>
                    <a:pt x="1078911" y="81887"/>
                  </a:lnTo>
                  <a:lnTo>
                    <a:pt x="1110622" y="81765"/>
                  </a:lnTo>
                  <a:lnTo>
                    <a:pt x="1130352" y="80442"/>
                  </a:lnTo>
                  <a:lnTo>
                    <a:pt x="1182290" y="73309"/>
                  </a:lnTo>
                  <a:lnTo>
                    <a:pt x="1250068" y="61719"/>
                  </a:lnTo>
                  <a:lnTo>
                    <a:pt x="1289597" y="54823"/>
                  </a:lnTo>
                  <a:lnTo>
                    <a:pt x="1332725" y="47499"/>
                  </a:lnTo>
                  <a:lnTo>
                    <a:pt x="1379334" y="39974"/>
                  </a:lnTo>
                  <a:lnTo>
                    <a:pt x="1429302" y="32478"/>
                  </a:lnTo>
                  <a:lnTo>
                    <a:pt x="1482510" y="25239"/>
                  </a:lnTo>
                  <a:lnTo>
                    <a:pt x="1538838" y="18485"/>
                  </a:lnTo>
                  <a:lnTo>
                    <a:pt x="1598165" y="12446"/>
                  </a:lnTo>
                  <a:lnTo>
                    <a:pt x="1660372" y="7349"/>
                  </a:lnTo>
                  <a:lnTo>
                    <a:pt x="1725339" y="3423"/>
                  </a:lnTo>
                  <a:lnTo>
                    <a:pt x="1792946" y="897"/>
                  </a:lnTo>
                  <a:lnTo>
                    <a:pt x="1863073" y="0"/>
                  </a:lnTo>
                  <a:lnTo>
                    <a:pt x="1935599" y="959"/>
                  </a:lnTo>
                  <a:lnTo>
                    <a:pt x="2010405" y="4003"/>
                  </a:lnTo>
                  <a:lnTo>
                    <a:pt x="2089220" y="9885"/>
                  </a:lnTo>
                  <a:lnTo>
                    <a:pt x="2164800" y="18470"/>
                  </a:lnTo>
                  <a:lnTo>
                    <a:pt x="2236964" y="29404"/>
                  </a:lnTo>
                  <a:lnTo>
                    <a:pt x="2305534" y="42336"/>
                  </a:lnTo>
                  <a:lnTo>
                    <a:pt x="2370329" y="56912"/>
                  </a:lnTo>
                  <a:lnTo>
                    <a:pt x="2431169" y="72781"/>
                  </a:lnTo>
                  <a:lnTo>
                    <a:pt x="2487875" y="89589"/>
                  </a:lnTo>
                  <a:lnTo>
                    <a:pt x="2540267" y="106983"/>
                  </a:lnTo>
                  <a:lnTo>
                    <a:pt x="2588164" y="124612"/>
                  </a:lnTo>
                  <a:lnTo>
                    <a:pt x="2631388" y="142121"/>
                  </a:lnTo>
                  <a:lnTo>
                    <a:pt x="2669758" y="159160"/>
                  </a:lnTo>
                  <a:lnTo>
                    <a:pt x="2731219" y="190411"/>
                  </a:lnTo>
                  <a:lnTo>
                    <a:pt x="2771108" y="215545"/>
                  </a:lnTo>
                  <a:lnTo>
                    <a:pt x="2795433" y="260708"/>
                  </a:lnTo>
                  <a:lnTo>
                    <a:pt x="2798878" y="305538"/>
                  </a:lnTo>
                  <a:lnTo>
                    <a:pt x="2794990" y="358101"/>
                  </a:lnTo>
                  <a:lnTo>
                    <a:pt x="2780439" y="410266"/>
                  </a:lnTo>
                  <a:lnTo>
                    <a:pt x="2751894" y="453901"/>
                  </a:lnTo>
                  <a:lnTo>
                    <a:pt x="2711668" y="488225"/>
                  </a:lnTo>
                  <a:lnTo>
                    <a:pt x="2675869" y="503540"/>
                  </a:lnTo>
                  <a:lnTo>
                    <a:pt x="2634340" y="505838"/>
                  </a:lnTo>
                  <a:lnTo>
                    <a:pt x="2576926" y="501107"/>
                  </a:lnTo>
                  <a:lnTo>
                    <a:pt x="2546470" y="498803"/>
                  </a:lnTo>
                  <a:lnTo>
                    <a:pt x="2506375" y="496588"/>
                  </a:lnTo>
                  <a:lnTo>
                    <a:pt x="2458568" y="494686"/>
                  </a:lnTo>
                  <a:lnTo>
                    <a:pt x="2404978" y="493322"/>
                  </a:lnTo>
                  <a:lnTo>
                    <a:pt x="2347532" y="492722"/>
                  </a:lnTo>
                  <a:lnTo>
                    <a:pt x="2288158" y="493111"/>
                  </a:lnTo>
                  <a:lnTo>
                    <a:pt x="2228784" y="494713"/>
                  </a:lnTo>
                  <a:lnTo>
                    <a:pt x="2171339" y="497755"/>
                  </a:lnTo>
                  <a:lnTo>
                    <a:pt x="2117749" y="502462"/>
                  </a:lnTo>
                  <a:lnTo>
                    <a:pt x="2069943" y="509058"/>
                  </a:lnTo>
                  <a:lnTo>
                    <a:pt x="2029848" y="517769"/>
                  </a:lnTo>
                  <a:lnTo>
                    <a:pt x="1980491" y="534514"/>
                  </a:lnTo>
                  <a:lnTo>
                    <a:pt x="1930742" y="556434"/>
                  </a:lnTo>
                  <a:lnTo>
                    <a:pt x="1881253" y="581673"/>
                  </a:lnTo>
                  <a:lnTo>
                    <a:pt x="1832675" y="608376"/>
                  </a:lnTo>
                  <a:lnTo>
                    <a:pt x="1785658" y="634687"/>
                  </a:lnTo>
                  <a:lnTo>
                    <a:pt x="1740855" y="658753"/>
                  </a:lnTo>
                  <a:lnTo>
                    <a:pt x="1698917" y="678717"/>
                  </a:lnTo>
                  <a:lnTo>
                    <a:pt x="1660494" y="692724"/>
                  </a:lnTo>
                  <a:lnTo>
                    <a:pt x="1638098" y="697580"/>
                  </a:lnTo>
                  <a:lnTo>
                    <a:pt x="1615110" y="699623"/>
                  </a:lnTo>
                  <a:lnTo>
                    <a:pt x="1590543" y="699291"/>
                  </a:lnTo>
                  <a:lnTo>
                    <a:pt x="1563413" y="697026"/>
                  </a:lnTo>
                  <a:lnTo>
                    <a:pt x="1532734" y="693266"/>
                  </a:lnTo>
                  <a:lnTo>
                    <a:pt x="1497518" y="688452"/>
                  </a:lnTo>
                  <a:lnTo>
                    <a:pt x="1456781" y="683023"/>
                  </a:lnTo>
                  <a:lnTo>
                    <a:pt x="1409537" y="677420"/>
                  </a:lnTo>
                  <a:lnTo>
                    <a:pt x="1354799" y="672082"/>
                  </a:lnTo>
                  <a:lnTo>
                    <a:pt x="1291581" y="667450"/>
                  </a:lnTo>
                  <a:lnTo>
                    <a:pt x="1218898" y="663962"/>
                  </a:lnTo>
                  <a:lnTo>
                    <a:pt x="1135763" y="662059"/>
                  </a:lnTo>
                  <a:lnTo>
                    <a:pt x="1041192" y="662181"/>
                  </a:lnTo>
                  <a:lnTo>
                    <a:pt x="965353" y="664241"/>
                  </a:lnTo>
                  <a:lnTo>
                    <a:pt x="891864" y="668274"/>
                  </a:lnTo>
                  <a:lnTo>
                    <a:pt x="820943" y="674007"/>
                  </a:lnTo>
                  <a:lnTo>
                    <a:pt x="752806" y="681164"/>
                  </a:lnTo>
                  <a:lnTo>
                    <a:pt x="687671" y="689470"/>
                  </a:lnTo>
                  <a:lnTo>
                    <a:pt x="625754" y="698651"/>
                  </a:lnTo>
                  <a:lnTo>
                    <a:pt x="567273" y="708432"/>
                  </a:lnTo>
                  <a:lnTo>
                    <a:pt x="512445" y="718539"/>
                  </a:lnTo>
                  <a:lnTo>
                    <a:pt x="461486" y="728696"/>
                  </a:lnTo>
                  <a:lnTo>
                    <a:pt x="414614" y="738629"/>
                  </a:lnTo>
                  <a:lnTo>
                    <a:pt x="372046" y="748064"/>
                  </a:lnTo>
                  <a:lnTo>
                    <a:pt x="333999" y="756725"/>
                  </a:lnTo>
                  <a:lnTo>
                    <a:pt x="300689" y="764339"/>
                  </a:lnTo>
                  <a:lnTo>
                    <a:pt x="272335" y="770629"/>
                  </a:lnTo>
                  <a:lnTo>
                    <a:pt x="249152" y="775322"/>
                  </a:lnTo>
                  <a:lnTo>
                    <a:pt x="231359" y="778143"/>
                  </a:lnTo>
                  <a:lnTo>
                    <a:pt x="219171" y="778818"/>
                  </a:lnTo>
                  <a:lnTo>
                    <a:pt x="160537" y="768164"/>
                  </a:lnTo>
                  <a:lnTo>
                    <a:pt x="111129" y="746051"/>
                  </a:lnTo>
                  <a:lnTo>
                    <a:pt x="72037" y="717327"/>
                  </a:lnTo>
                  <a:lnTo>
                    <a:pt x="44351" y="686840"/>
                  </a:lnTo>
                  <a:lnTo>
                    <a:pt x="27554" y="639968"/>
                  </a:lnTo>
                  <a:lnTo>
                    <a:pt x="51001" y="619222"/>
                  </a:lnTo>
                  <a:lnTo>
                    <a:pt x="101287" y="588456"/>
                  </a:lnTo>
                  <a:lnTo>
                    <a:pt x="164995" y="553216"/>
                  </a:lnTo>
                  <a:lnTo>
                    <a:pt x="228708" y="519048"/>
                  </a:lnTo>
                  <a:lnTo>
                    <a:pt x="279009" y="491499"/>
                  </a:lnTo>
                  <a:lnTo>
                    <a:pt x="302483" y="476113"/>
                  </a:lnTo>
                  <a:lnTo>
                    <a:pt x="305694" y="454118"/>
                  </a:lnTo>
                  <a:lnTo>
                    <a:pt x="303179" y="416760"/>
                  </a:lnTo>
                  <a:lnTo>
                    <a:pt x="295457" y="382001"/>
                  </a:lnTo>
                  <a:lnTo>
                    <a:pt x="283052" y="367807"/>
                  </a:lnTo>
                  <a:lnTo>
                    <a:pt x="244508" y="372992"/>
                  </a:lnTo>
                  <a:lnTo>
                    <a:pt x="196408" y="378202"/>
                  </a:lnTo>
                  <a:lnTo>
                    <a:pt x="153445" y="380298"/>
                  </a:lnTo>
                  <a:lnTo>
                    <a:pt x="130309" y="376139"/>
                  </a:lnTo>
                  <a:lnTo>
                    <a:pt x="118852" y="364991"/>
                  </a:lnTo>
                  <a:lnTo>
                    <a:pt x="103231" y="351496"/>
                  </a:lnTo>
                  <a:lnTo>
                    <a:pt x="86570" y="340604"/>
                  </a:lnTo>
                  <a:lnTo>
                    <a:pt x="71991" y="337264"/>
                  </a:lnTo>
                  <a:lnTo>
                    <a:pt x="56630" y="338735"/>
                  </a:lnTo>
                  <a:lnTo>
                    <a:pt x="38665" y="338647"/>
                  </a:lnTo>
                  <a:lnTo>
                    <a:pt x="8070" y="309881"/>
                  </a:lnTo>
                  <a:lnTo>
                    <a:pt x="2211" y="269567"/>
                  </a:lnTo>
                  <a:lnTo>
                    <a:pt x="0" y="229776"/>
                  </a:lnTo>
                  <a:lnTo>
                    <a:pt x="5341" y="209515"/>
                  </a:lnTo>
                  <a:close/>
                </a:path>
              </a:pathLst>
            </a:custGeom>
            <a:ln w="25400">
              <a:solidFill>
                <a:srgbClr val="231F20"/>
              </a:solidFill>
            </a:ln>
          </p:spPr>
          <p:txBody>
            <a:bodyPr wrap="square" lIns="0" tIns="0" rIns="0" bIns="0" rtlCol="0"/>
            <a:lstStyle/>
            <a:p>
              <a:endParaRPr sz="649"/>
            </a:p>
          </p:txBody>
        </p:sp>
        <p:sp>
          <p:nvSpPr>
            <p:cNvPr id="38" name="object 38"/>
            <p:cNvSpPr/>
            <p:nvPr/>
          </p:nvSpPr>
          <p:spPr>
            <a:xfrm>
              <a:off x="3685578" y="2514741"/>
              <a:ext cx="2527935" cy="400685"/>
            </a:xfrm>
            <a:custGeom>
              <a:avLst/>
              <a:gdLst/>
              <a:ahLst/>
              <a:cxnLst/>
              <a:rect l="l" t="t" r="r" b="b"/>
              <a:pathLst>
                <a:path w="2527935" h="400685">
                  <a:moveTo>
                    <a:pt x="0" y="393001"/>
                  </a:moveTo>
                  <a:lnTo>
                    <a:pt x="27843" y="400416"/>
                  </a:lnTo>
                  <a:lnTo>
                    <a:pt x="57185" y="397457"/>
                  </a:lnTo>
                  <a:lnTo>
                    <a:pt x="88232" y="385963"/>
                  </a:lnTo>
                  <a:lnTo>
                    <a:pt x="121190" y="367771"/>
                  </a:lnTo>
                  <a:lnTo>
                    <a:pt x="156263" y="344720"/>
                  </a:lnTo>
                  <a:lnTo>
                    <a:pt x="193656" y="318646"/>
                  </a:lnTo>
                  <a:lnTo>
                    <a:pt x="233575" y="291387"/>
                  </a:lnTo>
                  <a:lnTo>
                    <a:pt x="276226" y="264782"/>
                  </a:lnTo>
                  <a:lnTo>
                    <a:pt x="321813" y="240668"/>
                  </a:lnTo>
                  <a:lnTo>
                    <a:pt x="370541" y="220883"/>
                  </a:lnTo>
                  <a:lnTo>
                    <a:pt x="422617" y="207264"/>
                  </a:lnTo>
                  <a:lnTo>
                    <a:pt x="517752" y="191850"/>
                  </a:lnTo>
                  <a:lnTo>
                    <a:pt x="597330" y="183002"/>
                  </a:lnTo>
                  <a:lnTo>
                    <a:pt x="663149" y="179542"/>
                  </a:lnTo>
                  <a:lnTo>
                    <a:pt x="717003" y="180293"/>
                  </a:lnTo>
                  <a:lnTo>
                    <a:pt x="760690" y="184077"/>
                  </a:lnTo>
                  <a:lnTo>
                    <a:pt x="796004" y="189718"/>
                  </a:lnTo>
                  <a:lnTo>
                    <a:pt x="824741" y="196038"/>
                  </a:lnTo>
                  <a:lnTo>
                    <a:pt x="848697" y="201861"/>
                  </a:lnTo>
                  <a:lnTo>
                    <a:pt x="869669" y="206008"/>
                  </a:lnTo>
                  <a:lnTo>
                    <a:pt x="909840" y="204571"/>
                  </a:lnTo>
                  <a:lnTo>
                    <a:pt x="946989" y="192384"/>
                  </a:lnTo>
                  <a:lnTo>
                    <a:pt x="1004689" y="170421"/>
                  </a:lnTo>
                  <a:lnTo>
                    <a:pt x="1040444" y="156729"/>
                  </a:lnTo>
                  <a:lnTo>
                    <a:pt x="1080375" y="141741"/>
                  </a:lnTo>
                  <a:lnTo>
                    <a:pt x="1124161" y="125839"/>
                  </a:lnTo>
                  <a:lnTo>
                    <a:pt x="1171481" y="109405"/>
                  </a:lnTo>
                  <a:lnTo>
                    <a:pt x="1222014" y="92822"/>
                  </a:lnTo>
                  <a:lnTo>
                    <a:pt x="1275441" y="76473"/>
                  </a:lnTo>
                  <a:lnTo>
                    <a:pt x="1331439" y="60740"/>
                  </a:lnTo>
                  <a:lnTo>
                    <a:pt x="1389689" y="46006"/>
                  </a:lnTo>
                  <a:lnTo>
                    <a:pt x="1449870" y="32654"/>
                  </a:lnTo>
                  <a:lnTo>
                    <a:pt x="1511661" y="21065"/>
                  </a:lnTo>
                  <a:lnTo>
                    <a:pt x="1574742" y="11623"/>
                  </a:lnTo>
                  <a:lnTo>
                    <a:pt x="1638791" y="4709"/>
                  </a:lnTo>
                  <a:lnTo>
                    <a:pt x="1703488" y="707"/>
                  </a:lnTo>
                  <a:lnTo>
                    <a:pt x="1768513" y="0"/>
                  </a:lnTo>
                  <a:lnTo>
                    <a:pt x="1857568" y="2865"/>
                  </a:lnTo>
                  <a:lnTo>
                    <a:pt x="1940137" y="8171"/>
                  </a:lnTo>
                  <a:lnTo>
                    <a:pt x="2016420" y="15521"/>
                  </a:lnTo>
                  <a:lnTo>
                    <a:pt x="2086619" y="24514"/>
                  </a:lnTo>
                  <a:lnTo>
                    <a:pt x="2150934" y="34755"/>
                  </a:lnTo>
                  <a:lnTo>
                    <a:pt x="2209567" y="45843"/>
                  </a:lnTo>
                  <a:lnTo>
                    <a:pt x="2262718" y="57381"/>
                  </a:lnTo>
                  <a:lnTo>
                    <a:pt x="2310590" y="68970"/>
                  </a:lnTo>
                  <a:lnTo>
                    <a:pt x="2353382" y="80213"/>
                  </a:lnTo>
                  <a:lnTo>
                    <a:pt x="2391297" y="90710"/>
                  </a:lnTo>
                  <a:lnTo>
                    <a:pt x="2424535" y="100065"/>
                  </a:lnTo>
                  <a:lnTo>
                    <a:pt x="2453298" y="107877"/>
                  </a:lnTo>
                  <a:lnTo>
                    <a:pt x="2477787" y="113750"/>
                  </a:lnTo>
                  <a:lnTo>
                    <a:pt x="2498202" y="117285"/>
                  </a:lnTo>
                  <a:lnTo>
                    <a:pt x="2514745" y="118083"/>
                  </a:lnTo>
                  <a:lnTo>
                    <a:pt x="2527617" y="115747"/>
                  </a:lnTo>
                </a:path>
              </a:pathLst>
            </a:custGeom>
            <a:ln w="7620">
              <a:solidFill>
                <a:srgbClr val="231F20"/>
              </a:solidFill>
            </a:ln>
          </p:spPr>
          <p:txBody>
            <a:bodyPr wrap="square" lIns="0" tIns="0" rIns="0" bIns="0" rtlCol="0"/>
            <a:lstStyle/>
            <a:p>
              <a:endParaRPr sz="649"/>
            </a:p>
          </p:txBody>
        </p:sp>
        <p:sp>
          <p:nvSpPr>
            <p:cNvPr id="39" name="object 39"/>
            <p:cNvSpPr/>
            <p:nvPr/>
          </p:nvSpPr>
          <p:spPr>
            <a:xfrm>
              <a:off x="3474251" y="2343895"/>
              <a:ext cx="345440" cy="274955"/>
            </a:xfrm>
            <a:custGeom>
              <a:avLst/>
              <a:gdLst/>
              <a:ahLst/>
              <a:cxnLst/>
              <a:rect l="l" t="t" r="r" b="b"/>
              <a:pathLst>
                <a:path w="345439" h="274955">
                  <a:moveTo>
                    <a:pt x="60916" y="0"/>
                  </a:moveTo>
                  <a:lnTo>
                    <a:pt x="35656" y="26237"/>
                  </a:lnTo>
                  <a:lnTo>
                    <a:pt x="23732" y="68395"/>
                  </a:lnTo>
                  <a:lnTo>
                    <a:pt x="20202" y="117193"/>
                  </a:lnTo>
                  <a:lnTo>
                    <a:pt x="20123" y="163347"/>
                  </a:lnTo>
                  <a:lnTo>
                    <a:pt x="15403" y="201980"/>
                  </a:lnTo>
                  <a:lnTo>
                    <a:pt x="6211" y="233905"/>
                  </a:lnTo>
                  <a:lnTo>
                    <a:pt x="0" y="258377"/>
                  </a:lnTo>
                  <a:lnTo>
                    <a:pt x="4223" y="274650"/>
                  </a:lnTo>
                  <a:lnTo>
                    <a:pt x="26233" y="274736"/>
                  </a:lnTo>
                  <a:lnTo>
                    <a:pt x="72493" y="263789"/>
                  </a:lnTo>
                  <a:lnTo>
                    <a:pt x="133790" y="245444"/>
                  </a:lnTo>
                  <a:lnTo>
                    <a:pt x="200909" y="223334"/>
                  </a:lnTo>
                  <a:lnTo>
                    <a:pt x="264640" y="201094"/>
                  </a:lnTo>
                  <a:lnTo>
                    <a:pt x="315767" y="182359"/>
                  </a:lnTo>
                  <a:lnTo>
                    <a:pt x="345078" y="170764"/>
                  </a:lnTo>
                </a:path>
              </a:pathLst>
            </a:custGeom>
            <a:ln w="25400">
              <a:solidFill>
                <a:srgbClr val="231F20"/>
              </a:solidFill>
            </a:ln>
          </p:spPr>
          <p:txBody>
            <a:bodyPr wrap="square" lIns="0" tIns="0" rIns="0" bIns="0" rtlCol="0"/>
            <a:lstStyle/>
            <a:p>
              <a:endParaRPr sz="649"/>
            </a:p>
          </p:txBody>
        </p:sp>
        <p:sp>
          <p:nvSpPr>
            <p:cNvPr id="40" name="object 40"/>
            <p:cNvSpPr/>
            <p:nvPr/>
          </p:nvSpPr>
          <p:spPr>
            <a:xfrm>
              <a:off x="3535172" y="2143268"/>
              <a:ext cx="2024380" cy="283845"/>
            </a:xfrm>
            <a:custGeom>
              <a:avLst/>
              <a:gdLst/>
              <a:ahLst/>
              <a:cxnLst/>
              <a:rect l="l" t="t" r="r" b="b"/>
              <a:pathLst>
                <a:path w="2024379" h="283844">
                  <a:moveTo>
                    <a:pt x="2023910" y="0"/>
                  </a:moveTo>
                  <a:lnTo>
                    <a:pt x="1964468" y="851"/>
                  </a:lnTo>
                  <a:lnTo>
                    <a:pt x="1903532" y="5415"/>
                  </a:lnTo>
                  <a:lnTo>
                    <a:pt x="1841547" y="13301"/>
                  </a:lnTo>
                  <a:lnTo>
                    <a:pt x="1778955" y="24119"/>
                  </a:lnTo>
                  <a:lnTo>
                    <a:pt x="1716202" y="37479"/>
                  </a:lnTo>
                  <a:lnTo>
                    <a:pt x="1653732" y="52989"/>
                  </a:lnTo>
                  <a:lnTo>
                    <a:pt x="1591988" y="70259"/>
                  </a:lnTo>
                  <a:lnTo>
                    <a:pt x="1531415" y="88899"/>
                  </a:lnTo>
                  <a:lnTo>
                    <a:pt x="1472457" y="108518"/>
                  </a:lnTo>
                  <a:lnTo>
                    <a:pt x="1415559" y="128725"/>
                  </a:lnTo>
                  <a:lnTo>
                    <a:pt x="1361164" y="149131"/>
                  </a:lnTo>
                  <a:lnTo>
                    <a:pt x="1309717" y="169344"/>
                  </a:lnTo>
                  <a:lnTo>
                    <a:pt x="1261661" y="188974"/>
                  </a:lnTo>
                  <a:lnTo>
                    <a:pt x="1217441" y="207630"/>
                  </a:lnTo>
                  <a:lnTo>
                    <a:pt x="1177502" y="224922"/>
                  </a:lnTo>
                  <a:lnTo>
                    <a:pt x="1142287" y="240460"/>
                  </a:lnTo>
                  <a:lnTo>
                    <a:pt x="1112240" y="253852"/>
                  </a:lnTo>
                  <a:lnTo>
                    <a:pt x="1087807" y="264709"/>
                  </a:lnTo>
                  <a:lnTo>
                    <a:pt x="1040309" y="280765"/>
                  </a:lnTo>
                  <a:lnTo>
                    <a:pt x="982424" y="283379"/>
                  </a:lnTo>
                  <a:lnTo>
                    <a:pt x="942990" y="282886"/>
                  </a:lnTo>
                  <a:lnTo>
                    <a:pt x="897367" y="281466"/>
                  </a:lnTo>
                  <a:lnTo>
                    <a:pt x="846157" y="279321"/>
                  </a:lnTo>
                  <a:lnTo>
                    <a:pt x="789962" y="276655"/>
                  </a:lnTo>
                  <a:lnTo>
                    <a:pt x="729387" y="273672"/>
                  </a:lnTo>
                  <a:lnTo>
                    <a:pt x="665034" y="270574"/>
                  </a:lnTo>
                  <a:lnTo>
                    <a:pt x="597505" y="267566"/>
                  </a:lnTo>
                  <a:lnTo>
                    <a:pt x="527405" y="264850"/>
                  </a:lnTo>
                  <a:lnTo>
                    <a:pt x="455336" y="262631"/>
                  </a:lnTo>
                  <a:lnTo>
                    <a:pt x="381901" y="261111"/>
                  </a:lnTo>
                  <a:lnTo>
                    <a:pt x="246143" y="250524"/>
                  </a:lnTo>
                  <a:lnTo>
                    <a:pt x="123318" y="229857"/>
                  </a:lnTo>
                  <a:lnTo>
                    <a:pt x="34310" y="209694"/>
                  </a:lnTo>
                  <a:lnTo>
                    <a:pt x="0" y="200621"/>
                  </a:lnTo>
                </a:path>
              </a:pathLst>
            </a:custGeom>
            <a:ln w="7620">
              <a:solidFill>
                <a:srgbClr val="231F20"/>
              </a:solidFill>
            </a:ln>
          </p:spPr>
          <p:txBody>
            <a:bodyPr wrap="square" lIns="0" tIns="0" rIns="0" bIns="0" rtlCol="0"/>
            <a:lstStyle/>
            <a:p>
              <a:endParaRPr sz="649"/>
            </a:p>
          </p:txBody>
        </p:sp>
      </p:grpSp>
      <p:grpSp>
        <p:nvGrpSpPr>
          <p:cNvPr id="41" name="object 41"/>
          <p:cNvGrpSpPr/>
          <p:nvPr/>
        </p:nvGrpSpPr>
        <p:grpSpPr>
          <a:xfrm>
            <a:off x="4150974" y="2465825"/>
            <a:ext cx="1992041" cy="2296041"/>
            <a:chOff x="2903202" y="5124897"/>
            <a:chExt cx="4140200" cy="4772025"/>
          </a:xfrm>
        </p:grpSpPr>
        <p:sp>
          <p:nvSpPr>
            <p:cNvPr id="42" name="object 42"/>
            <p:cNvSpPr/>
            <p:nvPr/>
          </p:nvSpPr>
          <p:spPr>
            <a:xfrm>
              <a:off x="4967202" y="5274134"/>
              <a:ext cx="149860" cy="31750"/>
            </a:xfrm>
            <a:custGeom>
              <a:avLst/>
              <a:gdLst/>
              <a:ahLst/>
              <a:cxnLst/>
              <a:rect l="l" t="t" r="r" b="b"/>
              <a:pathLst>
                <a:path w="149860" h="31750">
                  <a:moveTo>
                    <a:pt x="149860" y="0"/>
                  </a:moveTo>
                  <a:lnTo>
                    <a:pt x="143970" y="12230"/>
                  </a:lnTo>
                  <a:lnTo>
                    <a:pt x="127912" y="22221"/>
                  </a:lnTo>
                  <a:lnTo>
                    <a:pt x="104098" y="28960"/>
                  </a:lnTo>
                  <a:lnTo>
                    <a:pt x="74942" y="31432"/>
                  </a:lnTo>
                  <a:lnTo>
                    <a:pt x="45771" y="28960"/>
                  </a:lnTo>
                  <a:lnTo>
                    <a:pt x="21950" y="22221"/>
                  </a:lnTo>
                  <a:lnTo>
                    <a:pt x="5889" y="12230"/>
                  </a:lnTo>
                  <a:lnTo>
                    <a:pt x="0" y="0"/>
                  </a:lnTo>
                </a:path>
              </a:pathLst>
            </a:custGeom>
            <a:ln w="7619">
              <a:solidFill>
                <a:srgbClr val="231F20"/>
              </a:solidFill>
            </a:ln>
          </p:spPr>
          <p:txBody>
            <a:bodyPr wrap="square" lIns="0" tIns="0" rIns="0" bIns="0" rtlCol="0"/>
            <a:lstStyle/>
            <a:p>
              <a:endParaRPr sz="649"/>
            </a:p>
          </p:txBody>
        </p:sp>
        <p:sp>
          <p:nvSpPr>
            <p:cNvPr id="43" name="object 43"/>
            <p:cNvSpPr/>
            <p:nvPr/>
          </p:nvSpPr>
          <p:spPr>
            <a:xfrm>
              <a:off x="4959949" y="5247894"/>
              <a:ext cx="166370" cy="278130"/>
            </a:xfrm>
            <a:custGeom>
              <a:avLst/>
              <a:gdLst/>
              <a:ahLst/>
              <a:cxnLst/>
              <a:rect l="l" t="t" r="r" b="b"/>
              <a:pathLst>
                <a:path w="166370" h="278129">
                  <a:moveTo>
                    <a:pt x="0" y="251777"/>
                  </a:moveTo>
                  <a:lnTo>
                    <a:pt x="0" y="26238"/>
                  </a:lnTo>
                  <a:lnTo>
                    <a:pt x="6520" y="16025"/>
                  </a:lnTo>
                  <a:lnTo>
                    <a:pt x="24301" y="7685"/>
                  </a:lnTo>
                  <a:lnTo>
                    <a:pt x="50674" y="2061"/>
                  </a:lnTo>
                  <a:lnTo>
                    <a:pt x="82969" y="0"/>
                  </a:lnTo>
                  <a:lnTo>
                    <a:pt x="115262" y="2061"/>
                  </a:lnTo>
                  <a:lnTo>
                    <a:pt x="141630" y="7685"/>
                  </a:lnTo>
                  <a:lnTo>
                    <a:pt x="159407" y="16025"/>
                  </a:lnTo>
                  <a:lnTo>
                    <a:pt x="165925" y="26238"/>
                  </a:lnTo>
                  <a:lnTo>
                    <a:pt x="165925" y="251777"/>
                  </a:lnTo>
                  <a:lnTo>
                    <a:pt x="159407" y="261995"/>
                  </a:lnTo>
                  <a:lnTo>
                    <a:pt x="141630" y="270335"/>
                  </a:lnTo>
                  <a:lnTo>
                    <a:pt x="115262" y="275955"/>
                  </a:lnTo>
                  <a:lnTo>
                    <a:pt x="82969" y="278015"/>
                  </a:lnTo>
                  <a:lnTo>
                    <a:pt x="50674" y="275955"/>
                  </a:lnTo>
                  <a:lnTo>
                    <a:pt x="24301" y="270335"/>
                  </a:lnTo>
                  <a:lnTo>
                    <a:pt x="6520" y="261995"/>
                  </a:lnTo>
                  <a:lnTo>
                    <a:pt x="0" y="251777"/>
                  </a:lnTo>
                  <a:close/>
                </a:path>
              </a:pathLst>
            </a:custGeom>
            <a:ln w="25399">
              <a:solidFill>
                <a:srgbClr val="231F20"/>
              </a:solidFill>
            </a:ln>
          </p:spPr>
          <p:txBody>
            <a:bodyPr wrap="square" lIns="0" tIns="0" rIns="0" bIns="0" rtlCol="0"/>
            <a:lstStyle/>
            <a:p>
              <a:endParaRPr sz="649"/>
            </a:p>
          </p:txBody>
        </p:sp>
        <p:pic>
          <p:nvPicPr>
            <p:cNvPr id="44" name="object 44"/>
            <p:cNvPicPr/>
            <p:nvPr/>
          </p:nvPicPr>
          <p:blipFill>
            <a:blip r:embed="rId5" cstate="print"/>
            <a:stretch>
              <a:fillRect/>
            </a:stretch>
          </p:blipFill>
          <p:spPr>
            <a:xfrm>
              <a:off x="4986239" y="5124897"/>
              <a:ext cx="113360" cy="167703"/>
            </a:xfrm>
            <a:prstGeom prst="rect">
              <a:avLst/>
            </a:prstGeom>
          </p:spPr>
        </p:pic>
        <p:sp>
          <p:nvSpPr>
            <p:cNvPr id="45" name="object 45"/>
            <p:cNvSpPr/>
            <p:nvPr/>
          </p:nvSpPr>
          <p:spPr>
            <a:xfrm>
              <a:off x="3978484" y="5755301"/>
              <a:ext cx="2118995" cy="591820"/>
            </a:xfrm>
            <a:custGeom>
              <a:avLst/>
              <a:gdLst/>
              <a:ahLst/>
              <a:cxnLst/>
              <a:rect l="l" t="t" r="r" b="b"/>
              <a:pathLst>
                <a:path w="2118995" h="591820">
                  <a:moveTo>
                    <a:pt x="2118525" y="295630"/>
                  </a:moveTo>
                  <a:lnTo>
                    <a:pt x="2108855" y="335745"/>
                  </a:lnTo>
                  <a:lnTo>
                    <a:pt x="2080686" y="374220"/>
                  </a:lnTo>
                  <a:lnTo>
                    <a:pt x="2035281" y="410702"/>
                  </a:lnTo>
                  <a:lnTo>
                    <a:pt x="1973903" y="444840"/>
                  </a:lnTo>
                  <a:lnTo>
                    <a:pt x="1937617" y="460920"/>
                  </a:lnTo>
                  <a:lnTo>
                    <a:pt x="1897812" y="476281"/>
                  </a:lnTo>
                  <a:lnTo>
                    <a:pt x="1854644" y="490880"/>
                  </a:lnTo>
                  <a:lnTo>
                    <a:pt x="1808272" y="504672"/>
                  </a:lnTo>
                  <a:lnTo>
                    <a:pt x="1758852" y="517614"/>
                  </a:lnTo>
                  <a:lnTo>
                    <a:pt x="1706544" y="529662"/>
                  </a:lnTo>
                  <a:lnTo>
                    <a:pt x="1651504" y="540771"/>
                  </a:lnTo>
                  <a:lnTo>
                    <a:pt x="1593890" y="550898"/>
                  </a:lnTo>
                  <a:lnTo>
                    <a:pt x="1533861" y="559999"/>
                  </a:lnTo>
                  <a:lnTo>
                    <a:pt x="1471574" y="568028"/>
                  </a:lnTo>
                  <a:lnTo>
                    <a:pt x="1407187" y="574944"/>
                  </a:lnTo>
                  <a:lnTo>
                    <a:pt x="1340857" y="580700"/>
                  </a:lnTo>
                  <a:lnTo>
                    <a:pt x="1272742" y="585254"/>
                  </a:lnTo>
                  <a:lnTo>
                    <a:pt x="1203001" y="588562"/>
                  </a:lnTo>
                  <a:lnTo>
                    <a:pt x="1131790" y="590579"/>
                  </a:lnTo>
                  <a:lnTo>
                    <a:pt x="1059268" y="591261"/>
                  </a:lnTo>
                  <a:lnTo>
                    <a:pt x="986743" y="590579"/>
                  </a:lnTo>
                  <a:lnTo>
                    <a:pt x="915530" y="588562"/>
                  </a:lnTo>
                  <a:lnTo>
                    <a:pt x="845787" y="585254"/>
                  </a:lnTo>
                  <a:lnTo>
                    <a:pt x="777670" y="580700"/>
                  </a:lnTo>
                  <a:lnTo>
                    <a:pt x="711339" y="574944"/>
                  </a:lnTo>
                  <a:lnTo>
                    <a:pt x="646950" y="568028"/>
                  </a:lnTo>
                  <a:lnTo>
                    <a:pt x="584662" y="559999"/>
                  </a:lnTo>
                  <a:lnTo>
                    <a:pt x="524632" y="550898"/>
                  </a:lnTo>
                  <a:lnTo>
                    <a:pt x="467018" y="540771"/>
                  </a:lnTo>
                  <a:lnTo>
                    <a:pt x="411978" y="529662"/>
                  </a:lnTo>
                  <a:lnTo>
                    <a:pt x="359669" y="517614"/>
                  </a:lnTo>
                  <a:lnTo>
                    <a:pt x="310249" y="504672"/>
                  </a:lnTo>
                  <a:lnTo>
                    <a:pt x="263877" y="490880"/>
                  </a:lnTo>
                  <a:lnTo>
                    <a:pt x="220709" y="476281"/>
                  </a:lnTo>
                  <a:lnTo>
                    <a:pt x="180904" y="460920"/>
                  </a:lnTo>
                  <a:lnTo>
                    <a:pt x="144619" y="444840"/>
                  </a:lnTo>
                  <a:lnTo>
                    <a:pt x="83241" y="410702"/>
                  </a:lnTo>
                  <a:lnTo>
                    <a:pt x="37837" y="374220"/>
                  </a:lnTo>
                  <a:lnTo>
                    <a:pt x="9669" y="335745"/>
                  </a:lnTo>
                  <a:lnTo>
                    <a:pt x="0" y="295630"/>
                  </a:lnTo>
                  <a:lnTo>
                    <a:pt x="2443" y="275390"/>
                  </a:lnTo>
                  <a:lnTo>
                    <a:pt x="21520" y="236051"/>
                  </a:lnTo>
                  <a:lnTo>
                    <a:pt x="58463" y="198528"/>
                  </a:lnTo>
                  <a:lnTo>
                    <a:pt x="112012" y="163174"/>
                  </a:lnTo>
                  <a:lnTo>
                    <a:pt x="180904" y="130341"/>
                  </a:lnTo>
                  <a:lnTo>
                    <a:pt x="220709" y="114980"/>
                  </a:lnTo>
                  <a:lnTo>
                    <a:pt x="263877" y="100381"/>
                  </a:lnTo>
                  <a:lnTo>
                    <a:pt x="310249" y="86588"/>
                  </a:lnTo>
                  <a:lnTo>
                    <a:pt x="359669" y="73646"/>
                  </a:lnTo>
                  <a:lnTo>
                    <a:pt x="411978" y="61598"/>
                  </a:lnTo>
                  <a:lnTo>
                    <a:pt x="467018" y="50489"/>
                  </a:lnTo>
                  <a:lnTo>
                    <a:pt x="524632" y="40362"/>
                  </a:lnTo>
                  <a:lnTo>
                    <a:pt x="584662" y="31262"/>
                  </a:lnTo>
                  <a:lnTo>
                    <a:pt x="646950" y="23232"/>
                  </a:lnTo>
                  <a:lnTo>
                    <a:pt x="711339" y="16316"/>
                  </a:lnTo>
                  <a:lnTo>
                    <a:pt x="777670" y="10560"/>
                  </a:lnTo>
                  <a:lnTo>
                    <a:pt x="845787" y="6006"/>
                  </a:lnTo>
                  <a:lnTo>
                    <a:pt x="915530" y="2698"/>
                  </a:lnTo>
                  <a:lnTo>
                    <a:pt x="986743" y="682"/>
                  </a:lnTo>
                  <a:lnTo>
                    <a:pt x="1059268" y="0"/>
                  </a:lnTo>
                  <a:lnTo>
                    <a:pt x="1131790" y="682"/>
                  </a:lnTo>
                  <a:lnTo>
                    <a:pt x="1203001" y="2698"/>
                  </a:lnTo>
                  <a:lnTo>
                    <a:pt x="1272742" y="6006"/>
                  </a:lnTo>
                  <a:lnTo>
                    <a:pt x="1340857" y="10560"/>
                  </a:lnTo>
                  <a:lnTo>
                    <a:pt x="1407187" y="16316"/>
                  </a:lnTo>
                  <a:lnTo>
                    <a:pt x="1471574" y="23232"/>
                  </a:lnTo>
                  <a:lnTo>
                    <a:pt x="1533861" y="31262"/>
                  </a:lnTo>
                  <a:lnTo>
                    <a:pt x="1593890" y="40362"/>
                  </a:lnTo>
                  <a:lnTo>
                    <a:pt x="1651504" y="50489"/>
                  </a:lnTo>
                  <a:lnTo>
                    <a:pt x="1706544" y="61598"/>
                  </a:lnTo>
                  <a:lnTo>
                    <a:pt x="1758852" y="73646"/>
                  </a:lnTo>
                  <a:lnTo>
                    <a:pt x="1808272" y="86588"/>
                  </a:lnTo>
                  <a:lnTo>
                    <a:pt x="1854644" y="100381"/>
                  </a:lnTo>
                  <a:lnTo>
                    <a:pt x="1897812" y="114980"/>
                  </a:lnTo>
                  <a:lnTo>
                    <a:pt x="1937617" y="130341"/>
                  </a:lnTo>
                  <a:lnTo>
                    <a:pt x="1973903" y="146420"/>
                  </a:lnTo>
                  <a:lnTo>
                    <a:pt x="2035281" y="180558"/>
                  </a:lnTo>
                  <a:lnTo>
                    <a:pt x="2080686" y="217040"/>
                  </a:lnTo>
                  <a:lnTo>
                    <a:pt x="2108855" y="255515"/>
                  </a:lnTo>
                  <a:lnTo>
                    <a:pt x="2118525" y="295630"/>
                  </a:lnTo>
                  <a:close/>
                </a:path>
              </a:pathLst>
            </a:custGeom>
            <a:ln w="25400">
              <a:solidFill>
                <a:srgbClr val="231F20"/>
              </a:solidFill>
            </a:ln>
          </p:spPr>
          <p:txBody>
            <a:bodyPr wrap="square" lIns="0" tIns="0" rIns="0" bIns="0" rtlCol="0"/>
            <a:lstStyle/>
            <a:p>
              <a:endParaRPr sz="649"/>
            </a:p>
          </p:txBody>
        </p:sp>
        <p:pic>
          <p:nvPicPr>
            <p:cNvPr id="46" name="object 46"/>
            <p:cNvPicPr/>
            <p:nvPr/>
          </p:nvPicPr>
          <p:blipFill>
            <a:blip r:embed="rId6" cstate="print"/>
            <a:stretch>
              <a:fillRect/>
            </a:stretch>
          </p:blipFill>
          <p:spPr>
            <a:xfrm>
              <a:off x="4937724" y="5848102"/>
              <a:ext cx="200037" cy="74142"/>
            </a:xfrm>
            <a:prstGeom prst="rect">
              <a:avLst/>
            </a:prstGeom>
          </p:spPr>
        </p:pic>
        <p:sp>
          <p:nvSpPr>
            <p:cNvPr id="47" name="object 47"/>
            <p:cNvSpPr/>
            <p:nvPr/>
          </p:nvSpPr>
          <p:spPr>
            <a:xfrm>
              <a:off x="3978484" y="6022133"/>
              <a:ext cx="2118995" cy="295910"/>
            </a:xfrm>
            <a:custGeom>
              <a:avLst/>
              <a:gdLst/>
              <a:ahLst/>
              <a:cxnLst/>
              <a:rect l="l" t="t" r="r" b="b"/>
              <a:pathLst>
                <a:path w="2118995" h="295910">
                  <a:moveTo>
                    <a:pt x="2118525" y="0"/>
                  </a:moveTo>
                  <a:lnTo>
                    <a:pt x="2108855" y="40115"/>
                  </a:lnTo>
                  <a:lnTo>
                    <a:pt x="2080686" y="78589"/>
                  </a:lnTo>
                  <a:lnTo>
                    <a:pt x="2035281" y="115072"/>
                  </a:lnTo>
                  <a:lnTo>
                    <a:pt x="1973903" y="149209"/>
                  </a:lnTo>
                  <a:lnTo>
                    <a:pt x="1937617" y="165289"/>
                  </a:lnTo>
                  <a:lnTo>
                    <a:pt x="1897812" y="180650"/>
                  </a:lnTo>
                  <a:lnTo>
                    <a:pt x="1854644" y="195249"/>
                  </a:lnTo>
                  <a:lnTo>
                    <a:pt x="1808272" y="209041"/>
                  </a:lnTo>
                  <a:lnTo>
                    <a:pt x="1758852" y="221984"/>
                  </a:lnTo>
                  <a:lnTo>
                    <a:pt x="1706544" y="234031"/>
                  </a:lnTo>
                  <a:lnTo>
                    <a:pt x="1651504" y="245141"/>
                  </a:lnTo>
                  <a:lnTo>
                    <a:pt x="1593890" y="255268"/>
                  </a:lnTo>
                  <a:lnTo>
                    <a:pt x="1533861" y="264368"/>
                  </a:lnTo>
                  <a:lnTo>
                    <a:pt x="1471574" y="272398"/>
                  </a:lnTo>
                  <a:lnTo>
                    <a:pt x="1407187" y="279313"/>
                  </a:lnTo>
                  <a:lnTo>
                    <a:pt x="1340857" y="285070"/>
                  </a:lnTo>
                  <a:lnTo>
                    <a:pt x="1272742" y="289624"/>
                  </a:lnTo>
                  <a:lnTo>
                    <a:pt x="1203001" y="292931"/>
                  </a:lnTo>
                  <a:lnTo>
                    <a:pt x="1131790" y="294948"/>
                  </a:lnTo>
                  <a:lnTo>
                    <a:pt x="1059268" y="295630"/>
                  </a:lnTo>
                  <a:lnTo>
                    <a:pt x="986743" y="294948"/>
                  </a:lnTo>
                  <a:lnTo>
                    <a:pt x="915530" y="292931"/>
                  </a:lnTo>
                  <a:lnTo>
                    <a:pt x="845787" y="289624"/>
                  </a:lnTo>
                  <a:lnTo>
                    <a:pt x="777670" y="285070"/>
                  </a:lnTo>
                  <a:lnTo>
                    <a:pt x="711339" y="279313"/>
                  </a:lnTo>
                  <a:lnTo>
                    <a:pt x="646950" y="272398"/>
                  </a:lnTo>
                  <a:lnTo>
                    <a:pt x="584662" y="264368"/>
                  </a:lnTo>
                  <a:lnTo>
                    <a:pt x="524632" y="255268"/>
                  </a:lnTo>
                  <a:lnTo>
                    <a:pt x="467018" y="245141"/>
                  </a:lnTo>
                  <a:lnTo>
                    <a:pt x="411978" y="234031"/>
                  </a:lnTo>
                  <a:lnTo>
                    <a:pt x="359669" y="221984"/>
                  </a:lnTo>
                  <a:lnTo>
                    <a:pt x="310249" y="209042"/>
                  </a:lnTo>
                  <a:lnTo>
                    <a:pt x="263877" y="195249"/>
                  </a:lnTo>
                  <a:lnTo>
                    <a:pt x="220709" y="180650"/>
                  </a:lnTo>
                  <a:lnTo>
                    <a:pt x="180904" y="165289"/>
                  </a:lnTo>
                  <a:lnTo>
                    <a:pt x="144619" y="149209"/>
                  </a:lnTo>
                  <a:lnTo>
                    <a:pt x="83241" y="115072"/>
                  </a:lnTo>
                  <a:lnTo>
                    <a:pt x="37837" y="78589"/>
                  </a:lnTo>
                  <a:lnTo>
                    <a:pt x="9669" y="40115"/>
                  </a:lnTo>
                  <a:lnTo>
                    <a:pt x="2443" y="20240"/>
                  </a:lnTo>
                  <a:lnTo>
                    <a:pt x="0" y="0"/>
                  </a:lnTo>
                </a:path>
              </a:pathLst>
            </a:custGeom>
            <a:ln w="7620">
              <a:solidFill>
                <a:srgbClr val="231F20"/>
              </a:solidFill>
            </a:ln>
          </p:spPr>
          <p:txBody>
            <a:bodyPr wrap="square" lIns="0" tIns="0" rIns="0" bIns="0" rtlCol="0"/>
            <a:lstStyle/>
            <a:p>
              <a:endParaRPr sz="649"/>
            </a:p>
          </p:txBody>
        </p:sp>
        <p:pic>
          <p:nvPicPr>
            <p:cNvPr id="48" name="object 48"/>
            <p:cNvPicPr/>
            <p:nvPr/>
          </p:nvPicPr>
          <p:blipFill>
            <a:blip r:embed="rId7" cstate="print"/>
            <a:stretch>
              <a:fillRect/>
            </a:stretch>
          </p:blipFill>
          <p:spPr>
            <a:xfrm>
              <a:off x="4908105" y="5461406"/>
              <a:ext cx="263347" cy="341325"/>
            </a:xfrm>
            <a:prstGeom prst="rect">
              <a:avLst/>
            </a:prstGeom>
          </p:spPr>
        </p:pic>
        <p:sp>
          <p:nvSpPr>
            <p:cNvPr id="49" name="object 49"/>
            <p:cNvSpPr/>
            <p:nvPr/>
          </p:nvSpPr>
          <p:spPr>
            <a:xfrm>
              <a:off x="4908104" y="5461397"/>
              <a:ext cx="263525" cy="341630"/>
            </a:xfrm>
            <a:custGeom>
              <a:avLst/>
              <a:gdLst/>
              <a:ahLst/>
              <a:cxnLst/>
              <a:rect l="l" t="t" r="r" b="b"/>
              <a:pathLst>
                <a:path w="263525" h="341629">
                  <a:moveTo>
                    <a:pt x="171107" y="0"/>
                  </a:moveTo>
                  <a:lnTo>
                    <a:pt x="171107" y="236207"/>
                  </a:lnTo>
                  <a:lnTo>
                    <a:pt x="263347" y="236207"/>
                  </a:lnTo>
                  <a:lnTo>
                    <a:pt x="135407" y="341337"/>
                  </a:lnTo>
                  <a:lnTo>
                    <a:pt x="0" y="236207"/>
                  </a:lnTo>
                  <a:lnTo>
                    <a:pt x="92227" y="236207"/>
                  </a:lnTo>
                  <a:lnTo>
                    <a:pt x="92227" y="0"/>
                  </a:lnTo>
                  <a:lnTo>
                    <a:pt x="171107" y="0"/>
                  </a:lnTo>
                  <a:close/>
                </a:path>
              </a:pathLst>
            </a:custGeom>
            <a:ln w="7619">
              <a:solidFill>
                <a:srgbClr val="E3873E"/>
              </a:solidFill>
            </a:ln>
          </p:spPr>
          <p:txBody>
            <a:bodyPr wrap="square" lIns="0" tIns="0" rIns="0" bIns="0" rtlCol="0"/>
            <a:lstStyle/>
            <a:p>
              <a:endParaRPr sz="649"/>
            </a:p>
          </p:txBody>
        </p:sp>
        <p:pic>
          <p:nvPicPr>
            <p:cNvPr id="50" name="object 50"/>
            <p:cNvPicPr/>
            <p:nvPr/>
          </p:nvPicPr>
          <p:blipFill>
            <a:blip r:embed="rId8" cstate="print"/>
            <a:stretch>
              <a:fillRect/>
            </a:stretch>
          </p:blipFill>
          <p:spPr>
            <a:xfrm>
              <a:off x="2903202" y="5298945"/>
              <a:ext cx="4139761" cy="4597357"/>
            </a:xfrm>
            <a:prstGeom prst="rect">
              <a:avLst/>
            </a:prstGeom>
          </p:spPr>
        </p:pic>
        <p:pic>
          <p:nvPicPr>
            <p:cNvPr id="51" name="object 51"/>
            <p:cNvPicPr/>
            <p:nvPr/>
          </p:nvPicPr>
          <p:blipFill>
            <a:blip r:embed="rId9" cstate="print"/>
            <a:stretch>
              <a:fillRect/>
            </a:stretch>
          </p:blipFill>
          <p:spPr>
            <a:xfrm>
              <a:off x="4938560" y="9051696"/>
              <a:ext cx="263334" cy="341337"/>
            </a:xfrm>
            <a:prstGeom prst="rect">
              <a:avLst/>
            </a:prstGeom>
          </p:spPr>
        </p:pic>
        <p:sp>
          <p:nvSpPr>
            <p:cNvPr id="52" name="object 52"/>
            <p:cNvSpPr/>
            <p:nvPr/>
          </p:nvSpPr>
          <p:spPr>
            <a:xfrm>
              <a:off x="4938561" y="9051691"/>
              <a:ext cx="263525" cy="341630"/>
            </a:xfrm>
            <a:custGeom>
              <a:avLst/>
              <a:gdLst/>
              <a:ahLst/>
              <a:cxnLst/>
              <a:rect l="l" t="t" r="r" b="b"/>
              <a:pathLst>
                <a:path w="263525" h="341629">
                  <a:moveTo>
                    <a:pt x="171107" y="0"/>
                  </a:moveTo>
                  <a:lnTo>
                    <a:pt x="171107" y="236207"/>
                  </a:lnTo>
                  <a:lnTo>
                    <a:pt x="263334" y="236207"/>
                  </a:lnTo>
                  <a:lnTo>
                    <a:pt x="135394" y="341337"/>
                  </a:lnTo>
                  <a:lnTo>
                    <a:pt x="0" y="236207"/>
                  </a:lnTo>
                  <a:lnTo>
                    <a:pt x="92227" y="236207"/>
                  </a:lnTo>
                  <a:lnTo>
                    <a:pt x="92227" y="0"/>
                  </a:lnTo>
                  <a:lnTo>
                    <a:pt x="171107" y="0"/>
                  </a:lnTo>
                  <a:close/>
                </a:path>
              </a:pathLst>
            </a:custGeom>
            <a:ln w="7620">
              <a:solidFill>
                <a:srgbClr val="E3873E"/>
              </a:solidFill>
            </a:ln>
          </p:spPr>
          <p:txBody>
            <a:bodyPr wrap="square" lIns="0" tIns="0" rIns="0" bIns="0" rtlCol="0"/>
            <a:lstStyle/>
            <a:p>
              <a:endParaRPr sz="649"/>
            </a:p>
          </p:txBody>
        </p:sp>
      </p:grpSp>
      <p:sp>
        <p:nvSpPr>
          <p:cNvPr id="53" name="object 53"/>
          <p:cNvSpPr txBox="1"/>
          <p:nvPr/>
        </p:nvSpPr>
        <p:spPr>
          <a:xfrm>
            <a:off x="2974090" y="283084"/>
            <a:ext cx="3194598" cy="229751"/>
          </a:xfrm>
          <a:prstGeom prst="rect">
            <a:avLst/>
          </a:prstGeom>
          <a:ln w="12700">
            <a:solidFill>
              <a:srgbClr val="231F20"/>
            </a:solidFill>
          </a:ln>
        </p:spPr>
        <p:txBody>
          <a:bodyPr vert="horz" wrap="square" lIns="0" tIns="51634" rIns="0" bIns="0" rtlCol="0">
            <a:spAutoFit/>
          </a:bodyPr>
          <a:lstStyle/>
          <a:p>
            <a:pPr marL="69959" marR="689816">
              <a:spcBef>
                <a:spcPts val="406"/>
              </a:spcBef>
            </a:pPr>
            <a:r>
              <a:rPr sz="577" dirty="0">
                <a:solidFill>
                  <a:srgbClr val="231F20"/>
                </a:solidFill>
                <a:latin typeface="Tahoma"/>
                <a:cs typeface="Tahoma"/>
              </a:rPr>
              <a:t>The</a:t>
            </a:r>
            <a:r>
              <a:rPr sz="577" spc="-70" dirty="0">
                <a:solidFill>
                  <a:srgbClr val="231F20"/>
                </a:solidFill>
                <a:latin typeface="Tahoma"/>
                <a:cs typeface="Tahoma"/>
              </a:rPr>
              <a:t> </a:t>
            </a:r>
            <a:r>
              <a:rPr sz="577" spc="-2" dirty="0">
                <a:solidFill>
                  <a:srgbClr val="231F20"/>
                </a:solidFill>
                <a:latin typeface="Tahoma"/>
                <a:cs typeface="Tahoma"/>
              </a:rPr>
              <a:t>guide</a:t>
            </a:r>
            <a:r>
              <a:rPr sz="577" spc="-67" dirty="0">
                <a:solidFill>
                  <a:srgbClr val="231F20"/>
                </a:solidFill>
                <a:latin typeface="Tahoma"/>
                <a:cs typeface="Tahoma"/>
              </a:rPr>
              <a:t> </a:t>
            </a:r>
            <a:r>
              <a:rPr sz="577" spc="12" dirty="0">
                <a:solidFill>
                  <a:srgbClr val="231F20"/>
                </a:solidFill>
                <a:latin typeface="Tahoma"/>
                <a:cs typeface="Tahoma"/>
              </a:rPr>
              <a:t>for</a:t>
            </a:r>
            <a:r>
              <a:rPr sz="577" spc="-67" dirty="0">
                <a:solidFill>
                  <a:srgbClr val="231F20"/>
                </a:solidFill>
                <a:latin typeface="Tahoma"/>
                <a:cs typeface="Tahoma"/>
              </a:rPr>
              <a:t> </a:t>
            </a:r>
            <a:r>
              <a:rPr sz="577" spc="-2" dirty="0">
                <a:solidFill>
                  <a:srgbClr val="231F20"/>
                </a:solidFill>
                <a:latin typeface="Tahoma"/>
                <a:cs typeface="Tahoma"/>
              </a:rPr>
              <a:t>assembly</a:t>
            </a:r>
            <a:r>
              <a:rPr sz="577" spc="-67" dirty="0">
                <a:solidFill>
                  <a:srgbClr val="231F20"/>
                </a:solidFill>
                <a:latin typeface="Tahoma"/>
                <a:cs typeface="Tahoma"/>
              </a:rPr>
              <a:t> </a:t>
            </a:r>
            <a:r>
              <a:rPr sz="577" spc="-5" dirty="0">
                <a:solidFill>
                  <a:srgbClr val="231F20"/>
                </a:solidFill>
                <a:latin typeface="Tahoma"/>
                <a:cs typeface="Tahoma"/>
              </a:rPr>
              <a:t>and</a:t>
            </a:r>
            <a:r>
              <a:rPr sz="577" spc="-67" dirty="0">
                <a:solidFill>
                  <a:srgbClr val="231F20"/>
                </a:solidFill>
                <a:latin typeface="Tahoma"/>
                <a:cs typeface="Tahoma"/>
              </a:rPr>
              <a:t> </a:t>
            </a:r>
            <a:r>
              <a:rPr sz="577" spc="-5" dirty="0">
                <a:solidFill>
                  <a:srgbClr val="231F20"/>
                </a:solidFill>
                <a:latin typeface="Tahoma"/>
                <a:cs typeface="Tahoma"/>
              </a:rPr>
              <a:t>use</a:t>
            </a:r>
            <a:r>
              <a:rPr sz="577" spc="-67" dirty="0">
                <a:solidFill>
                  <a:srgbClr val="231F20"/>
                </a:solidFill>
                <a:latin typeface="Tahoma"/>
                <a:cs typeface="Tahoma"/>
              </a:rPr>
              <a:t> </a:t>
            </a:r>
            <a:r>
              <a:rPr sz="577" dirty="0">
                <a:solidFill>
                  <a:srgbClr val="231F20"/>
                </a:solidFill>
                <a:latin typeface="Tahoma"/>
                <a:cs typeface="Tahoma"/>
              </a:rPr>
              <a:t>must</a:t>
            </a:r>
            <a:r>
              <a:rPr sz="577" spc="-70" dirty="0">
                <a:solidFill>
                  <a:srgbClr val="231F20"/>
                </a:solidFill>
                <a:latin typeface="Tahoma"/>
                <a:cs typeface="Tahoma"/>
              </a:rPr>
              <a:t> </a:t>
            </a:r>
            <a:r>
              <a:rPr sz="577" dirty="0">
                <a:solidFill>
                  <a:srgbClr val="231F20"/>
                </a:solidFill>
                <a:latin typeface="Tahoma"/>
                <a:cs typeface="Tahoma"/>
              </a:rPr>
              <a:t>be</a:t>
            </a:r>
            <a:r>
              <a:rPr sz="577" spc="-67" dirty="0">
                <a:solidFill>
                  <a:srgbClr val="231F20"/>
                </a:solidFill>
                <a:latin typeface="Tahoma"/>
                <a:cs typeface="Tahoma"/>
              </a:rPr>
              <a:t> </a:t>
            </a:r>
            <a:r>
              <a:rPr sz="577" spc="7" dirty="0">
                <a:solidFill>
                  <a:srgbClr val="231F20"/>
                </a:solidFill>
                <a:latin typeface="Tahoma"/>
                <a:cs typeface="Tahoma"/>
              </a:rPr>
              <a:t>carefully</a:t>
            </a:r>
            <a:r>
              <a:rPr sz="577" spc="-67" dirty="0">
                <a:solidFill>
                  <a:srgbClr val="231F20"/>
                </a:solidFill>
                <a:latin typeface="Tahoma"/>
                <a:cs typeface="Tahoma"/>
              </a:rPr>
              <a:t> </a:t>
            </a:r>
            <a:r>
              <a:rPr sz="577" spc="2" dirty="0">
                <a:solidFill>
                  <a:srgbClr val="231F20"/>
                </a:solidFill>
                <a:latin typeface="Tahoma"/>
                <a:cs typeface="Tahoma"/>
              </a:rPr>
              <a:t>read</a:t>
            </a:r>
            <a:r>
              <a:rPr sz="577" spc="-67" dirty="0">
                <a:solidFill>
                  <a:srgbClr val="231F20"/>
                </a:solidFill>
                <a:latin typeface="Tahoma"/>
                <a:cs typeface="Tahoma"/>
              </a:rPr>
              <a:t> </a:t>
            </a:r>
            <a:r>
              <a:rPr sz="577" spc="7" dirty="0">
                <a:solidFill>
                  <a:srgbClr val="231F20"/>
                </a:solidFill>
                <a:latin typeface="Tahoma"/>
                <a:cs typeface="Tahoma"/>
              </a:rPr>
              <a:t>before</a:t>
            </a:r>
            <a:r>
              <a:rPr sz="577" spc="-67" dirty="0">
                <a:solidFill>
                  <a:srgbClr val="231F20"/>
                </a:solidFill>
                <a:latin typeface="Tahoma"/>
                <a:cs typeface="Tahoma"/>
              </a:rPr>
              <a:t> </a:t>
            </a:r>
            <a:r>
              <a:rPr sz="577" spc="-5" dirty="0">
                <a:solidFill>
                  <a:srgbClr val="231F20"/>
                </a:solidFill>
                <a:latin typeface="Tahoma"/>
                <a:cs typeface="Tahoma"/>
              </a:rPr>
              <a:t>using</a:t>
            </a:r>
            <a:r>
              <a:rPr sz="577" spc="-67" dirty="0">
                <a:solidFill>
                  <a:srgbClr val="231F20"/>
                </a:solidFill>
                <a:latin typeface="Tahoma"/>
                <a:cs typeface="Tahoma"/>
              </a:rPr>
              <a:t> </a:t>
            </a:r>
            <a:r>
              <a:rPr sz="577" spc="5" dirty="0">
                <a:solidFill>
                  <a:srgbClr val="231F20"/>
                </a:solidFill>
                <a:latin typeface="Tahoma"/>
                <a:cs typeface="Tahoma"/>
              </a:rPr>
              <a:t>the</a:t>
            </a:r>
            <a:r>
              <a:rPr sz="577" spc="-70" dirty="0">
                <a:solidFill>
                  <a:srgbClr val="231F20"/>
                </a:solidFill>
                <a:latin typeface="Tahoma"/>
                <a:cs typeface="Tahoma"/>
              </a:rPr>
              <a:t> </a:t>
            </a:r>
            <a:r>
              <a:rPr sz="577" spc="-12" dirty="0">
                <a:solidFill>
                  <a:srgbClr val="231F20"/>
                </a:solidFill>
                <a:latin typeface="Tahoma"/>
                <a:cs typeface="Tahoma"/>
              </a:rPr>
              <a:t>chair. </a:t>
            </a:r>
            <a:r>
              <a:rPr sz="577" spc="-173" dirty="0">
                <a:solidFill>
                  <a:srgbClr val="231F20"/>
                </a:solidFill>
                <a:latin typeface="Tahoma"/>
                <a:cs typeface="Tahoma"/>
              </a:rPr>
              <a:t> </a:t>
            </a:r>
            <a:r>
              <a:rPr sz="577" spc="41" dirty="0">
                <a:solidFill>
                  <a:srgbClr val="231F20"/>
                </a:solidFill>
                <a:latin typeface="Tahoma"/>
                <a:cs typeface="Tahoma"/>
              </a:rPr>
              <a:t>K</a:t>
            </a:r>
            <a:r>
              <a:rPr sz="577" spc="-2" dirty="0">
                <a:solidFill>
                  <a:srgbClr val="231F20"/>
                </a:solidFill>
                <a:latin typeface="Tahoma"/>
                <a:cs typeface="Tahoma"/>
              </a:rPr>
              <a:t>eep</a:t>
            </a:r>
            <a:r>
              <a:rPr sz="577" spc="-70" dirty="0">
                <a:solidFill>
                  <a:srgbClr val="231F20"/>
                </a:solidFill>
                <a:latin typeface="Tahoma"/>
                <a:cs typeface="Tahoma"/>
              </a:rPr>
              <a:t> </a:t>
            </a:r>
            <a:r>
              <a:rPr sz="577" spc="5" dirty="0">
                <a:solidFill>
                  <a:srgbClr val="231F20"/>
                </a:solidFill>
                <a:latin typeface="Tahoma"/>
                <a:cs typeface="Tahoma"/>
              </a:rPr>
              <a:t>the</a:t>
            </a:r>
            <a:r>
              <a:rPr sz="577" spc="-70" dirty="0">
                <a:solidFill>
                  <a:srgbClr val="231F20"/>
                </a:solidFill>
                <a:latin typeface="Tahoma"/>
                <a:cs typeface="Tahoma"/>
              </a:rPr>
              <a:t> </a:t>
            </a:r>
            <a:r>
              <a:rPr sz="577" spc="-2" dirty="0">
                <a:solidFill>
                  <a:srgbClr val="231F20"/>
                </a:solidFill>
                <a:latin typeface="Tahoma"/>
                <a:cs typeface="Tahoma"/>
              </a:rPr>
              <a:t>guide</a:t>
            </a:r>
            <a:r>
              <a:rPr sz="577" spc="-70" dirty="0">
                <a:solidFill>
                  <a:srgbClr val="231F20"/>
                </a:solidFill>
                <a:latin typeface="Tahoma"/>
                <a:cs typeface="Tahoma"/>
              </a:rPr>
              <a:t> </a:t>
            </a:r>
            <a:r>
              <a:rPr sz="577" spc="12" dirty="0">
                <a:solidFill>
                  <a:srgbClr val="231F20"/>
                </a:solidFill>
                <a:latin typeface="Tahoma"/>
                <a:cs typeface="Tahoma"/>
              </a:rPr>
              <a:t>for</a:t>
            </a:r>
            <a:r>
              <a:rPr sz="577" spc="-70" dirty="0">
                <a:solidFill>
                  <a:srgbClr val="231F20"/>
                </a:solidFill>
                <a:latin typeface="Tahoma"/>
                <a:cs typeface="Tahoma"/>
              </a:rPr>
              <a:t> </a:t>
            </a:r>
            <a:r>
              <a:rPr sz="577" spc="7" dirty="0">
                <a:solidFill>
                  <a:srgbClr val="231F20"/>
                </a:solidFill>
                <a:latin typeface="Tahoma"/>
                <a:cs typeface="Tahoma"/>
              </a:rPr>
              <a:t>future</a:t>
            </a:r>
            <a:r>
              <a:rPr sz="577" spc="-70" dirty="0">
                <a:solidFill>
                  <a:srgbClr val="231F20"/>
                </a:solidFill>
                <a:latin typeface="Tahoma"/>
                <a:cs typeface="Tahoma"/>
              </a:rPr>
              <a:t> </a:t>
            </a:r>
            <a:r>
              <a:rPr sz="577" spc="5" dirty="0">
                <a:solidFill>
                  <a:srgbClr val="231F20"/>
                </a:solidFill>
                <a:latin typeface="Tahoma"/>
                <a:cs typeface="Tahoma"/>
              </a:rPr>
              <a:t>reference!</a:t>
            </a:r>
            <a:endParaRPr sz="577">
              <a:latin typeface="Tahoma"/>
              <a:cs typeface="Tahoma"/>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130287" y="4919958"/>
            <a:ext cx="47662" cy="94978"/>
          </a:xfrm>
          <a:prstGeom prst="rect">
            <a:avLst/>
          </a:prstGeom>
        </p:spPr>
        <p:txBody>
          <a:bodyPr vert="horz" wrap="square" lIns="0" tIns="6111" rIns="0" bIns="0" rtlCol="0">
            <a:spAutoFit/>
          </a:bodyPr>
          <a:lstStyle/>
          <a:p>
            <a:pPr marL="6110">
              <a:spcBef>
                <a:spcPts val="48"/>
              </a:spcBef>
            </a:pPr>
            <a:r>
              <a:rPr sz="577" spc="5" dirty="0">
                <a:solidFill>
                  <a:srgbClr val="231F20"/>
                </a:solidFill>
                <a:latin typeface="Miriam"/>
                <a:cs typeface="Miriam"/>
              </a:rPr>
              <a:t>3</a:t>
            </a:r>
            <a:endParaRPr sz="577">
              <a:latin typeface="Miriam"/>
              <a:cs typeface="Miriam"/>
            </a:endParaRPr>
          </a:p>
        </p:txBody>
      </p:sp>
      <p:sp>
        <p:nvSpPr>
          <p:cNvPr id="3" name="object 3"/>
          <p:cNvSpPr txBox="1"/>
          <p:nvPr/>
        </p:nvSpPr>
        <p:spPr>
          <a:xfrm>
            <a:off x="5324491" y="4936722"/>
            <a:ext cx="661162" cy="80165"/>
          </a:xfrm>
          <a:prstGeom prst="rect">
            <a:avLst/>
          </a:prstGeom>
        </p:spPr>
        <p:txBody>
          <a:bodyPr vert="horz" wrap="square" lIns="0" tIns="6111" rIns="0" bIns="0" rtlCol="0">
            <a:spAutoFit/>
          </a:bodyPr>
          <a:lstStyle/>
          <a:p>
            <a:pPr marL="18330">
              <a:spcBef>
                <a:spcPts val="48"/>
              </a:spcBef>
            </a:pPr>
            <a:r>
              <a:rPr sz="481" dirty="0">
                <a:solidFill>
                  <a:srgbClr val="231F20"/>
                </a:solidFill>
                <a:latin typeface="Tahoma"/>
                <a:cs typeface="Tahoma"/>
              </a:rPr>
              <a:t>Stressles</a:t>
            </a:r>
            <a:r>
              <a:rPr sz="481" spc="-2" dirty="0">
                <a:solidFill>
                  <a:srgbClr val="231F20"/>
                </a:solidFill>
                <a:latin typeface="Tahoma"/>
                <a:cs typeface="Tahoma"/>
              </a:rPr>
              <a:t>s</a:t>
            </a:r>
            <a:r>
              <a:rPr sz="397" spc="-36" baseline="35353" dirty="0">
                <a:solidFill>
                  <a:srgbClr val="231F20"/>
                </a:solidFill>
                <a:latin typeface="Tahoma"/>
                <a:cs typeface="Tahoma"/>
              </a:rPr>
              <a:t>®</a:t>
            </a:r>
            <a:r>
              <a:rPr sz="397" spc="14" baseline="35353" dirty="0">
                <a:solidFill>
                  <a:srgbClr val="231F20"/>
                </a:solidFill>
                <a:latin typeface="Tahoma"/>
                <a:cs typeface="Tahoma"/>
              </a:rPr>
              <a:t> </a:t>
            </a:r>
            <a:r>
              <a:rPr sz="481" spc="31" dirty="0">
                <a:solidFill>
                  <a:srgbClr val="231F20"/>
                </a:solidFill>
                <a:latin typeface="Tahoma"/>
                <a:cs typeface="Tahoma"/>
              </a:rPr>
              <a:t>Mi</a:t>
            </a:r>
            <a:r>
              <a:rPr sz="481" spc="17" dirty="0">
                <a:solidFill>
                  <a:srgbClr val="231F20"/>
                </a:solidFill>
                <a:latin typeface="Tahoma"/>
                <a:cs typeface="Tahoma"/>
              </a:rPr>
              <a:t>k</a:t>
            </a:r>
            <a:r>
              <a:rPr sz="481" spc="-2" dirty="0">
                <a:solidFill>
                  <a:srgbClr val="231F20"/>
                </a:solidFill>
                <a:latin typeface="Tahoma"/>
                <a:cs typeface="Tahoma"/>
              </a:rPr>
              <a:t>e</a:t>
            </a:r>
            <a:r>
              <a:rPr sz="481" spc="-58" dirty="0">
                <a:solidFill>
                  <a:srgbClr val="231F20"/>
                </a:solidFill>
                <a:latin typeface="Tahoma"/>
                <a:cs typeface="Tahoma"/>
              </a:rPr>
              <a:t> </a:t>
            </a:r>
            <a:r>
              <a:rPr sz="481" spc="12" dirty="0">
                <a:solidFill>
                  <a:srgbClr val="231F20"/>
                </a:solidFill>
                <a:latin typeface="Tahoma"/>
                <a:cs typeface="Tahoma"/>
              </a:rPr>
              <a:t>&amp;</a:t>
            </a:r>
            <a:r>
              <a:rPr sz="481" spc="-58" dirty="0">
                <a:solidFill>
                  <a:srgbClr val="231F20"/>
                </a:solidFill>
                <a:latin typeface="Tahoma"/>
                <a:cs typeface="Tahoma"/>
              </a:rPr>
              <a:t> </a:t>
            </a:r>
            <a:r>
              <a:rPr sz="481" spc="22" dirty="0">
                <a:solidFill>
                  <a:srgbClr val="231F20"/>
                </a:solidFill>
                <a:latin typeface="Tahoma"/>
                <a:cs typeface="Tahoma"/>
              </a:rPr>
              <a:t>Max</a:t>
            </a:r>
            <a:endParaRPr sz="481">
              <a:latin typeface="Tahoma"/>
              <a:cs typeface="Tahoma"/>
            </a:endParaRPr>
          </a:p>
        </p:txBody>
      </p:sp>
      <p:sp>
        <p:nvSpPr>
          <p:cNvPr id="4" name="object 4"/>
          <p:cNvSpPr txBox="1"/>
          <p:nvPr/>
        </p:nvSpPr>
        <p:spPr>
          <a:xfrm>
            <a:off x="5804477" y="102788"/>
            <a:ext cx="373355" cy="109917"/>
          </a:xfrm>
          <a:prstGeom prst="rect">
            <a:avLst/>
          </a:prstGeom>
        </p:spPr>
        <p:txBody>
          <a:bodyPr vert="horz" wrap="square" lIns="0" tIns="6111" rIns="0" bIns="0" rtlCol="0">
            <a:spAutoFit/>
          </a:bodyPr>
          <a:lstStyle/>
          <a:p>
            <a:pPr marL="6110">
              <a:spcBef>
                <a:spcPts val="48"/>
              </a:spcBef>
            </a:pPr>
            <a:r>
              <a:rPr sz="674" spc="5" dirty="0">
                <a:solidFill>
                  <a:srgbClr val="231F20"/>
                </a:solidFill>
                <a:latin typeface="Tahoma"/>
                <a:cs typeface="Tahoma"/>
              </a:rPr>
              <a:t>Assembly</a:t>
            </a:r>
            <a:endParaRPr sz="674">
              <a:latin typeface="Tahoma"/>
              <a:cs typeface="Tahoma"/>
            </a:endParaRPr>
          </a:p>
        </p:txBody>
      </p:sp>
      <p:grpSp>
        <p:nvGrpSpPr>
          <p:cNvPr id="5" name="object 5"/>
          <p:cNvGrpSpPr/>
          <p:nvPr/>
        </p:nvGrpSpPr>
        <p:grpSpPr>
          <a:xfrm>
            <a:off x="3101156" y="293188"/>
            <a:ext cx="1344628" cy="1941323"/>
            <a:chOff x="721290" y="609353"/>
            <a:chExt cx="2794635" cy="4034790"/>
          </a:xfrm>
        </p:grpSpPr>
        <p:sp>
          <p:nvSpPr>
            <p:cNvPr id="6" name="object 6"/>
            <p:cNvSpPr/>
            <p:nvPr/>
          </p:nvSpPr>
          <p:spPr>
            <a:xfrm>
              <a:off x="2118564" y="4338170"/>
              <a:ext cx="0" cy="144145"/>
            </a:xfrm>
            <a:custGeom>
              <a:avLst/>
              <a:gdLst/>
              <a:ahLst/>
              <a:cxnLst/>
              <a:rect l="l" t="t" r="r" b="b"/>
              <a:pathLst>
                <a:path h="144145">
                  <a:moveTo>
                    <a:pt x="0" y="0"/>
                  </a:moveTo>
                  <a:lnTo>
                    <a:pt x="0" y="143865"/>
                  </a:lnTo>
                </a:path>
              </a:pathLst>
            </a:custGeom>
            <a:ln w="25400">
              <a:solidFill>
                <a:srgbClr val="231F20"/>
              </a:solidFill>
            </a:ln>
          </p:spPr>
          <p:txBody>
            <a:bodyPr wrap="square" lIns="0" tIns="0" rIns="0" bIns="0" rtlCol="0"/>
            <a:lstStyle/>
            <a:p>
              <a:endParaRPr sz="649"/>
            </a:p>
          </p:txBody>
        </p:sp>
        <p:sp>
          <p:nvSpPr>
            <p:cNvPr id="7" name="object 7"/>
            <p:cNvSpPr/>
            <p:nvPr/>
          </p:nvSpPr>
          <p:spPr>
            <a:xfrm>
              <a:off x="1974982" y="4331869"/>
              <a:ext cx="0" cy="150495"/>
            </a:xfrm>
            <a:custGeom>
              <a:avLst/>
              <a:gdLst/>
              <a:ahLst/>
              <a:cxnLst/>
              <a:rect l="l" t="t" r="r" b="b"/>
              <a:pathLst>
                <a:path h="150495">
                  <a:moveTo>
                    <a:pt x="0" y="0"/>
                  </a:moveTo>
                  <a:lnTo>
                    <a:pt x="0" y="150164"/>
                  </a:lnTo>
                </a:path>
              </a:pathLst>
            </a:custGeom>
            <a:ln w="25400">
              <a:solidFill>
                <a:srgbClr val="231F20"/>
              </a:solidFill>
            </a:ln>
          </p:spPr>
          <p:txBody>
            <a:bodyPr wrap="square" lIns="0" tIns="0" rIns="0" bIns="0" rtlCol="0"/>
            <a:lstStyle/>
            <a:p>
              <a:endParaRPr sz="649"/>
            </a:p>
          </p:txBody>
        </p:sp>
        <p:sp>
          <p:nvSpPr>
            <p:cNvPr id="8" name="object 8"/>
            <p:cNvSpPr/>
            <p:nvPr/>
          </p:nvSpPr>
          <p:spPr>
            <a:xfrm>
              <a:off x="1047501" y="4491748"/>
              <a:ext cx="1998980" cy="139700"/>
            </a:xfrm>
            <a:custGeom>
              <a:avLst/>
              <a:gdLst/>
              <a:ahLst/>
              <a:cxnLst/>
              <a:rect l="l" t="t" r="r" b="b"/>
              <a:pathLst>
                <a:path w="1998980" h="139700">
                  <a:moveTo>
                    <a:pt x="997064" y="0"/>
                  </a:moveTo>
                  <a:lnTo>
                    <a:pt x="937835" y="180"/>
                  </a:lnTo>
                  <a:lnTo>
                    <a:pt x="881000" y="734"/>
                  </a:lnTo>
                  <a:lnTo>
                    <a:pt x="826418" y="1678"/>
                  </a:lnTo>
                  <a:lnTo>
                    <a:pt x="773944" y="3032"/>
                  </a:lnTo>
                  <a:lnTo>
                    <a:pt x="723436" y="4813"/>
                  </a:lnTo>
                  <a:lnTo>
                    <a:pt x="674751" y="7038"/>
                  </a:lnTo>
                  <a:lnTo>
                    <a:pt x="627745" y="9727"/>
                  </a:lnTo>
                  <a:lnTo>
                    <a:pt x="582275" y="12897"/>
                  </a:lnTo>
                  <a:lnTo>
                    <a:pt x="538199" y="16566"/>
                  </a:lnTo>
                  <a:lnTo>
                    <a:pt x="495374" y="20752"/>
                  </a:lnTo>
                  <a:lnTo>
                    <a:pt x="453656" y="25472"/>
                  </a:lnTo>
                  <a:lnTo>
                    <a:pt x="412902" y="30746"/>
                  </a:lnTo>
                  <a:lnTo>
                    <a:pt x="350917" y="40275"/>
                  </a:lnTo>
                  <a:lnTo>
                    <a:pt x="285403" y="51958"/>
                  </a:lnTo>
                  <a:lnTo>
                    <a:pt x="219726" y="64890"/>
                  </a:lnTo>
                  <a:lnTo>
                    <a:pt x="157252" y="78162"/>
                  </a:lnTo>
                  <a:lnTo>
                    <a:pt x="101350" y="90867"/>
                  </a:lnTo>
                  <a:lnTo>
                    <a:pt x="55384" y="102098"/>
                  </a:lnTo>
                  <a:lnTo>
                    <a:pt x="6731" y="116509"/>
                  </a:lnTo>
                  <a:lnTo>
                    <a:pt x="0" y="129552"/>
                  </a:lnTo>
                  <a:lnTo>
                    <a:pt x="2844" y="136269"/>
                  </a:lnTo>
                  <a:lnTo>
                    <a:pt x="11595" y="139166"/>
                  </a:lnTo>
                  <a:lnTo>
                    <a:pt x="992212" y="139166"/>
                  </a:lnTo>
                  <a:lnTo>
                    <a:pt x="1006335" y="139166"/>
                  </a:lnTo>
                  <a:lnTo>
                    <a:pt x="1986953" y="139166"/>
                  </a:lnTo>
                  <a:lnTo>
                    <a:pt x="1995698" y="136269"/>
                  </a:lnTo>
                  <a:lnTo>
                    <a:pt x="1998543" y="129552"/>
                  </a:lnTo>
                  <a:lnTo>
                    <a:pt x="1996809" y="121978"/>
                  </a:lnTo>
                  <a:lnTo>
                    <a:pt x="1943169" y="102098"/>
                  </a:lnTo>
                  <a:lnTo>
                    <a:pt x="1897203" y="90867"/>
                  </a:lnTo>
                  <a:lnTo>
                    <a:pt x="1841299" y="78162"/>
                  </a:lnTo>
                  <a:lnTo>
                    <a:pt x="1778825" y="64890"/>
                  </a:lnTo>
                  <a:lnTo>
                    <a:pt x="1713146" y="51958"/>
                  </a:lnTo>
                  <a:lnTo>
                    <a:pt x="1647631" y="40275"/>
                  </a:lnTo>
                  <a:lnTo>
                    <a:pt x="1585645" y="30746"/>
                  </a:lnTo>
                  <a:lnTo>
                    <a:pt x="1544891" y="25472"/>
                  </a:lnTo>
                  <a:lnTo>
                    <a:pt x="1503173" y="20752"/>
                  </a:lnTo>
                  <a:lnTo>
                    <a:pt x="1460348" y="16566"/>
                  </a:lnTo>
                  <a:lnTo>
                    <a:pt x="1416272" y="12897"/>
                  </a:lnTo>
                  <a:lnTo>
                    <a:pt x="1370803" y="9727"/>
                  </a:lnTo>
                  <a:lnTo>
                    <a:pt x="1323797" y="7038"/>
                  </a:lnTo>
                  <a:lnTo>
                    <a:pt x="1275111" y="4813"/>
                  </a:lnTo>
                  <a:lnTo>
                    <a:pt x="1224603" y="3032"/>
                  </a:lnTo>
                  <a:lnTo>
                    <a:pt x="1172129" y="1678"/>
                  </a:lnTo>
                  <a:lnTo>
                    <a:pt x="1117547" y="734"/>
                  </a:lnTo>
                  <a:lnTo>
                    <a:pt x="1060713" y="180"/>
                  </a:lnTo>
                  <a:lnTo>
                    <a:pt x="1001483" y="0"/>
                  </a:lnTo>
                  <a:lnTo>
                    <a:pt x="997064" y="0"/>
                  </a:lnTo>
                  <a:close/>
                </a:path>
              </a:pathLst>
            </a:custGeom>
            <a:ln w="25400">
              <a:solidFill>
                <a:srgbClr val="231F20"/>
              </a:solidFill>
            </a:ln>
          </p:spPr>
          <p:txBody>
            <a:bodyPr wrap="square" lIns="0" tIns="0" rIns="0" bIns="0" rtlCol="0"/>
            <a:lstStyle/>
            <a:p>
              <a:endParaRPr sz="649"/>
            </a:p>
          </p:txBody>
        </p:sp>
        <p:sp>
          <p:nvSpPr>
            <p:cNvPr id="9" name="object 9"/>
            <p:cNvSpPr/>
            <p:nvPr/>
          </p:nvSpPr>
          <p:spPr>
            <a:xfrm>
              <a:off x="783085" y="2734854"/>
              <a:ext cx="2228850" cy="1511935"/>
            </a:xfrm>
            <a:custGeom>
              <a:avLst/>
              <a:gdLst/>
              <a:ahLst/>
              <a:cxnLst/>
              <a:rect l="l" t="t" r="r" b="b"/>
              <a:pathLst>
                <a:path w="2228850" h="1511935">
                  <a:moveTo>
                    <a:pt x="2131548" y="484362"/>
                  </a:moveTo>
                  <a:lnTo>
                    <a:pt x="2175828" y="456675"/>
                  </a:lnTo>
                  <a:lnTo>
                    <a:pt x="2213631" y="417154"/>
                  </a:lnTo>
                  <a:lnTo>
                    <a:pt x="2228301" y="359312"/>
                  </a:lnTo>
                  <a:lnTo>
                    <a:pt x="2221780" y="328490"/>
                  </a:lnTo>
                  <a:lnTo>
                    <a:pt x="2173844" y="268023"/>
                  </a:lnTo>
                  <a:lnTo>
                    <a:pt x="2130312" y="243545"/>
                  </a:lnTo>
                  <a:lnTo>
                    <a:pt x="2072327" y="226349"/>
                  </a:lnTo>
                  <a:lnTo>
                    <a:pt x="2013179" y="216246"/>
                  </a:lnTo>
                  <a:lnTo>
                    <a:pt x="1974879" y="210428"/>
                  </a:lnTo>
                  <a:lnTo>
                    <a:pt x="1931590" y="204180"/>
                  </a:lnTo>
                  <a:lnTo>
                    <a:pt x="1883930" y="197565"/>
                  </a:lnTo>
                  <a:lnTo>
                    <a:pt x="1832520" y="190646"/>
                  </a:lnTo>
                  <a:lnTo>
                    <a:pt x="1777979" y="183484"/>
                  </a:lnTo>
                  <a:lnTo>
                    <a:pt x="1720928" y="176140"/>
                  </a:lnTo>
                  <a:lnTo>
                    <a:pt x="1661986" y="168678"/>
                  </a:lnTo>
                  <a:lnTo>
                    <a:pt x="1601774" y="161159"/>
                  </a:lnTo>
                  <a:lnTo>
                    <a:pt x="1540910" y="153645"/>
                  </a:lnTo>
                  <a:lnTo>
                    <a:pt x="1480016" y="146198"/>
                  </a:lnTo>
                  <a:lnTo>
                    <a:pt x="1419711" y="138880"/>
                  </a:lnTo>
                  <a:lnTo>
                    <a:pt x="1360614" y="131753"/>
                  </a:lnTo>
                  <a:lnTo>
                    <a:pt x="1303346" y="124879"/>
                  </a:lnTo>
                  <a:lnTo>
                    <a:pt x="1248527" y="118320"/>
                  </a:lnTo>
                  <a:lnTo>
                    <a:pt x="1196777" y="112138"/>
                  </a:lnTo>
                  <a:lnTo>
                    <a:pt x="1147580" y="105870"/>
                  </a:lnTo>
                  <a:lnTo>
                    <a:pt x="1094893" y="98487"/>
                  </a:lnTo>
                  <a:lnTo>
                    <a:pt x="1039377" y="90208"/>
                  </a:lnTo>
                  <a:lnTo>
                    <a:pt x="981694" y="81251"/>
                  </a:lnTo>
                  <a:lnTo>
                    <a:pt x="922505" y="71832"/>
                  </a:lnTo>
                  <a:lnTo>
                    <a:pt x="862471" y="62169"/>
                  </a:lnTo>
                  <a:lnTo>
                    <a:pt x="802255" y="52480"/>
                  </a:lnTo>
                  <a:lnTo>
                    <a:pt x="742518" y="42982"/>
                  </a:lnTo>
                  <a:lnTo>
                    <a:pt x="683921" y="33893"/>
                  </a:lnTo>
                  <a:lnTo>
                    <a:pt x="627125" y="25431"/>
                  </a:lnTo>
                  <a:lnTo>
                    <a:pt x="572792" y="17813"/>
                  </a:lnTo>
                  <a:lnTo>
                    <a:pt x="521585" y="11257"/>
                  </a:lnTo>
                  <a:lnTo>
                    <a:pt x="474163" y="5980"/>
                  </a:lnTo>
                  <a:lnTo>
                    <a:pt x="431189" y="2199"/>
                  </a:lnTo>
                  <a:lnTo>
                    <a:pt x="361229" y="0"/>
                  </a:lnTo>
                  <a:lnTo>
                    <a:pt x="335566" y="2015"/>
                  </a:lnTo>
                  <a:lnTo>
                    <a:pt x="298437" y="17906"/>
                  </a:lnTo>
                  <a:lnTo>
                    <a:pt x="257505" y="66392"/>
                  </a:lnTo>
                  <a:lnTo>
                    <a:pt x="235765" y="101384"/>
                  </a:lnTo>
                  <a:lnTo>
                    <a:pt x="213597" y="142220"/>
                  </a:lnTo>
                  <a:lnTo>
                    <a:pt x="191317" y="187905"/>
                  </a:lnTo>
                  <a:lnTo>
                    <a:pt x="169239" y="237449"/>
                  </a:lnTo>
                  <a:lnTo>
                    <a:pt x="147681" y="289857"/>
                  </a:lnTo>
                  <a:lnTo>
                    <a:pt x="126957" y="344138"/>
                  </a:lnTo>
                  <a:lnTo>
                    <a:pt x="107384" y="399298"/>
                  </a:lnTo>
                  <a:lnTo>
                    <a:pt x="89277" y="454346"/>
                  </a:lnTo>
                  <a:lnTo>
                    <a:pt x="72952" y="508287"/>
                  </a:lnTo>
                  <a:lnTo>
                    <a:pt x="58724" y="560131"/>
                  </a:lnTo>
                  <a:lnTo>
                    <a:pt x="46910" y="608883"/>
                  </a:lnTo>
                  <a:lnTo>
                    <a:pt x="37826" y="653552"/>
                  </a:lnTo>
                  <a:lnTo>
                    <a:pt x="30121" y="702622"/>
                  </a:lnTo>
                  <a:lnTo>
                    <a:pt x="23313" y="758138"/>
                  </a:lnTo>
                  <a:lnTo>
                    <a:pt x="17394" y="818518"/>
                  </a:lnTo>
                  <a:lnTo>
                    <a:pt x="12352" y="882182"/>
                  </a:lnTo>
                  <a:lnTo>
                    <a:pt x="8180" y="947547"/>
                  </a:lnTo>
                  <a:lnTo>
                    <a:pt x="4868" y="1013032"/>
                  </a:lnTo>
                  <a:lnTo>
                    <a:pt x="2407" y="1077055"/>
                  </a:lnTo>
                  <a:lnTo>
                    <a:pt x="787" y="1138036"/>
                  </a:lnTo>
                  <a:lnTo>
                    <a:pt x="0" y="1194392"/>
                  </a:lnTo>
                  <a:lnTo>
                    <a:pt x="35" y="1244543"/>
                  </a:lnTo>
                  <a:lnTo>
                    <a:pt x="884" y="1286905"/>
                  </a:lnTo>
                  <a:lnTo>
                    <a:pt x="4987" y="1341943"/>
                  </a:lnTo>
                  <a:lnTo>
                    <a:pt x="40998" y="1362763"/>
                  </a:lnTo>
                  <a:lnTo>
                    <a:pt x="89567" y="1375705"/>
                  </a:lnTo>
                  <a:lnTo>
                    <a:pt x="157670" y="1391716"/>
                  </a:lnTo>
                  <a:lnTo>
                    <a:pt x="198553" y="1400537"/>
                  </a:lnTo>
                  <a:lnTo>
                    <a:pt x="243727" y="1409723"/>
                  </a:lnTo>
                  <a:lnTo>
                    <a:pt x="292996" y="1419139"/>
                  </a:lnTo>
                  <a:lnTo>
                    <a:pt x="346161" y="1428650"/>
                  </a:lnTo>
                  <a:lnTo>
                    <a:pt x="403026" y="1438124"/>
                  </a:lnTo>
                  <a:lnTo>
                    <a:pt x="463393" y="1447424"/>
                  </a:lnTo>
                  <a:lnTo>
                    <a:pt x="527065" y="1456418"/>
                  </a:lnTo>
                  <a:lnTo>
                    <a:pt x="593844" y="1464970"/>
                  </a:lnTo>
                  <a:lnTo>
                    <a:pt x="663534" y="1472947"/>
                  </a:lnTo>
                  <a:lnTo>
                    <a:pt x="735937" y="1480214"/>
                  </a:lnTo>
                  <a:lnTo>
                    <a:pt x="810856" y="1486637"/>
                  </a:lnTo>
                  <a:lnTo>
                    <a:pt x="888093" y="1492082"/>
                  </a:lnTo>
                  <a:lnTo>
                    <a:pt x="967451" y="1496414"/>
                  </a:lnTo>
                  <a:lnTo>
                    <a:pt x="1048733" y="1499499"/>
                  </a:lnTo>
                  <a:lnTo>
                    <a:pt x="1133662" y="1501939"/>
                  </a:lnTo>
                  <a:lnTo>
                    <a:pt x="1215770" y="1504163"/>
                  </a:lnTo>
                  <a:lnTo>
                    <a:pt x="1294903" y="1506145"/>
                  </a:lnTo>
                  <a:lnTo>
                    <a:pt x="1370905" y="1507862"/>
                  </a:lnTo>
                  <a:lnTo>
                    <a:pt x="1443620" y="1509286"/>
                  </a:lnTo>
                  <a:lnTo>
                    <a:pt x="1512894" y="1510392"/>
                  </a:lnTo>
                  <a:lnTo>
                    <a:pt x="1578570" y="1511156"/>
                  </a:lnTo>
                  <a:lnTo>
                    <a:pt x="1640493" y="1511552"/>
                  </a:lnTo>
                  <a:lnTo>
                    <a:pt x="1698508" y="1511555"/>
                  </a:lnTo>
                  <a:lnTo>
                    <a:pt x="1752459" y="1511138"/>
                  </a:lnTo>
                  <a:lnTo>
                    <a:pt x="1802191" y="1510278"/>
                  </a:lnTo>
                  <a:lnTo>
                    <a:pt x="1847548" y="1508947"/>
                  </a:lnTo>
                  <a:lnTo>
                    <a:pt x="1888375" y="1507122"/>
                  </a:lnTo>
                  <a:lnTo>
                    <a:pt x="1955818" y="1501885"/>
                  </a:lnTo>
                  <a:lnTo>
                    <a:pt x="2003274" y="1494363"/>
                  </a:lnTo>
                  <a:lnTo>
                    <a:pt x="2054818" y="1305201"/>
                  </a:lnTo>
                  <a:lnTo>
                    <a:pt x="2087664" y="965499"/>
                  </a:lnTo>
                  <a:lnTo>
                    <a:pt x="2118131" y="633726"/>
                  </a:lnTo>
                  <a:lnTo>
                    <a:pt x="2131548" y="484362"/>
                  </a:lnTo>
                  <a:close/>
                </a:path>
              </a:pathLst>
            </a:custGeom>
            <a:ln w="25400">
              <a:solidFill>
                <a:srgbClr val="231F20"/>
              </a:solidFill>
            </a:ln>
          </p:spPr>
          <p:txBody>
            <a:bodyPr wrap="square" lIns="0" tIns="0" rIns="0" bIns="0" rtlCol="0"/>
            <a:lstStyle/>
            <a:p>
              <a:endParaRPr sz="649"/>
            </a:p>
          </p:txBody>
        </p:sp>
        <p:sp>
          <p:nvSpPr>
            <p:cNvPr id="10" name="object 10"/>
            <p:cNvSpPr/>
            <p:nvPr/>
          </p:nvSpPr>
          <p:spPr>
            <a:xfrm>
              <a:off x="733990" y="3527986"/>
              <a:ext cx="1183005" cy="778510"/>
            </a:xfrm>
            <a:custGeom>
              <a:avLst/>
              <a:gdLst/>
              <a:ahLst/>
              <a:cxnLst/>
              <a:rect l="l" t="t" r="r" b="b"/>
              <a:pathLst>
                <a:path w="1183005" h="778510">
                  <a:moveTo>
                    <a:pt x="57312" y="0"/>
                  </a:moveTo>
                  <a:lnTo>
                    <a:pt x="38833" y="74283"/>
                  </a:lnTo>
                  <a:lnTo>
                    <a:pt x="30280" y="123195"/>
                  </a:lnTo>
                  <a:lnTo>
                    <a:pt x="22426" y="177552"/>
                  </a:lnTo>
                  <a:lnTo>
                    <a:pt x="15453" y="235551"/>
                  </a:lnTo>
                  <a:lnTo>
                    <a:pt x="9543" y="295390"/>
                  </a:lnTo>
                  <a:lnTo>
                    <a:pt x="4876" y="355268"/>
                  </a:lnTo>
                  <a:lnTo>
                    <a:pt x="1634" y="413383"/>
                  </a:lnTo>
                  <a:lnTo>
                    <a:pt x="0" y="467931"/>
                  </a:lnTo>
                  <a:lnTo>
                    <a:pt x="153" y="517112"/>
                  </a:lnTo>
                  <a:lnTo>
                    <a:pt x="2276" y="559123"/>
                  </a:lnTo>
                  <a:lnTo>
                    <a:pt x="18328" y="629082"/>
                  </a:lnTo>
                  <a:lnTo>
                    <a:pt x="64707" y="689101"/>
                  </a:lnTo>
                  <a:lnTo>
                    <a:pt x="97875" y="712662"/>
                  </a:lnTo>
                  <a:lnTo>
                    <a:pt x="136741" y="732231"/>
                  </a:lnTo>
                  <a:lnTo>
                    <a:pt x="180588" y="748038"/>
                  </a:lnTo>
                  <a:lnTo>
                    <a:pt x="228700" y="760315"/>
                  </a:lnTo>
                  <a:lnTo>
                    <a:pt x="280360" y="769292"/>
                  </a:lnTo>
                  <a:lnTo>
                    <a:pt x="334853" y="775200"/>
                  </a:lnTo>
                  <a:lnTo>
                    <a:pt x="391462" y="778268"/>
                  </a:lnTo>
                  <a:lnTo>
                    <a:pt x="752378" y="775493"/>
                  </a:lnTo>
                  <a:lnTo>
                    <a:pt x="997899" y="752894"/>
                  </a:lnTo>
                  <a:lnTo>
                    <a:pt x="1137941" y="727123"/>
                  </a:lnTo>
                  <a:lnTo>
                    <a:pt x="1182418" y="714832"/>
                  </a:lnTo>
                </a:path>
              </a:pathLst>
            </a:custGeom>
            <a:ln w="25400">
              <a:solidFill>
                <a:srgbClr val="231F20"/>
              </a:solidFill>
            </a:ln>
          </p:spPr>
          <p:txBody>
            <a:bodyPr wrap="square" lIns="0" tIns="0" rIns="0" bIns="0" rtlCol="0"/>
            <a:lstStyle/>
            <a:p>
              <a:endParaRPr sz="649"/>
            </a:p>
          </p:txBody>
        </p:sp>
        <p:sp>
          <p:nvSpPr>
            <p:cNvPr id="11" name="object 11"/>
            <p:cNvSpPr/>
            <p:nvPr/>
          </p:nvSpPr>
          <p:spPr>
            <a:xfrm>
              <a:off x="2529553" y="3498149"/>
              <a:ext cx="1270" cy="6350"/>
            </a:xfrm>
            <a:custGeom>
              <a:avLst/>
              <a:gdLst/>
              <a:ahLst/>
              <a:cxnLst/>
              <a:rect l="l" t="t" r="r" b="b"/>
              <a:pathLst>
                <a:path w="1269" h="6350">
                  <a:moveTo>
                    <a:pt x="0" y="6223"/>
                  </a:moveTo>
                  <a:lnTo>
                    <a:pt x="1257" y="0"/>
                  </a:lnTo>
                </a:path>
              </a:pathLst>
            </a:custGeom>
            <a:ln w="12700">
              <a:solidFill>
                <a:srgbClr val="231F20"/>
              </a:solidFill>
            </a:ln>
          </p:spPr>
          <p:txBody>
            <a:bodyPr wrap="square" lIns="0" tIns="0" rIns="0" bIns="0" rtlCol="0"/>
            <a:lstStyle/>
            <a:p>
              <a:endParaRPr sz="649"/>
            </a:p>
          </p:txBody>
        </p:sp>
        <p:sp>
          <p:nvSpPr>
            <p:cNvPr id="12" name="object 12"/>
            <p:cNvSpPr/>
            <p:nvPr/>
          </p:nvSpPr>
          <p:spPr>
            <a:xfrm>
              <a:off x="2535767" y="3154427"/>
              <a:ext cx="173355" cy="362585"/>
            </a:xfrm>
            <a:custGeom>
              <a:avLst/>
              <a:gdLst/>
              <a:ahLst/>
              <a:cxnLst/>
              <a:rect l="l" t="t" r="r" b="b"/>
              <a:pathLst>
                <a:path w="173355" h="362585">
                  <a:moveTo>
                    <a:pt x="0" y="318903"/>
                  </a:moveTo>
                  <a:lnTo>
                    <a:pt x="10591" y="265944"/>
                  </a:lnTo>
                  <a:lnTo>
                    <a:pt x="48305" y="172530"/>
                  </a:lnTo>
                  <a:lnTo>
                    <a:pt x="70794" y="117180"/>
                  </a:lnTo>
                  <a:lnTo>
                    <a:pt x="86985" y="78103"/>
                  </a:lnTo>
                  <a:lnTo>
                    <a:pt x="105803" y="33509"/>
                  </a:lnTo>
                  <a:lnTo>
                    <a:pt x="130083" y="0"/>
                  </a:lnTo>
                  <a:lnTo>
                    <a:pt x="153052" y="616"/>
                  </a:lnTo>
                  <a:lnTo>
                    <a:pt x="169199" y="23283"/>
                  </a:lnTo>
                  <a:lnTo>
                    <a:pt x="173012" y="55924"/>
                  </a:lnTo>
                  <a:lnTo>
                    <a:pt x="167343" y="87374"/>
                  </a:lnTo>
                  <a:lnTo>
                    <a:pt x="156511" y="138159"/>
                  </a:lnTo>
                  <a:lnTo>
                    <a:pt x="142667" y="199663"/>
                  </a:lnTo>
                  <a:lnTo>
                    <a:pt x="127964" y="263271"/>
                  </a:lnTo>
                  <a:lnTo>
                    <a:pt x="114557" y="320368"/>
                  </a:lnTo>
                  <a:lnTo>
                    <a:pt x="104597" y="362337"/>
                  </a:lnTo>
                </a:path>
              </a:pathLst>
            </a:custGeom>
            <a:ln w="12699">
              <a:solidFill>
                <a:srgbClr val="231F20"/>
              </a:solidFill>
              <a:prstDash val="sysDot"/>
            </a:ln>
          </p:spPr>
          <p:txBody>
            <a:bodyPr wrap="square" lIns="0" tIns="0" rIns="0" bIns="0" rtlCol="0"/>
            <a:lstStyle/>
            <a:p>
              <a:endParaRPr sz="649"/>
            </a:p>
          </p:txBody>
        </p:sp>
        <p:sp>
          <p:nvSpPr>
            <p:cNvPr id="13" name="object 13"/>
            <p:cNvSpPr/>
            <p:nvPr/>
          </p:nvSpPr>
          <p:spPr>
            <a:xfrm>
              <a:off x="2635967" y="3529054"/>
              <a:ext cx="1905" cy="6350"/>
            </a:xfrm>
            <a:custGeom>
              <a:avLst/>
              <a:gdLst/>
              <a:ahLst/>
              <a:cxnLst/>
              <a:rect l="l" t="t" r="r" b="b"/>
              <a:pathLst>
                <a:path w="1905" h="6350">
                  <a:moveTo>
                    <a:pt x="1460" y="0"/>
                  </a:moveTo>
                  <a:lnTo>
                    <a:pt x="520" y="3962"/>
                  </a:lnTo>
                  <a:lnTo>
                    <a:pt x="0" y="6121"/>
                  </a:lnTo>
                </a:path>
              </a:pathLst>
            </a:custGeom>
            <a:ln w="12700">
              <a:solidFill>
                <a:srgbClr val="231F20"/>
              </a:solidFill>
            </a:ln>
          </p:spPr>
          <p:txBody>
            <a:bodyPr wrap="square" lIns="0" tIns="0" rIns="0" bIns="0" rtlCol="0"/>
            <a:lstStyle/>
            <a:p>
              <a:endParaRPr sz="649"/>
            </a:p>
          </p:txBody>
        </p:sp>
        <p:sp>
          <p:nvSpPr>
            <p:cNvPr id="14" name="object 14"/>
            <p:cNvSpPr/>
            <p:nvPr/>
          </p:nvSpPr>
          <p:spPr>
            <a:xfrm>
              <a:off x="2469873" y="3506170"/>
              <a:ext cx="224790" cy="120650"/>
            </a:xfrm>
            <a:custGeom>
              <a:avLst/>
              <a:gdLst/>
              <a:ahLst/>
              <a:cxnLst/>
              <a:rect l="l" t="t" r="r" b="b"/>
              <a:pathLst>
                <a:path w="224789" h="120650">
                  <a:moveTo>
                    <a:pt x="22844" y="0"/>
                  </a:moveTo>
                  <a:lnTo>
                    <a:pt x="64044" y="269"/>
                  </a:lnTo>
                  <a:lnTo>
                    <a:pt x="120919" y="13541"/>
                  </a:lnTo>
                  <a:lnTo>
                    <a:pt x="174995" y="31303"/>
                  </a:lnTo>
                  <a:lnTo>
                    <a:pt x="220265" y="61821"/>
                  </a:lnTo>
                  <a:lnTo>
                    <a:pt x="224232" y="87171"/>
                  </a:lnTo>
                  <a:lnTo>
                    <a:pt x="217529" y="110299"/>
                  </a:lnTo>
                  <a:lnTo>
                    <a:pt x="197989" y="120408"/>
                  </a:lnTo>
                  <a:lnTo>
                    <a:pt x="157702" y="116779"/>
                  </a:lnTo>
                  <a:lnTo>
                    <a:pt x="101798" y="107018"/>
                  </a:lnTo>
                  <a:lnTo>
                    <a:pt x="47672" y="92810"/>
                  </a:lnTo>
                  <a:lnTo>
                    <a:pt x="12722" y="75844"/>
                  </a:lnTo>
                  <a:lnTo>
                    <a:pt x="0" y="31692"/>
                  </a:lnTo>
                  <a:lnTo>
                    <a:pt x="8593" y="11514"/>
                  </a:lnTo>
                  <a:lnTo>
                    <a:pt x="22844" y="0"/>
                  </a:lnTo>
                  <a:close/>
                </a:path>
              </a:pathLst>
            </a:custGeom>
            <a:ln w="12700">
              <a:solidFill>
                <a:srgbClr val="231F20"/>
              </a:solidFill>
              <a:prstDash val="dot"/>
            </a:ln>
          </p:spPr>
          <p:txBody>
            <a:bodyPr wrap="square" lIns="0" tIns="0" rIns="0" bIns="0" rtlCol="0"/>
            <a:lstStyle/>
            <a:p>
              <a:endParaRPr sz="649"/>
            </a:p>
          </p:txBody>
        </p:sp>
        <p:sp>
          <p:nvSpPr>
            <p:cNvPr id="15" name="object 15"/>
            <p:cNvSpPr/>
            <p:nvPr/>
          </p:nvSpPr>
          <p:spPr>
            <a:xfrm>
              <a:off x="1006327" y="2863059"/>
              <a:ext cx="1905635" cy="360045"/>
            </a:xfrm>
            <a:custGeom>
              <a:avLst/>
              <a:gdLst/>
              <a:ahLst/>
              <a:cxnLst/>
              <a:rect l="l" t="t" r="r" b="b"/>
              <a:pathLst>
                <a:path w="1905635" h="360044">
                  <a:moveTo>
                    <a:pt x="0" y="0"/>
                  </a:moveTo>
                  <a:lnTo>
                    <a:pt x="24631" y="62203"/>
                  </a:lnTo>
                  <a:lnTo>
                    <a:pt x="63840" y="88584"/>
                  </a:lnTo>
                  <a:lnTo>
                    <a:pt x="117538" y="102565"/>
                  </a:lnTo>
                  <a:lnTo>
                    <a:pt x="127736" y="103729"/>
                  </a:lnTo>
                  <a:lnTo>
                    <a:pt x="144710" y="105954"/>
                  </a:lnTo>
                  <a:lnTo>
                    <a:pt x="168060" y="109156"/>
                  </a:lnTo>
                  <a:lnTo>
                    <a:pt x="197387" y="113251"/>
                  </a:lnTo>
                  <a:lnTo>
                    <a:pt x="232290" y="118154"/>
                  </a:lnTo>
                  <a:lnTo>
                    <a:pt x="272370" y="123781"/>
                  </a:lnTo>
                  <a:lnTo>
                    <a:pt x="317227" y="130047"/>
                  </a:lnTo>
                  <a:lnTo>
                    <a:pt x="366460" y="136868"/>
                  </a:lnTo>
                  <a:lnTo>
                    <a:pt x="419669" y="144160"/>
                  </a:lnTo>
                  <a:lnTo>
                    <a:pt x="476456" y="151839"/>
                  </a:lnTo>
                  <a:lnTo>
                    <a:pt x="536418" y="159819"/>
                  </a:lnTo>
                  <a:lnTo>
                    <a:pt x="599158" y="168018"/>
                  </a:lnTo>
                  <a:lnTo>
                    <a:pt x="664274" y="176349"/>
                  </a:lnTo>
                  <a:lnTo>
                    <a:pt x="731366" y="184730"/>
                  </a:lnTo>
                  <a:lnTo>
                    <a:pt x="800036" y="193075"/>
                  </a:lnTo>
                  <a:lnTo>
                    <a:pt x="869882" y="201301"/>
                  </a:lnTo>
                  <a:lnTo>
                    <a:pt x="940504" y="209322"/>
                  </a:lnTo>
                  <a:lnTo>
                    <a:pt x="1011504" y="217055"/>
                  </a:lnTo>
                  <a:lnTo>
                    <a:pt x="1086645" y="224850"/>
                  </a:lnTo>
                  <a:lnTo>
                    <a:pt x="1161267" y="232226"/>
                  </a:lnTo>
                  <a:lnTo>
                    <a:pt x="1234878" y="239184"/>
                  </a:lnTo>
                  <a:lnTo>
                    <a:pt x="1306986" y="245724"/>
                  </a:lnTo>
                  <a:lnTo>
                    <a:pt x="1377098" y="251846"/>
                  </a:lnTo>
                  <a:lnTo>
                    <a:pt x="1444722" y="257548"/>
                  </a:lnTo>
                  <a:lnTo>
                    <a:pt x="1509366" y="262831"/>
                  </a:lnTo>
                  <a:lnTo>
                    <a:pt x="1570537" y="267695"/>
                  </a:lnTo>
                  <a:lnTo>
                    <a:pt x="1627743" y="272139"/>
                  </a:lnTo>
                  <a:lnTo>
                    <a:pt x="1680491" y="276164"/>
                  </a:lnTo>
                  <a:lnTo>
                    <a:pt x="1728289" y="279768"/>
                  </a:lnTo>
                  <a:lnTo>
                    <a:pt x="1770645" y="282952"/>
                  </a:lnTo>
                  <a:lnTo>
                    <a:pt x="1807067" y="285715"/>
                  </a:lnTo>
                  <a:lnTo>
                    <a:pt x="1860138" y="289979"/>
                  </a:lnTo>
                  <a:lnTo>
                    <a:pt x="1900274" y="302123"/>
                  </a:lnTo>
                  <a:lnTo>
                    <a:pt x="1905347" y="317890"/>
                  </a:lnTo>
                  <a:lnTo>
                    <a:pt x="1903798" y="337777"/>
                  </a:lnTo>
                  <a:lnTo>
                    <a:pt x="1900643" y="359702"/>
                  </a:lnTo>
                </a:path>
              </a:pathLst>
            </a:custGeom>
            <a:ln w="7619">
              <a:solidFill>
                <a:srgbClr val="231F20"/>
              </a:solidFill>
            </a:ln>
          </p:spPr>
          <p:txBody>
            <a:bodyPr wrap="square" lIns="0" tIns="0" rIns="0" bIns="0" rtlCol="0"/>
            <a:lstStyle/>
            <a:p>
              <a:endParaRPr sz="649"/>
            </a:p>
          </p:txBody>
        </p:sp>
        <p:sp>
          <p:nvSpPr>
            <p:cNvPr id="16" name="object 16"/>
            <p:cNvSpPr/>
            <p:nvPr/>
          </p:nvSpPr>
          <p:spPr>
            <a:xfrm>
              <a:off x="2422199" y="3562415"/>
              <a:ext cx="44450" cy="158750"/>
            </a:xfrm>
            <a:custGeom>
              <a:avLst/>
              <a:gdLst/>
              <a:ahLst/>
              <a:cxnLst/>
              <a:rect l="l" t="t" r="r" b="b"/>
              <a:pathLst>
                <a:path w="44450" h="158750">
                  <a:moveTo>
                    <a:pt x="43853" y="0"/>
                  </a:moveTo>
                  <a:lnTo>
                    <a:pt x="32506" y="3428"/>
                  </a:lnTo>
                  <a:lnTo>
                    <a:pt x="26187" y="9139"/>
                  </a:lnTo>
                  <a:lnTo>
                    <a:pt x="22611" y="21243"/>
                  </a:lnTo>
                  <a:lnTo>
                    <a:pt x="19494" y="43853"/>
                  </a:lnTo>
                  <a:lnTo>
                    <a:pt x="14391" y="78180"/>
                  </a:lnTo>
                  <a:lnTo>
                    <a:pt x="7918" y="115709"/>
                  </a:lnTo>
                  <a:lnTo>
                    <a:pt x="2360" y="145933"/>
                  </a:lnTo>
                  <a:lnTo>
                    <a:pt x="0" y="158343"/>
                  </a:lnTo>
                </a:path>
              </a:pathLst>
            </a:custGeom>
            <a:ln w="12700">
              <a:solidFill>
                <a:srgbClr val="231F20"/>
              </a:solidFill>
              <a:prstDash val="dot"/>
            </a:ln>
          </p:spPr>
          <p:txBody>
            <a:bodyPr wrap="square" lIns="0" tIns="0" rIns="0" bIns="0" rtlCol="0"/>
            <a:lstStyle/>
            <a:p>
              <a:endParaRPr sz="649"/>
            </a:p>
          </p:txBody>
        </p:sp>
        <p:sp>
          <p:nvSpPr>
            <p:cNvPr id="17" name="object 17"/>
            <p:cNvSpPr/>
            <p:nvPr/>
          </p:nvSpPr>
          <p:spPr>
            <a:xfrm>
              <a:off x="816937" y="3371572"/>
              <a:ext cx="1716405" cy="505459"/>
            </a:xfrm>
            <a:custGeom>
              <a:avLst/>
              <a:gdLst/>
              <a:ahLst/>
              <a:cxnLst/>
              <a:rect l="l" t="t" r="r" b="b"/>
              <a:pathLst>
                <a:path w="1716405" h="505460">
                  <a:moveTo>
                    <a:pt x="0" y="120198"/>
                  </a:moveTo>
                  <a:lnTo>
                    <a:pt x="28282" y="93976"/>
                  </a:lnTo>
                  <a:lnTo>
                    <a:pt x="67294" y="67525"/>
                  </a:lnTo>
                  <a:lnTo>
                    <a:pt x="119550" y="42446"/>
                  </a:lnTo>
                  <a:lnTo>
                    <a:pt x="187566" y="20338"/>
                  </a:lnTo>
                  <a:lnTo>
                    <a:pt x="257354" y="8359"/>
                  </a:lnTo>
                  <a:lnTo>
                    <a:pt x="301070" y="4336"/>
                  </a:lnTo>
                  <a:lnTo>
                    <a:pt x="349190" y="1609"/>
                  </a:lnTo>
                  <a:lnTo>
                    <a:pt x="400603" y="167"/>
                  </a:lnTo>
                  <a:lnTo>
                    <a:pt x="454202" y="0"/>
                  </a:lnTo>
                  <a:lnTo>
                    <a:pt x="508877" y="1095"/>
                  </a:lnTo>
                  <a:lnTo>
                    <a:pt x="563518" y="3443"/>
                  </a:lnTo>
                  <a:lnTo>
                    <a:pt x="617017" y="7031"/>
                  </a:lnTo>
                  <a:lnTo>
                    <a:pt x="668265" y="11850"/>
                  </a:lnTo>
                  <a:lnTo>
                    <a:pt x="716153" y="17887"/>
                  </a:lnTo>
                  <a:lnTo>
                    <a:pt x="794075" y="31856"/>
                  </a:lnTo>
                  <a:lnTo>
                    <a:pt x="842460" y="41995"/>
                  </a:lnTo>
                  <a:lnTo>
                    <a:pt x="895576" y="53819"/>
                  </a:lnTo>
                  <a:lnTo>
                    <a:pt x="952260" y="67012"/>
                  </a:lnTo>
                  <a:lnTo>
                    <a:pt x="1011349" y="81262"/>
                  </a:lnTo>
                  <a:lnTo>
                    <a:pt x="1071680" y="96255"/>
                  </a:lnTo>
                  <a:lnTo>
                    <a:pt x="1132089" y="111675"/>
                  </a:lnTo>
                  <a:lnTo>
                    <a:pt x="1191413" y="127210"/>
                  </a:lnTo>
                  <a:lnTo>
                    <a:pt x="1248489" y="142545"/>
                  </a:lnTo>
                  <a:lnTo>
                    <a:pt x="1302154" y="157365"/>
                  </a:lnTo>
                  <a:lnTo>
                    <a:pt x="1351244" y="171358"/>
                  </a:lnTo>
                  <a:lnTo>
                    <a:pt x="1394597" y="184209"/>
                  </a:lnTo>
                  <a:lnTo>
                    <a:pt x="1431049" y="195604"/>
                  </a:lnTo>
                  <a:lnTo>
                    <a:pt x="1478597" y="212769"/>
                  </a:lnTo>
                  <a:lnTo>
                    <a:pt x="1527886" y="241699"/>
                  </a:lnTo>
                  <a:lnTo>
                    <a:pt x="1564158" y="276107"/>
                  </a:lnTo>
                  <a:lnTo>
                    <a:pt x="1589927" y="314167"/>
                  </a:lnTo>
                  <a:lnTo>
                    <a:pt x="1607705" y="354056"/>
                  </a:lnTo>
                  <a:lnTo>
                    <a:pt x="1626201" y="400264"/>
                  </a:lnTo>
                  <a:lnTo>
                    <a:pt x="1647898" y="449668"/>
                  </a:lnTo>
                  <a:lnTo>
                    <a:pt x="1665941" y="489023"/>
                  </a:lnTo>
                  <a:lnTo>
                    <a:pt x="1673479" y="505085"/>
                  </a:lnTo>
                  <a:lnTo>
                    <a:pt x="1700112" y="365200"/>
                  </a:lnTo>
                  <a:lnTo>
                    <a:pt x="1713049" y="290407"/>
                  </a:lnTo>
                  <a:lnTo>
                    <a:pt x="1715941" y="255357"/>
                  </a:lnTo>
                  <a:lnTo>
                    <a:pt x="1712442" y="234702"/>
                  </a:lnTo>
                </a:path>
              </a:pathLst>
            </a:custGeom>
            <a:ln w="12700">
              <a:solidFill>
                <a:srgbClr val="231F20"/>
              </a:solidFill>
              <a:prstDash val="dot"/>
            </a:ln>
          </p:spPr>
          <p:txBody>
            <a:bodyPr wrap="square" lIns="0" tIns="0" rIns="0" bIns="0" rtlCol="0"/>
            <a:lstStyle/>
            <a:p>
              <a:endParaRPr sz="649"/>
            </a:p>
          </p:txBody>
        </p:sp>
        <p:sp>
          <p:nvSpPr>
            <p:cNvPr id="18" name="object 18"/>
            <p:cNvSpPr/>
            <p:nvPr/>
          </p:nvSpPr>
          <p:spPr>
            <a:xfrm>
              <a:off x="1616152" y="4242883"/>
              <a:ext cx="1077595" cy="117475"/>
            </a:xfrm>
            <a:custGeom>
              <a:avLst/>
              <a:gdLst/>
              <a:ahLst/>
              <a:cxnLst/>
              <a:rect l="l" t="t" r="r" b="b"/>
              <a:pathLst>
                <a:path w="1077595" h="117475">
                  <a:moveTo>
                    <a:pt x="1077518" y="0"/>
                  </a:moveTo>
                  <a:lnTo>
                    <a:pt x="1066154" y="45842"/>
                  </a:lnTo>
                  <a:lnTo>
                    <a:pt x="1056228" y="82357"/>
                  </a:lnTo>
                  <a:lnTo>
                    <a:pt x="1048277" y="106965"/>
                  </a:lnTo>
                  <a:lnTo>
                    <a:pt x="1042835" y="117081"/>
                  </a:lnTo>
                  <a:lnTo>
                    <a:pt x="872632" y="111635"/>
                  </a:lnTo>
                  <a:lnTo>
                    <a:pt x="514964" y="91273"/>
                  </a:lnTo>
                  <a:lnTo>
                    <a:pt x="160523" y="69298"/>
                  </a:lnTo>
                  <a:lnTo>
                    <a:pt x="0" y="59016"/>
                  </a:lnTo>
                </a:path>
              </a:pathLst>
            </a:custGeom>
            <a:ln w="25400">
              <a:solidFill>
                <a:srgbClr val="231F20"/>
              </a:solidFill>
            </a:ln>
          </p:spPr>
          <p:txBody>
            <a:bodyPr wrap="square" lIns="0" tIns="0" rIns="0" bIns="0" rtlCol="0"/>
            <a:lstStyle/>
            <a:p>
              <a:endParaRPr sz="649"/>
            </a:p>
          </p:txBody>
        </p:sp>
        <p:sp>
          <p:nvSpPr>
            <p:cNvPr id="19" name="object 19"/>
            <p:cNvSpPr/>
            <p:nvPr/>
          </p:nvSpPr>
          <p:spPr>
            <a:xfrm>
              <a:off x="2652533" y="3626748"/>
              <a:ext cx="120650" cy="616585"/>
            </a:xfrm>
            <a:custGeom>
              <a:avLst/>
              <a:gdLst/>
              <a:ahLst/>
              <a:cxnLst/>
              <a:rect l="l" t="t" r="r" b="b"/>
              <a:pathLst>
                <a:path w="120650" h="616585">
                  <a:moveTo>
                    <a:pt x="0" y="0"/>
                  </a:moveTo>
                  <a:lnTo>
                    <a:pt x="67196" y="102469"/>
                  </a:lnTo>
                  <a:lnTo>
                    <a:pt x="102138" y="158575"/>
                  </a:lnTo>
                  <a:lnTo>
                    <a:pt x="116112" y="188073"/>
                  </a:lnTo>
                  <a:lnTo>
                    <a:pt x="120408" y="210718"/>
                  </a:lnTo>
                  <a:lnTo>
                    <a:pt x="119298" y="228926"/>
                  </a:lnTo>
                  <a:lnTo>
                    <a:pt x="105907" y="310734"/>
                  </a:lnTo>
                  <a:lnTo>
                    <a:pt x="95078" y="367309"/>
                  </a:lnTo>
                  <a:lnTo>
                    <a:pt x="82461" y="429649"/>
                  </a:lnTo>
                  <a:lnTo>
                    <a:pt x="68780" y="494243"/>
                  </a:lnTo>
                  <a:lnTo>
                    <a:pt x="54763" y="557577"/>
                  </a:lnTo>
                  <a:lnTo>
                    <a:pt x="41135" y="616140"/>
                  </a:lnTo>
                </a:path>
              </a:pathLst>
            </a:custGeom>
            <a:ln w="12700">
              <a:solidFill>
                <a:srgbClr val="231F20"/>
              </a:solidFill>
              <a:prstDash val="dot"/>
            </a:ln>
          </p:spPr>
          <p:txBody>
            <a:bodyPr wrap="square" lIns="0" tIns="0" rIns="0" bIns="0" rtlCol="0"/>
            <a:lstStyle/>
            <a:p>
              <a:endParaRPr sz="649"/>
            </a:p>
          </p:txBody>
        </p:sp>
        <p:sp>
          <p:nvSpPr>
            <p:cNvPr id="20" name="object 20"/>
            <p:cNvSpPr/>
            <p:nvPr/>
          </p:nvSpPr>
          <p:spPr>
            <a:xfrm>
              <a:off x="2604374" y="622053"/>
              <a:ext cx="898525" cy="2370455"/>
            </a:xfrm>
            <a:custGeom>
              <a:avLst/>
              <a:gdLst/>
              <a:ahLst/>
              <a:cxnLst/>
              <a:rect l="l" t="t" r="r" b="b"/>
              <a:pathLst>
                <a:path w="898525" h="2370455">
                  <a:moveTo>
                    <a:pt x="457586" y="134518"/>
                  </a:moveTo>
                  <a:lnTo>
                    <a:pt x="489755" y="101548"/>
                  </a:lnTo>
                  <a:lnTo>
                    <a:pt x="533911" y="70196"/>
                  </a:lnTo>
                  <a:lnTo>
                    <a:pt x="584169" y="42413"/>
                  </a:lnTo>
                  <a:lnTo>
                    <a:pt x="634644" y="20151"/>
                  </a:lnTo>
                  <a:lnTo>
                    <a:pt x="679451" y="5363"/>
                  </a:lnTo>
                  <a:lnTo>
                    <a:pt x="712704" y="0"/>
                  </a:lnTo>
                  <a:lnTo>
                    <a:pt x="763209" y="7538"/>
                  </a:lnTo>
                  <a:lnTo>
                    <a:pt x="824591" y="25514"/>
                  </a:lnTo>
                  <a:lnTo>
                    <a:pt x="876410" y="46966"/>
                  </a:lnTo>
                  <a:lnTo>
                    <a:pt x="898226" y="64935"/>
                  </a:lnTo>
                  <a:lnTo>
                    <a:pt x="897737" y="76813"/>
                  </a:lnTo>
                  <a:lnTo>
                    <a:pt x="893732" y="138643"/>
                  </a:lnTo>
                  <a:lnTo>
                    <a:pt x="890152" y="185019"/>
                  </a:lnTo>
                  <a:lnTo>
                    <a:pt x="885476" y="239320"/>
                  </a:lnTo>
                  <a:lnTo>
                    <a:pt x="879672" y="299756"/>
                  </a:lnTo>
                  <a:lnTo>
                    <a:pt x="872709" y="364541"/>
                  </a:lnTo>
                  <a:lnTo>
                    <a:pt x="864555" y="431887"/>
                  </a:lnTo>
                  <a:lnTo>
                    <a:pt x="855176" y="500005"/>
                  </a:lnTo>
                  <a:lnTo>
                    <a:pt x="844540" y="567109"/>
                  </a:lnTo>
                  <a:lnTo>
                    <a:pt x="832616" y="631410"/>
                  </a:lnTo>
                  <a:lnTo>
                    <a:pt x="819371" y="691121"/>
                  </a:lnTo>
                  <a:lnTo>
                    <a:pt x="810513" y="729129"/>
                  </a:lnTo>
                  <a:lnTo>
                    <a:pt x="801545" y="771081"/>
                  </a:lnTo>
                  <a:lnTo>
                    <a:pt x="792512" y="816527"/>
                  </a:lnTo>
                  <a:lnTo>
                    <a:pt x="783460" y="865016"/>
                  </a:lnTo>
                  <a:lnTo>
                    <a:pt x="774432" y="916097"/>
                  </a:lnTo>
                  <a:lnTo>
                    <a:pt x="765473" y="969321"/>
                  </a:lnTo>
                  <a:lnTo>
                    <a:pt x="756628" y="1024236"/>
                  </a:lnTo>
                  <a:lnTo>
                    <a:pt x="747941" y="1080394"/>
                  </a:lnTo>
                  <a:lnTo>
                    <a:pt x="739457" y="1137342"/>
                  </a:lnTo>
                  <a:lnTo>
                    <a:pt x="731221" y="1194631"/>
                  </a:lnTo>
                  <a:lnTo>
                    <a:pt x="723277" y="1251811"/>
                  </a:lnTo>
                  <a:lnTo>
                    <a:pt x="715669" y="1308430"/>
                  </a:lnTo>
                  <a:lnTo>
                    <a:pt x="708443" y="1364039"/>
                  </a:lnTo>
                  <a:lnTo>
                    <a:pt x="701643" y="1418188"/>
                  </a:lnTo>
                  <a:lnTo>
                    <a:pt x="695314" y="1470425"/>
                  </a:lnTo>
                  <a:lnTo>
                    <a:pt x="689500" y="1520300"/>
                  </a:lnTo>
                  <a:lnTo>
                    <a:pt x="684246" y="1567364"/>
                  </a:lnTo>
                  <a:lnTo>
                    <a:pt x="679596" y="1611165"/>
                  </a:lnTo>
                  <a:lnTo>
                    <a:pt x="675595" y="1651253"/>
                  </a:lnTo>
                  <a:lnTo>
                    <a:pt x="670901" y="1702436"/>
                  </a:lnTo>
                  <a:lnTo>
                    <a:pt x="666100" y="1758656"/>
                  </a:lnTo>
                  <a:lnTo>
                    <a:pt x="661198" y="1818644"/>
                  </a:lnTo>
                  <a:lnTo>
                    <a:pt x="656201" y="1881131"/>
                  </a:lnTo>
                  <a:lnTo>
                    <a:pt x="651115" y="1944846"/>
                  </a:lnTo>
                  <a:lnTo>
                    <a:pt x="645947" y="2008521"/>
                  </a:lnTo>
                  <a:lnTo>
                    <a:pt x="640702" y="2070883"/>
                  </a:lnTo>
                  <a:lnTo>
                    <a:pt x="635388" y="2130665"/>
                  </a:lnTo>
                  <a:lnTo>
                    <a:pt x="630009" y="2186596"/>
                  </a:lnTo>
                  <a:lnTo>
                    <a:pt x="624573" y="2237406"/>
                  </a:lnTo>
                  <a:lnTo>
                    <a:pt x="619085" y="2281826"/>
                  </a:lnTo>
                  <a:lnTo>
                    <a:pt x="607978" y="2346414"/>
                  </a:lnTo>
                  <a:lnTo>
                    <a:pt x="596740" y="2370201"/>
                  </a:lnTo>
                  <a:lnTo>
                    <a:pt x="568561" y="2364539"/>
                  </a:lnTo>
                  <a:lnTo>
                    <a:pt x="505861" y="2350434"/>
                  </a:lnTo>
                  <a:lnTo>
                    <a:pt x="430811" y="2332202"/>
                  </a:lnTo>
                  <a:lnTo>
                    <a:pt x="365584" y="2314161"/>
                  </a:lnTo>
                  <a:lnTo>
                    <a:pt x="332352" y="2300630"/>
                  </a:lnTo>
                  <a:lnTo>
                    <a:pt x="333792" y="2290290"/>
                  </a:lnTo>
                  <a:lnTo>
                    <a:pt x="338581" y="2271201"/>
                  </a:lnTo>
                  <a:lnTo>
                    <a:pt x="335616" y="2249431"/>
                  </a:lnTo>
                  <a:lnTo>
                    <a:pt x="313797" y="2231047"/>
                  </a:lnTo>
                  <a:lnTo>
                    <a:pt x="276300" y="2219074"/>
                  </a:lnTo>
                  <a:lnTo>
                    <a:pt x="233555" y="2208502"/>
                  </a:lnTo>
                  <a:lnTo>
                    <a:pt x="186894" y="2194008"/>
                  </a:lnTo>
                  <a:lnTo>
                    <a:pt x="137653" y="2170269"/>
                  </a:lnTo>
                  <a:lnTo>
                    <a:pt x="87165" y="2131961"/>
                  </a:lnTo>
                  <a:lnTo>
                    <a:pt x="44089" y="2072621"/>
                  </a:lnTo>
                  <a:lnTo>
                    <a:pt x="27851" y="2034772"/>
                  </a:lnTo>
                  <a:lnTo>
                    <a:pt x="15248" y="1992606"/>
                  </a:lnTo>
                  <a:lnTo>
                    <a:pt x="6354" y="1946977"/>
                  </a:lnTo>
                  <a:lnTo>
                    <a:pt x="1246" y="1898738"/>
                  </a:lnTo>
                  <a:lnTo>
                    <a:pt x="0" y="1848740"/>
                  </a:lnTo>
                  <a:lnTo>
                    <a:pt x="2689" y="1797837"/>
                  </a:lnTo>
                  <a:lnTo>
                    <a:pt x="9391" y="1746881"/>
                  </a:lnTo>
                  <a:lnTo>
                    <a:pt x="20181" y="1696725"/>
                  </a:lnTo>
                  <a:lnTo>
                    <a:pt x="35134" y="1648222"/>
                  </a:lnTo>
                  <a:lnTo>
                    <a:pt x="54325" y="1602224"/>
                  </a:lnTo>
                  <a:lnTo>
                    <a:pt x="77831" y="1559585"/>
                  </a:lnTo>
                  <a:lnTo>
                    <a:pt x="102677" y="1520243"/>
                  </a:lnTo>
                  <a:lnTo>
                    <a:pt x="125955" y="1483016"/>
                  </a:lnTo>
                  <a:lnTo>
                    <a:pt x="147836" y="1447085"/>
                  </a:lnTo>
                  <a:lnTo>
                    <a:pt x="168493" y="1411630"/>
                  </a:lnTo>
                  <a:lnTo>
                    <a:pt x="188097" y="1375832"/>
                  </a:lnTo>
                  <a:lnTo>
                    <a:pt x="206821" y="1338870"/>
                  </a:lnTo>
                  <a:lnTo>
                    <a:pt x="224837" y="1299924"/>
                  </a:lnTo>
                  <a:lnTo>
                    <a:pt x="242317" y="1258176"/>
                  </a:lnTo>
                  <a:lnTo>
                    <a:pt x="259434" y="1212805"/>
                  </a:lnTo>
                  <a:lnTo>
                    <a:pt x="276358" y="1162992"/>
                  </a:lnTo>
                  <a:lnTo>
                    <a:pt x="293263" y="1107916"/>
                  </a:lnTo>
                  <a:lnTo>
                    <a:pt x="310321" y="1046759"/>
                  </a:lnTo>
                  <a:lnTo>
                    <a:pt x="327703" y="978700"/>
                  </a:lnTo>
                  <a:lnTo>
                    <a:pt x="344384" y="905796"/>
                  </a:lnTo>
                  <a:lnTo>
                    <a:pt x="358122" y="836028"/>
                  </a:lnTo>
                  <a:lnTo>
                    <a:pt x="369261" y="769382"/>
                  </a:lnTo>
                  <a:lnTo>
                    <a:pt x="378142" y="705844"/>
                  </a:lnTo>
                  <a:lnTo>
                    <a:pt x="385109" y="645399"/>
                  </a:lnTo>
                  <a:lnTo>
                    <a:pt x="390505" y="588032"/>
                  </a:lnTo>
                  <a:lnTo>
                    <a:pt x="394673" y="533730"/>
                  </a:lnTo>
                  <a:lnTo>
                    <a:pt x="397957" y="482477"/>
                  </a:lnTo>
                  <a:lnTo>
                    <a:pt x="400698" y="434260"/>
                  </a:lnTo>
                  <a:lnTo>
                    <a:pt x="403241" y="389064"/>
                  </a:lnTo>
                  <a:lnTo>
                    <a:pt x="405928" y="346874"/>
                  </a:lnTo>
                  <a:lnTo>
                    <a:pt x="409102" y="307677"/>
                  </a:lnTo>
                  <a:lnTo>
                    <a:pt x="418284" y="238200"/>
                  </a:lnTo>
                  <a:lnTo>
                    <a:pt x="433531" y="180519"/>
                  </a:lnTo>
                  <a:lnTo>
                    <a:pt x="444286" y="156066"/>
                  </a:lnTo>
                  <a:lnTo>
                    <a:pt x="457586" y="134518"/>
                  </a:lnTo>
                  <a:close/>
                </a:path>
              </a:pathLst>
            </a:custGeom>
            <a:ln w="25400">
              <a:solidFill>
                <a:srgbClr val="231F20"/>
              </a:solidFill>
            </a:ln>
          </p:spPr>
          <p:txBody>
            <a:bodyPr wrap="square" lIns="0" tIns="0" rIns="0" bIns="0" rtlCol="0"/>
            <a:lstStyle/>
            <a:p>
              <a:endParaRPr sz="649"/>
            </a:p>
          </p:txBody>
        </p:sp>
        <p:sp>
          <p:nvSpPr>
            <p:cNvPr id="21" name="object 21"/>
            <p:cNvSpPr/>
            <p:nvPr/>
          </p:nvSpPr>
          <p:spPr>
            <a:xfrm>
              <a:off x="2691537" y="2168349"/>
              <a:ext cx="357505" cy="716280"/>
            </a:xfrm>
            <a:custGeom>
              <a:avLst/>
              <a:gdLst/>
              <a:ahLst/>
              <a:cxnLst/>
              <a:rect l="l" t="t" r="r" b="b"/>
              <a:pathLst>
                <a:path w="357505" h="716280">
                  <a:moveTo>
                    <a:pt x="254635" y="716165"/>
                  </a:moveTo>
                  <a:lnTo>
                    <a:pt x="266470" y="668485"/>
                  </a:lnTo>
                  <a:lnTo>
                    <a:pt x="284967" y="593764"/>
                  </a:lnTo>
                  <a:lnTo>
                    <a:pt x="302014" y="524847"/>
                  </a:lnTo>
                  <a:lnTo>
                    <a:pt x="309499" y="494576"/>
                  </a:lnTo>
                  <a:lnTo>
                    <a:pt x="281838" y="376377"/>
                  </a:lnTo>
                  <a:lnTo>
                    <a:pt x="357289" y="36842"/>
                  </a:lnTo>
                  <a:lnTo>
                    <a:pt x="242201" y="0"/>
                  </a:lnTo>
                  <a:lnTo>
                    <a:pt x="0" y="585673"/>
                  </a:lnTo>
                </a:path>
              </a:pathLst>
            </a:custGeom>
            <a:ln w="25400">
              <a:solidFill>
                <a:srgbClr val="231F20"/>
              </a:solidFill>
            </a:ln>
          </p:spPr>
          <p:txBody>
            <a:bodyPr wrap="square" lIns="0" tIns="0" rIns="0" bIns="0" rtlCol="0"/>
            <a:lstStyle/>
            <a:p>
              <a:endParaRPr sz="649"/>
            </a:p>
          </p:txBody>
        </p:sp>
        <p:sp>
          <p:nvSpPr>
            <p:cNvPr id="22" name="object 22"/>
            <p:cNvSpPr/>
            <p:nvPr/>
          </p:nvSpPr>
          <p:spPr>
            <a:xfrm>
              <a:off x="2806487" y="2221707"/>
              <a:ext cx="212090" cy="377190"/>
            </a:xfrm>
            <a:custGeom>
              <a:avLst/>
              <a:gdLst/>
              <a:ahLst/>
              <a:cxnLst/>
              <a:rect l="l" t="t" r="r" b="b"/>
              <a:pathLst>
                <a:path w="212089" h="377189">
                  <a:moveTo>
                    <a:pt x="93484" y="365810"/>
                  </a:moveTo>
                  <a:lnTo>
                    <a:pt x="124713" y="377062"/>
                  </a:lnTo>
                  <a:lnTo>
                    <a:pt x="211734" y="27558"/>
                  </a:lnTo>
                  <a:lnTo>
                    <a:pt x="126161" y="0"/>
                  </a:lnTo>
                  <a:lnTo>
                    <a:pt x="0" y="332104"/>
                  </a:lnTo>
                  <a:lnTo>
                    <a:pt x="33654" y="344246"/>
                  </a:lnTo>
                  <a:lnTo>
                    <a:pt x="33096" y="356527"/>
                  </a:lnTo>
                  <a:lnTo>
                    <a:pt x="86207" y="376135"/>
                  </a:lnTo>
                  <a:lnTo>
                    <a:pt x="93484" y="365810"/>
                  </a:lnTo>
                  <a:close/>
                </a:path>
              </a:pathLst>
            </a:custGeom>
            <a:ln w="7620">
              <a:solidFill>
                <a:srgbClr val="231F20"/>
              </a:solidFill>
            </a:ln>
          </p:spPr>
          <p:txBody>
            <a:bodyPr wrap="square" lIns="0" tIns="0" rIns="0" bIns="0" rtlCol="0"/>
            <a:lstStyle/>
            <a:p>
              <a:endParaRPr sz="649"/>
            </a:p>
          </p:txBody>
        </p:sp>
        <p:sp>
          <p:nvSpPr>
            <p:cNvPr id="23" name="object 23"/>
            <p:cNvSpPr/>
            <p:nvPr/>
          </p:nvSpPr>
          <p:spPr>
            <a:xfrm>
              <a:off x="2899526" y="2310022"/>
              <a:ext cx="92710" cy="33020"/>
            </a:xfrm>
            <a:custGeom>
              <a:avLst/>
              <a:gdLst/>
              <a:ahLst/>
              <a:cxnLst/>
              <a:rect l="l" t="t" r="r" b="b"/>
              <a:pathLst>
                <a:path w="92710" h="33019">
                  <a:moveTo>
                    <a:pt x="0" y="0"/>
                  </a:moveTo>
                  <a:lnTo>
                    <a:pt x="92494" y="32537"/>
                  </a:lnTo>
                </a:path>
              </a:pathLst>
            </a:custGeom>
            <a:ln w="7620">
              <a:solidFill>
                <a:srgbClr val="231F20"/>
              </a:solidFill>
            </a:ln>
          </p:spPr>
          <p:txBody>
            <a:bodyPr wrap="square" lIns="0" tIns="0" rIns="0" bIns="0" rtlCol="0"/>
            <a:lstStyle/>
            <a:p>
              <a:endParaRPr sz="649"/>
            </a:p>
          </p:txBody>
        </p:sp>
        <p:sp>
          <p:nvSpPr>
            <p:cNvPr id="24" name="object 24"/>
            <p:cNvSpPr/>
            <p:nvPr/>
          </p:nvSpPr>
          <p:spPr>
            <a:xfrm>
              <a:off x="2951138" y="2269473"/>
              <a:ext cx="19685" cy="19685"/>
            </a:xfrm>
            <a:custGeom>
              <a:avLst/>
              <a:gdLst/>
              <a:ahLst/>
              <a:cxnLst/>
              <a:rect l="l" t="t" r="r" b="b"/>
              <a:pathLst>
                <a:path w="19685" h="19685">
                  <a:moveTo>
                    <a:pt x="19342" y="9664"/>
                  </a:moveTo>
                  <a:lnTo>
                    <a:pt x="19342" y="14998"/>
                  </a:lnTo>
                  <a:lnTo>
                    <a:pt x="15011" y="19329"/>
                  </a:lnTo>
                  <a:lnTo>
                    <a:pt x="9664" y="19329"/>
                  </a:lnTo>
                  <a:lnTo>
                    <a:pt x="4317" y="19329"/>
                  </a:lnTo>
                  <a:lnTo>
                    <a:pt x="0" y="14998"/>
                  </a:lnTo>
                  <a:lnTo>
                    <a:pt x="0" y="9664"/>
                  </a:lnTo>
                  <a:lnTo>
                    <a:pt x="0" y="4330"/>
                  </a:lnTo>
                  <a:lnTo>
                    <a:pt x="4317" y="0"/>
                  </a:lnTo>
                  <a:lnTo>
                    <a:pt x="9664" y="0"/>
                  </a:lnTo>
                  <a:lnTo>
                    <a:pt x="15011" y="0"/>
                  </a:lnTo>
                  <a:lnTo>
                    <a:pt x="19342" y="4330"/>
                  </a:lnTo>
                  <a:lnTo>
                    <a:pt x="19342" y="9664"/>
                  </a:lnTo>
                  <a:close/>
                </a:path>
              </a:pathLst>
            </a:custGeom>
            <a:ln w="3175">
              <a:solidFill>
                <a:srgbClr val="231F20"/>
              </a:solidFill>
            </a:ln>
          </p:spPr>
          <p:txBody>
            <a:bodyPr wrap="square" lIns="0" tIns="0" rIns="0" bIns="0" rtlCol="0"/>
            <a:lstStyle/>
            <a:p>
              <a:endParaRPr sz="649"/>
            </a:p>
          </p:txBody>
        </p:sp>
        <p:sp>
          <p:nvSpPr>
            <p:cNvPr id="25" name="object 25"/>
            <p:cNvSpPr/>
            <p:nvPr/>
          </p:nvSpPr>
          <p:spPr>
            <a:xfrm>
              <a:off x="2884963" y="2435625"/>
              <a:ext cx="46990" cy="46990"/>
            </a:xfrm>
            <a:custGeom>
              <a:avLst/>
              <a:gdLst/>
              <a:ahLst/>
              <a:cxnLst/>
              <a:rect l="l" t="t" r="r" b="b"/>
              <a:pathLst>
                <a:path w="46989" h="46989">
                  <a:moveTo>
                    <a:pt x="46710" y="23355"/>
                  </a:moveTo>
                  <a:lnTo>
                    <a:pt x="44875" y="32448"/>
                  </a:lnTo>
                  <a:lnTo>
                    <a:pt x="39871" y="39871"/>
                  </a:lnTo>
                  <a:lnTo>
                    <a:pt x="32448" y="44875"/>
                  </a:lnTo>
                  <a:lnTo>
                    <a:pt x="23355" y="46710"/>
                  </a:lnTo>
                  <a:lnTo>
                    <a:pt x="14267" y="44875"/>
                  </a:lnTo>
                  <a:lnTo>
                    <a:pt x="6843" y="39871"/>
                  </a:lnTo>
                  <a:lnTo>
                    <a:pt x="1836" y="32448"/>
                  </a:lnTo>
                  <a:lnTo>
                    <a:pt x="0" y="23355"/>
                  </a:lnTo>
                  <a:lnTo>
                    <a:pt x="1836" y="14262"/>
                  </a:lnTo>
                  <a:lnTo>
                    <a:pt x="6843" y="6838"/>
                  </a:lnTo>
                  <a:lnTo>
                    <a:pt x="14267" y="1834"/>
                  </a:lnTo>
                  <a:lnTo>
                    <a:pt x="23355" y="0"/>
                  </a:lnTo>
                  <a:lnTo>
                    <a:pt x="32448" y="1834"/>
                  </a:lnTo>
                  <a:lnTo>
                    <a:pt x="39871" y="6838"/>
                  </a:lnTo>
                  <a:lnTo>
                    <a:pt x="44875" y="14262"/>
                  </a:lnTo>
                  <a:lnTo>
                    <a:pt x="46710" y="23355"/>
                  </a:lnTo>
                  <a:close/>
                </a:path>
              </a:pathLst>
            </a:custGeom>
            <a:ln w="3175">
              <a:solidFill>
                <a:srgbClr val="231F20"/>
              </a:solidFill>
            </a:ln>
          </p:spPr>
          <p:txBody>
            <a:bodyPr wrap="square" lIns="0" tIns="0" rIns="0" bIns="0" rtlCol="0"/>
            <a:lstStyle/>
            <a:p>
              <a:endParaRPr sz="649"/>
            </a:p>
          </p:txBody>
        </p:sp>
        <p:sp>
          <p:nvSpPr>
            <p:cNvPr id="26" name="object 26"/>
            <p:cNvSpPr/>
            <p:nvPr/>
          </p:nvSpPr>
          <p:spPr>
            <a:xfrm>
              <a:off x="2867262" y="2543604"/>
              <a:ext cx="19685" cy="19685"/>
            </a:xfrm>
            <a:custGeom>
              <a:avLst/>
              <a:gdLst/>
              <a:ahLst/>
              <a:cxnLst/>
              <a:rect l="l" t="t" r="r" b="b"/>
              <a:pathLst>
                <a:path w="19685" h="19685">
                  <a:moveTo>
                    <a:pt x="19329" y="9677"/>
                  </a:moveTo>
                  <a:lnTo>
                    <a:pt x="19329" y="15011"/>
                  </a:lnTo>
                  <a:lnTo>
                    <a:pt x="14998" y="19342"/>
                  </a:lnTo>
                  <a:lnTo>
                    <a:pt x="9664" y="19342"/>
                  </a:lnTo>
                  <a:lnTo>
                    <a:pt x="4317" y="19342"/>
                  </a:lnTo>
                  <a:lnTo>
                    <a:pt x="0" y="15011"/>
                  </a:lnTo>
                  <a:lnTo>
                    <a:pt x="0" y="9677"/>
                  </a:lnTo>
                  <a:lnTo>
                    <a:pt x="0" y="4330"/>
                  </a:lnTo>
                  <a:lnTo>
                    <a:pt x="4317" y="0"/>
                  </a:lnTo>
                  <a:lnTo>
                    <a:pt x="9664" y="0"/>
                  </a:lnTo>
                  <a:lnTo>
                    <a:pt x="14998" y="0"/>
                  </a:lnTo>
                  <a:lnTo>
                    <a:pt x="19329" y="4330"/>
                  </a:lnTo>
                  <a:lnTo>
                    <a:pt x="19329" y="9677"/>
                  </a:lnTo>
                  <a:close/>
                </a:path>
              </a:pathLst>
            </a:custGeom>
            <a:ln w="3175">
              <a:solidFill>
                <a:srgbClr val="231F20"/>
              </a:solidFill>
            </a:ln>
          </p:spPr>
          <p:txBody>
            <a:bodyPr wrap="square" lIns="0" tIns="0" rIns="0" bIns="0" rtlCol="0"/>
            <a:lstStyle/>
            <a:p>
              <a:endParaRPr sz="649"/>
            </a:p>
          </p:txBody>
        </p:sp>
        <p:sp>
          <p:nvSpPr>
            <p:cNvPr id="27" name="object 27"/>
            <p:cNvSpPr/>
            <p:nvPr/>
          </p:nvSpPr>
          <p:spPr>
            <a:xfrm>
              <a:off x="2909148" y="2352087"/>
              <a:ext cx="46990" cy="46990"/>
            </a:xfrm>
            <a:custGeom>
              <a:avLst/>
              <a:gdLst/>
              <a:ahLst/>
              <a:cxnLst/>
              <a:rect l="l" t="t" r="r" b="b"/>
              <a:pathLst>
                <a:path w="46989" h="46989">
                  <a:moveTo>
                    <a:pt x="46710" y="23355"/>
                  </a:moveTo>
                  <a:lnTo>
                    <a:pt x="44875" y="32448"/>
                  </a:lnTo>
                  <a:lnTo>
                    <a:pt x="39871" y="39871"/>
                  </a:lnTo>
                  <a:lnTo>
                    <a:pt x="32448" y="44875"/>
                  </a:lnTo>
                  <a:lnTo>
                    <a:pt x="23355" y="46710"/>
                  </a:lnTo>
                  <a:lnTo>
                    <a:pt x="14267" y="44875"/>
                  </a:lnTo>
                  <a:lnTo>
                    <a:pt x="6843" y="39871"/>
                  </a:lnTo>
                  <a:lnTo>
                    <a:pt x="1836" y="32448"/>
                  </a:lnTo>
                  <a:lnTo>
                    <a:pt x="0" y="23355"/>
                  </a:lnTo>
                  <a:lnTo>
                    <a:pt x="1836" y="14262"/>
                  </a:lnTo>
                  <a:lnTo>
                    <a:pt x="6843" y="6838"/>
                  </a:lnTo>
                  <a:lnTo>
                    <a:pt x="14267" y="1834"/>
                  </a:lnTo>
                  <a:lnTo>
                    <a:pt x="23355" y="0"/>
                  </a:lnTo>
                  <a:lnTo>
                    <a:pt x="32448" y="1834"/>
                  </a:lnTo>
                  <a:lnTo>
                    <a:pt x="39871" y="6838"/>
                  </a:lnTo>
                  <a:lnTo>
                    <a:pt x="44875" y="14262"/>
                  </a:lnTo>
                  <a:lnTo>
                    <a:pt x="46710" y="23355"/>
                  </a:lnTo>
                  <a:close/>
                </a:path>
              </a:pathLst>
            </a:custGeom>
            <a:ln w="3175">
              <a:solidFill>
                <a:srgbClr val="231F20"/>
              </a:solidFill>
            </a:ln>
          </p:spPr>
          <p:txBody>
            <a:bodyPr wrap="square" lIns="0" tIns="0" rIns="0" bIns="0" rtlCol="0"/>
            <a:lstStyle/>
            <a:p>
              <a:endParaRPr sz="649"/>
            </a:p>
          </p:txBody>
        </p:sp>
        <p:sp>
          <p:nvSpPr>
            <p:cNvPr id="28" name="object 28"/>
            <p:cNvSpPr/>
            <p:nvPr/>
          </p:nvSpPr>
          <p:spPr>
            <a:xfrm>
              <a:off x="2924026" y="2352934"/>
              <a:ext cx="25400" cy="31115"/>
            </a:xfrm>
            <a:custGeom>
              <a:avLst/>
              <a:gdLst/>
              <a:ahLst/>
              <a:cxnLst/>
              <a:rect l="l" t="t" r="r" b="b"/>
              <a:pathLst>
                <a:path w="25400" h="31114">
                  <a:moveTo>
                    <a:pt x="7226" y="0"/>
                  </a:moveTo>
                  <a:lnTo>
                    <a:pt x="2095" y="13042"/>
                  </a:lnTo>
                  <a:lnTo>
                    <a:pt x="0" y="18097"/>
                  </a:lnTo>
                  <a:lnTo>
                    <a:pt x="158" y="25215"/>
                  </a:lnTo>
                  <a:lnTo>
                    <a:pt x="5191" y="29838"/>
                  </a:lnTo>
                  <a:lnTo>
                    <a:pt x="12019" y="30727"/>
                  </a:lnTo>
                  <a:lnTo>
                    <a:pt x="17564" y="26644"/>
                  </a:lnTo>
                  <a:lnTo>
                    <a:pt x="20167" y="21983"/>
                  </a:lnTo>
                  <a:lnTo>
                    <a:pt x="24815" y="5943"/>
                  </a:lnTo>
                </a:path>
              </a:pathLst>
            </a:custGeom>
            <a:ln w="3175">
              <a:solidFill>
                <a:srgbClr val="231F20"/>
              </a:solidFill>
            </a:ln>
          </p:spPr>
          <p:txBody>
            <a:bodyPr wrap="square" lIns="0" tIns="0" rIns="0" bIns="0" rtlCol="0"/>
            <a:lstStyle/>
            <a:p>
              <a:endParaRPr sz="649"/>
            </a:p>
          </p:txBody>
        </p:sp>
        <p:pic>
          <p:nvPicPr>
            <p:cNvPr id="29" name="object 29"/>
            <p:cNvPicPr/>
            <p:nvPr/>
          </p:nvPicPr>
          <p:blipFill>
            <a:blip r:embed="rId2" cstate="print"/>
            <a:stretch>
              <a:fillRect/>
            </a:stretch>
          </p:blipFill>
          <p:spPr>
            <a:xfrm>
              <a:off x="2572626" y="2628810"/>
              <a:ext cx="353047" cy="477164"/>
            </a:xfrm>
            <a:prstGeom prst="rect">
              <a:avLst/>
            </a:prstGeom>
          </p:spPr>
        </p:pic>
        <p:sp>
          <p:nvSpPr>
            <p:cNvPr id="30" name="object 30"/>
            <p:cNvSpPr/>
            <p:nvPr/>
          </p:nvSpPr>
          <p:spPr>
            <a:xfrm>
              <a:off x="2572636" y="2628820"/>
              <a:ext cx="353060" cy="477520"/>
            </a:xfrm>
            <a:custGeom>
              <a:avLst/>
              <a:gdLst/>
              <a:ahLst/>
              <a:cxnLst/>
              <a:rect l="l" t="t" r="r" b="b"/>
              <a:pathLst>
                <a:path w="353060" h="477519">
                  <a:moveTo>
                    <a:pt x="336613" y="35801"/>
                  </a:moveTo>
                  <a:lnTo>
                    <a:pt x="229387" y="352437"/>
                  </a:lnTo>
                  <a:lnTo>
                    <a:pt x="353021" y="394309"/>
                  </a:lnTo>
                  <a:lnTo>
                    <a:pt x="133794" y="477164"/>
                  </a:lnTo>
                  <a:lnTo>
                    <a:pt x="0" y="274751"/>
                  </a:lnTo>
                  <a:lnTo>
                    <a:pt x="123634" y="316623"/>
                  </a:lnTo>
                  <a:lnTo>
                    <a:pt x="230873" y="0"/>
                  </a:lnTo>
                  <a:lnTo>
                    <a:pt x="336613" y="35801"/>
                  </a:lnTo>
                  <a:close/>
                </a:path>
              </a:pathLst>
            </a:custGeom>
            <a:ln w="7620">
              <a:solidFill>
                <a:srgbClr val="E3873E"/>
              </a:solidFill>
            </a:ln>
          </p:spPr>
          <p:txBody>
            <a:bodyPr wrap="square" lIns="0" tIns="0" rIns="0" bIns="0" rtlCol="0"/>
            <a:lstStyle/>
            <a:p>
              <a:endParaRPr sz="649"/>
            </a:p>
          </p:txBody>
        </p:sp>
      </p:grpSp>
      <p:grpSp>
        <p:nvGrpSpPr>
          <p:cNvPr id="31" name="object 31"/>
          <p:cNvGrpSpPr/>
          <p:nvPr/>
        </p:nvGrpSpPr>
        <p:grpSpPr>
          <a:xfrm>
            <a:off x="4685166" y="1014804"/>
            <a:ext cx="1328435" cy="1673681"/>
            <a:chOff x="4013451" y="2109138"/>
            <a:chExt cx="2760980" cy="3478529"/>
          </a:xfrm>
        </p:grpSpPr>
        <p:pic>
          <p:nvPicPr>
            <p:cNvPr id="32" name="object 32"/>
            <p:cNvPicPr/>
            <p:nvPr/>
          </p:nvPicPr>
          <p:blipFill>
            <a:blip r:embed="rId3" cstate="print"/>
            <a:stretch>
              <a:fillRect/>
            </a:stretch>
          </p:blipFill>
          <p:spPr>
            <a:xfrm>
              <a:off x="4013451" y="2109138"/>
              <a:ext cx="2760958" cy="3478114"/>
            </a:xfrm>
            <a:prstGeom prst="rect">
              <a:avLst/>
            </a:prstGeom>
          </p:spPr>
        </p:pic>
        <p:pic>
          <p:nvPicPr>
            <p:cNvPr id="33" name="object 33"/>
            <p:cNvPicPr/>
            <p:nvPr/>
          </p:nvPicPr>
          <p:blipFill>
            <a:blip r:embed="rId4" cstate="print"/>
            <a:stretch>
              <a:fillRect/>
            </a:stretch>
          </p:blipFill>
          <p:spPr>
            <a:xfrm>
              <a:off x="4848326" y="3905834"/>
              <a:ext cx="783247" cy="616204"/>
            </a:xfrm>
            <a:prstGeom prst="rect">
              <a:avLst/>
            </a:prstGeom>
          </p:spPr>
        </p:pic>
        <p:sp>
          <p:nvSpPr>
            <p:cNvPr id="34" name="object 34"/>
            <p:cNvSpPr/>
            <p:nvPr/>
          </p:nvSpPr>
          <p:spPr>
            <a:xfrm>
              <a:off x="4848325" y="3905816"/>
              <a:ext cx="783590" cy="616585"/>
            </a:xfrm>
            <a:custGeom>
              <a:avLst/>
              <a:gdLst/>
              <a:ahLst/>
              <a:cxnLst/>
              <a:rect l="l" t="t" r="r" b="b"/>
              <a:pathLst>
                <a:path w="783589" h="616585">
                  <a:moveTo>
                    <a:pt x="421017" y="124040"/>
                  </a:moveTo>
                  <a:lnTo>
                    <a:pt x="644867" y="26924"/>
                  </a:lnTo>
                  <a:lnTo>
                    <a:pt x="596061" y="200863"/>
                  </a:lnTo>
                  <a:lnTo>
                    <a:pt x="783247" y="261391"/>
                  </a:lnTo>
                  <a:lnTo>
                    <a:pt x="596061" y="350774"/>
                  </a:lnTo>
                  <a:lnTo>
                    <a:pt x="585139" y="530288"/>
                  </a:lnTo>
                  <a:lnTo>
                    <a:pt x="402704" y="434378"/>
                  </a:lnTo>
                  <a:lnTo>
                    <a:pt x="124510" y="616216"/>
                  </a:lnTo>
                  <a:lnTo>
                    <a:pt x="236918" y="381787"/>
                  </a:lnTo>
                  <a:lnTo>
                    <a:pt x="0" y="218922"/>
                  </a:lnTo>
                  <a:lnTo>
                    <a:pt x="259753" y="202996"/>
                  </a:lnTo>
                  <a:lnTo>
                    <a:pt x="279692" y="0"/>
                  </a:lnTo>
                  <a:lnTo>
                    <a:pt x="421017" y="124040"/>
                  </a:lnTo>
                  <a:close/>
                </a:path>
              </a:pathLst>
            </a:custGeom>
            <a:ln w="7620">
              <a:solidFill>
                <a:srgbClr val="E3873E"/>
              </a:solidFill>
            </a:ln>
          </p:spPr>
          <p:txBody>
            <a:bodyPr wrap="square" lIns="0" tIns="0" rIns="0" bIns="0" rtlCol="0"/>
            <a:lstStyle/>
            <a:p>
              <a:endParaRPr sz="649"/>
            </a:p>
          </p:txBody>
        </p:sp>
      </p:grpSp>
      <p:sp>
        <p:nvSpPr>
          <p:cNvPr id="35" name="object 35"/>
          <p:cNvSpPr txBox="1"/>
          <p:nvPr/>
        </p:nvSpPr>
        <p:spPr>
          <a:xfrm>
            <a:off x="5181101" y="1955014"/>
            <a:ext cx="193705" cy="102351"/>
          </a:xfrm>
          <a:prstGeom prst="rect">
            <a:avLst/>
          </a:prstGeom>
        </p:spPr>
        <p:txBody>
          <a:bodyPr vert="horz" wrap="square" lIns="0" tIns="6111" rIns="0" bIns="0" rtlCol="0">
            <a:spAutoFit/>
          </a:bodyPr>
          <a:lstStyle/>
          <a:p>
            <a:pPr marL="6110">
              <a:spcBef>
                <a:spcPts val="48"/>
              </a:spcBef>
            </a:pPr>
            <a:r>
              <a:rPr sz="625" b="1" spc="-34" dirty="0">
                <a:solidFill>
                  <a:srgbClr val="231F20"/>
                </a:solidFill>
                <a:latin typeface="Tahoma"/>
                <a:cs typeface="Tahoma"/>
              </a:rPr>
              <a:t>click!</a:t>
            </a:r>
            <a:endParaRPr sz="625">
              <a:latin typeface="Tahoma"/>
              <a:cs typeface="Tahoma"/>
            </a:endParaRPr>
          </a:p>
        </p:txBody>
      </p:sp>
      <p:grpSp>
        <p:nvGrpSpPr>
          <p:cNvPr id="36" name="object 36"/>
          <p:cNvGrpSpPr/>
          <p:nvPr/>
        </p:nvGrpSpPr>
        <p:grpSpPr>
          <a:xfrm>
            <a:off x="4524702" y="1936070"/>
            <a:ext cx="380688" cy="300334"/>
            <a:chOff x="3679947" y="4023871"/>
            <a:chExt cx="791210" cy="624205"/>
          </a:xfrm>
        </p:grpSpPr>
        <p:pic>
          <p:nvPicPr>
            <p:cNvPr id="37" name="object 37"/>
            <p:cNvPicPr/>
            <p:nvPr/>
          </p:nvPicPr>
          <p:blipFill>
            <a:blip r:embed="rId5" cstate="print"/>
            <a:stretch>
              <a:fillRect/>
            </a:stretch>
          </p:blipFill>
          <p:spPr>
            <a:xfrm>
              <a:off x="3683749" y="4027690"/>
              <a:ext cx="783259" cy="616216"/>
            </a:xfrm>
            <a:prstGeom prst="rect">
              <a:avLst/>
            </a:prstGeom>
          </p:spPr>
        </p:pic>
        <p:sp>
          <p:nvSpPr>
            <p:cNvPr id="38" name="object 38"/>
            <p:cNvSpPr/>
            <p:nvPr/>
          </p:nvSpPr>
          <p:spPr>
            <a:xfrm>
              <a:off x="3683757" y="4027681"/>
              <a:ext cx="783590" cy="616585"/>
            </a:xfrm>
            <a:custGeom>
              <a:avLst/>
              <a:gdLst/>
              <a:ahLst/>
              <a:cxnLst/>
              <a:rect l="l" t="t" r="r" b="b"/>
              <a:pathLst>
                <a:path w="783589" h="616585">
                  <a:moveTo>
                    <a:pt x="421030" y="124040"/>
                  </a:moveTo>
                  <a:lnTo>
                    <a:pt x="644880" y="26924"/>
                  </a:lnTo>
                  <a:lnTo>
                    <a:pt x="596074" y="200863"/>
                  </a:lnTo>
                  <a:lnTo>
                    <a:pt x="783259" y="261391"/>
                  </a:lnTo>
                  <a:lnTo>
                    <a:pt x="596074" y="350774"/>
                  </a:lnTo>
                  <a:lnTo>
                    <a:pt x="585152" y="530288"/>
                  </a:lnTo>
                  <a:lnTo>
                    <a:pt x="402716" y="434378"/>
                  </a:lnTo>
                  <a:lnTo>
                    <a:pt x="124536" y="616229"/>
                  </a:lnTo>
                  <a:lnTo>
                    <a:pt x="236931" y="381800"/>
                  </a:lnTo>
                  <a:lnTo>
                    <a:pt x="0" y="218922"/>
                  </a:lnTo>
                  <a:lnTo>
                    <a:pt x="259753" y="203009"/>
                  </a:lnTo>
                  <a:lnTo>
                    <a:pt x="279704" y="0"/>
                  </a:lnTo>
                  <a:lnTo>
                    <a:pt x="421030" y="124040"/>
                  </a:lnTo>
                  <a:close/>
                </a:path>
              </a:pathLst>
            </a:custGeom>
            <a:ln w="7620">
              <a:solidFill>
                <a:srgbClr val="E3873E"/>
              </a:solidFill>
            </a:ln>
          </p:spPr>
          <p:txBody>
            <a:bodyPr wrap="square" lIns="0" tIns="0" rIns="0" bIns="0" rtlCol="0"/>
            <a:lstStyle/>
            <a:p>
              <a:endParaRPr sz="649"/>
            </a:p>
          </p:txBody>
        </p:sp>
      </p:grpSp>
      <p:sp>
        <p:nvSpPr>
          <p:cNvPr id="39" name="object 39"/>
          <p:cNvSpPr txBox="1"/>
          <p:nvPr/>
        </p:nvSpPr>
        <p:spPr>
          <a:xfrm>
            <a:off x="4620781" y="2013652"/>
            <a:ext cx="193705" cy="102351"/>
          </a:xfrm>
          <a:prstGeom prst="rect">
            <a:avLst/>
          </a:prstGeom>
        </p:spPr>
        <p:txBody>
          <a:bodyPr vert="horz" wrap="square" lIns="0" tIns="6111" rIns="0" bIns="0" rtlCol="0">
            <a:spAutoFit/>
          </a:bodyPr>
          <a:lstStyle/>
          <a:p>
            <a:pPr marL="6110">
              <a:spcBef>
                <a:spcPts val="48"/>
              </a:spcBef>
            </a:pPr>
            <a:r>
              <a:rPr sz="625" b="1" spc="-34" dirty="0">
                <a:solidFill>
                  <a:srgbClr val="231F20"/>
                </a:solidFill>
                <a:latin typeface="Tahoma"/>
                <a:cs typeface="Tahoma"/>
              </a:rPr>
              <a:t>click!</a:t>
            </a:r>
            <a:endParaRPr sz="625">
              <a:latin typeface="Tahoma"/>
              <a:cs typeface="Tahoma"/>
            </a:endParaRPr>
          </a:p>
        </p:txBody>
      </p:sp>
      <p:grpSp>
        <p:nvGrpSpPr>
          <p:cNvPr id="40" name="object 40"/>
          <p:cNvGrpSpPr/>
          <p:nvPr/>
        </p:nvGrpSpPr>
        <p:grpSpPr>
          <a:xfrm>
            <a:off x="2986311" y="2538867"/>
            <a:ext cx="3173211" cy="2255711"/>
            <a:chOff x="482600" y="5276706"/>
            <a:chExt cx="6595109" cy="4688205"/>
          </a:xfrm>
        </p:grpSpPr>
        <p:pic>
          <p:nvPicPr>
            <p:cNvPr id="41" name="object 41"/>
            <p:cNvPicPr/>
            <p:nvPr/>
          </p:nvPicPr>
          <p:blipFill>
            <a:blip r:embed="rId6" cstate="print"/>
            <a:stretch>
              <a:fillRect/>
            </a:stretch>
          </p:blipFill>
          <p:spPr>
            <a:xfrm>
              <a:off x="495300" y="5276706"/>
              <a:ext cx="4687250" cy="3655679"/>
            </a:xfrm>
            <a:prstGeom prst="rect">
              <a:avLst/>
            </a:prstGeom>
          </p:spPr>
        </p:pic>
        <p:pic>
          <p:nvPicPr>
            <p:cNvPr id="42" name="object 42"/>
            <p:cNvPicPr/>
            <p:nvPr/>
          </p:nvPicPr>
          <p:blipFill>
            <a:blip r:embed="rId7" cstate="print"/>
            <a:stretch>
              <a:fillRect/>
            </a:stretch>
          </p:blipFill>
          <p:spPr>
            <a:xfrm>
              <a:off x="1660093" y="7714856"/>
              <a:ext cx="229450" cy="298716"/>
            </a:xfrm>
            <a:prstGeom prst="rect">
              <a:avLst/>
            </a:prstGeom>
          </p:spPr>
        </p:pic>
        <p:sp>
          <p:nvSpPr>
            <p:cNvPr id="43" name="object 43"/>
            <p:cNvSpPr/>
            <p:nvPr/>
          </p:nvSpPr>
          <p:spPr>
            <a:xfrm>
              <a:off x="1660089" y="7714861"/>
              <a:ext cx="229870" cy="299085"/>
            </a:xfrm>
            <a:custGeom>
              <a:avLst/>
              <a:gdLst/>
              <a:ahLst/>
              <a:cxnLst/>
              <a:rect l="l" t="t" r="r" b="b"/>
              <a:pathLst>
                <a:path w="229869" h="299084">
                  <a:moveTo>
                    <a:pt x="140500" y="0"/>
                  </a:moveTo>
                  <a:lnTo>
                    <a:pt x="149085" y="205803"/>
                  </a:lnTo>
                  <a:lnTo>
                    <a:pt x="229450" y="202450"/>
                  </a:lnTo>
                  <a:lnTo>
                    <a:pt x="121805" y="298716"/>
                  </a:lnTo>
                  <a:lnTo>
                    <a:pt x="0" y="212026"/>
                  </a:lnTo>
                  <a:lnTo>
                    <a:pt x="80365" y="208673"/>
                  </a:lnTo>
                  <a:lnTo>
                    <a:pt x="71767" y="2870"/>
                  </a:lnTo>
                  <a:lnTo>
                    <a:pt x="140500" y="0"/>
                  </a:lnTo>
                  <a:close/>
                </a:path>
              </a:pathLst>
            </a:custGeom>
            <a:ln w="7620">
              <a:solidFill>
                <a:srgbClr val="E3873E"/>
              </a:solidFill>
            </a:ln>
          </p:spPr>
          <p:txBody>
            <a:bodyPr wrap="square" lIns="0" tIns="0" rIns="0" bIns="0" rtlCol="0"/>
            <a:lstStyle/>
            <a:p>
              <a:endParaRPr sz="649"/>
            </a:p>
          </p:txBody>
        </p:sp>
        <p:sp>
          <p:nvSpPr>
            <p:cNvPr id="44" name="object 44"/>
            <p:cNvSpPr/>
            <p:nvPr/>
          </p:nvSpPr>
          <p:spPr>
            <a:xfrm>
              <a:off x="2293810" y="8034121"/>
              <a:ext cx="818515" cy="0"/>
            </a:xfrm>
            <a:custGeom>
              <a:avLst/>
              <a:gdLst/>
              <a:ahLst/>
              <a:cxnLst/>
              <a:rect l="l" t="t" r="r" b="b"/>
              <a:pathLst>
                <a:path w="818514">
                  <a:moveTo>
                    <a:pt x="818159" y="0"/>
                  </a:moveTo>
                  <a:lnTo>
                    <a:pt x="0" y="0"/>
                  </a:lnTo>
                </a:path>
              </a:pathLst>
            </a:custGeom>
            <a:ln w="25400">
              <a:solidFill>
                <a:srgbClr val="E3873E"/>
              </a:solidFill>
            </a:ln>
          </p:spPr>
          <p:txBody>
            <a:bodyPr wrap="square" lIns="0" tIns="0" rIns="0" bIns="0" rtlCol="0"/>
            <a:lstStyle/>
            <a:p>
              <a:endParaRPr sz="649"/>
            </a:p>
          </p:txBody>
        </p:sp>
        <p:sp>
          <p:nvSpPr>
            <p:cNvPr id="45" name="object 45"/>
            <p:cNvSpPr/>
            <p:nvPr/>
          </p:nvSpPr>
          <p:spPr>
            <a:xfrm>
              <a:off x="495300" y="7133316"/>
              <a:ext cx="1799589" cy="1799589"/>
            </a:xfrm>
            <a:custGeom>
              <a:avLst/>
              <a:gdLst/>
              <a:ahLst/>
              <a:cxnLst/>
              <a:rect l="l" t="t" r="r" b="b"/>
              <a:pathLst>
                <a:path w="1799589" h="1799590">
                  <a:moveTo>
                    <a:pt x="1799069" y="899528"/>
                  </a:moveTo>
                  <a:lnTo>
                    <a:pt x="1797822" y="947301"/>
                  </a:lnTo>
                  <a:lnTo>
                    <a:pt x="1794123" y="994425"/>
                  </a:lnTo>
                  <a:lnTo>
                    <a:pt x="1788034" y="1040837"/>
                  </a:lnTo>
                  <a:lnTo>
                    <a:pt x="1779616" y="1086476"/>
                  </a:lnTo>
                  <a:lnTo>
                    <a:pt x="1768933" y="1131279"/>
                  </a:lnTo>
                  <a:lnTo>
                    <a:pt x="1756047" y="1175183"/>
                  </a:lnTo>
                  <a:lnTo>
                    <a:pt x="1741019" y="1218127"/>
                  </a:lnTo>
                  <a:lnTo>
                    <a:pt x="1723911" y="1260049"/>
                  </a:lnTo>
                  <a:lnTo>
                    <a:pt x="1704787" y="1300886"/>
                  </a:lnTo>
                  <a:lnTo>
                    <a:pt x="1683707" y="1340577"/>
                  </a:lnTo>
                  <a:lnTo>
                    <a:pt x="1660735" y="1379058"/>
                  </a:lnTo>
                  <a:lnTo>
                    <a:pt x="1635932" y="1416269"/>
                  </a:lnTo>
                  <a:lnTo>
                    <a:pt x="1609360" y="1452146"/>
                  </a:lnTo>
                  <a:lnTo>
                    <a:pt x="1581083" y="1486628"/>
                  </a:lnTo>
                  <a:lnTo>
                    <a:pt x="1551161" y="1519652"/>
                  </a:lnTo>
                  <a:lnTo>
                    <a:pt x="1519657" y="1551156"/>
                  </a:lnTo>
                  <a:lnTo>
                    <a:pt x="1486633" y="1581078"/>
                  </a:lnTo>
                  <a:lnTo>
                    <a:pt x="1452151" y="1609357"/>
                  </a:lnTo>
                  <a:lnTo>
                    <a:pt x="1416274" y="1635928"/>
                  </a:lnTo>
                  <a:lnTo>
                    <a:pt x="1379064" y="1660732"/>
                  </a:lnTo>
                  <a:lnTo>
                    <a:pt x="1340583" y="1683704"/>
                  </a:lnTo>
                  <a:lnTo>
                    <a:pt x="1300892" y="1704784"/>
                  </a:lnTo>
                  <a:lnTo>
                    <a:pt x="1260055" y="1723909"/>
                  </a:lnTo>
                  <a:lnTo>
                    <a:pt x="1218133" y="1741017"/>
                  </a:lnTo>
                  <a:lnTo>
                    <a:pt x="1175188" y="1756046"/>
                  </a:lnTo>
                  <a:lnTo>
                    <a:pt x="1131283" y="1768933"/>
                  </a:lnTo>
                  <a:lnTo>
                    <a:pt x="1086480" y="1779616"/>
                  </a:lnTo>
                  <a:lnTo>
                    <a:pt x="1040840" y="1788033"/>
                  </a:lnTo>
                  <a:lnTo>
                    <a:pt x="994427" y="1794123"/>
                  </a:lnTo>
                  <a:lnTo>
                    <a:pt x="947302" y="1797822"/>
                  </a:lnTo>
                  <a:lnTo>
                    <a:pt x="899528" y="1799069"/>
                  </a:lnTo>
                  <a:lnTo>
                    <a:pt x="851755" y="1797822"/>
                  </a:lnTo>
                  <a:lnTo>
                    <a:pt x="804631" y="1794123"/>
                  </a:lnTo>
                  <a:lnTo>
                    <a:pt x="758219" y="1788033"/>
                  </a:lnTo>
                  <a:lnTo>
                    <a:pt x="712580" y="1779616"/>
                  </a:lnTo>
                  <a:lnTo>
                    <a:pt x="667778" y="1768933"/>
                  </a:lnTo>
                  <a:lnTo>
                    <a:pt x="623874" y="1756046"/>
                  </a:lnTo>
                  <a:lnTo>
                    <a:pt x="580930" y="1741017"/>
                  </a:lnTo>
                  <a:lnTo>
                    <a:pt x="539008" y="1723909"/>
                  </a:lnTo>
                  <a:lnTo>
                    <a:pt x="498172" y="1704784"/>
                  </a:lnTo>
                  <a:lnTo>
                    <a:pt x="458482" y="1683704"/>
                  </a:lnTo>
                  <a:lnTo>
                    <a:pt x="420001" y="1660732"/>
                  </a:lnTo>
                  <a:lnTo>
                    <a:pt x="382791" y="1635928"/>
                  </a:lnTo>
                  <a:lnTo>
                    <a:pt x="346914" y="1609357"/>
                  </a:lnTo>
                  <a:lnTo>
                    <a:pt x="312433" y="1581078"/>
                  </a:lnTo>
                  <a:lnTo>
                    <a:pt x="279410" y="1551156"/>
                  </a:lnTo>
                  <a:lnTo>
                    <a:pt x="247906" y="1519652"/>
                  </a:lnTo>
                  <a:lnTo>
                    <a:pt x="217985" y="1486628"/>
                  </a:lnTo>
                  <a:lnTo>
                    <a:pt x="189707" y="1452146"/>
                  </a:lnTo>
                  <a:lnTo>
                    <a:pt x="163136" y="1416269"/>
                  </a:lnTo>
                  <a:lnTo>
                    <a:pt x="138333" y="1379058"/>
                  </a:lnTo>
                  <a:lnTo>
                    <a:pt x="115361" y="1340577"/>
                  </a:lnTo>
                  <a:lnTo>
                    <a:pt x="94281" y="1300886"/>
                  </a:lnTo>
                  <a:lnTo>
                    <a:pt x="75157" y="1260049"/>
                  </a:lnTo>
                  <a:lnTo>
                    <a:pt x="58050" y="1218127"/>
                  </a:lnTo>
                  <a:lnTo>
                    <a:pt x="43021" y="1175183"/>
                  </a:lnTo>
                  <a:lnTo>
                    <a:pt x="30135" y="1131279"/>
                  </a:lnTo>
                  <a:lnTo>
                    <a:pt x="19452" y="1086476"/>
                  </a:lnTo>
                  <a:lnTo>
                    <a:pt x="11035" y="1040837"/>
                  </a:lnTo>
                  <a:lnTo>
                    <a:pt x="4945" y="994425"/>
                  </a:lnTo>
                  <a:lnTo>
                    <a:pt x="1246" y="947301"/>
                  </a:lnTo>
                  <a:lnTo>
                    <a:pt x="0" y="899528"/>
                  </a:lnTo>
                  <a:lnTo>
                    <a:pt x="1246" y="851755"/>
                  </a:lnTo>
                  <a:lnTo>
                    <a:pt x="4945" y="804631"/>
                  </a:lnTo>
                  <a:lnTo>
                    <a:pt x="11035" y="758219"/>
                  </a:lnTo>
                  <a:lnTo>
                    <a:pt x="19452" y="712580"/>
                  </a:lnTo>
                  <a:lnTo>
                    <a:pt x="30135" y="667778"/>
                  </a:lnTo>
                  <a:lnTo>
                    <a:pt x="43021" y="623874"/>
                  </a:lnTo>
                  <a:lnTo>
                    <a:pt x="58050" y="580930"/>
                  </a:lnTo>
                  <a:lnTo>
                    <a:pt x="75157" y="539008"/>
                  </a:lnTo>
                  <a:lnTo>
                    <a:pt x="94281" y="498172"/>
                  </a:lnTo>
                  <a:lnTo>
                    <a:pt x="115361" y="458482"/>
                  </a:lnTo>
                  <a:lnTo>
                    <a:pt x="138333" y="420001"/>
                  </a:lnTo>
                  <a:lnTo>
                    <a:pt x="163136" y="382791"/>
                  </a:lnTo>
                  <a:lnTo>
                    <a:pt x="189707" y="346914"/>
                  </a:lnTo>
                  <a:lnTo>
                    <a:pt x="217985" y="312433"/>
                  </a:lnTo>
                  <a:lnTo>
                    <a:pt x="247906" y="279410"/>
                  </a:lnTo>
                  <a:lnTo>
                    <a:pt x="279410" y="247906"/>
                  </a:lnTo>
                  <a:lnTo>
                    <a:pt x="312433" y="217985"/>
                  </a:lnTo>
                  <a:lnTo>
                    <a:pt x="346914" y="189707"/>
                  </a:lnTo>
                  <a:lnTo>
                    <a:pt x="382791" y="163136"/>
                  </a:lnTo>
                  <a:lnTo>
                    <a:pt x="420001" y="138333"/>
                  </a:lnTo>
                  <a:lnTo>
                    <a:pt x="458482" y="115361"/>
                  </a:lnTo>
                  <a:lnTo>
                    <a:pt x="498172" y="94281"/>
                  </a:lnTo>
                  <a:lnTo>
                    <a:pt x="539008" y="75157"/>
                  </a:lnTo>
                  <a:lnTo>
                    <a:pt x="580930" y="58050"/>
                  </a:lnTo>
                  <a:lnTo>
                    <a:pt x="623874" y="43021"/>
                  </a:lnTo>
                  <a:lnTo>
                    <a:pt x="667778" y="30135"/>
                  </a:lnTo>
                  <a:lnTo>
                    <a:pt x="712580" y="19452"/>
                  </a:lnTo>
                  <a:lnTo>
                    <a:pt x="758219" y="11035"/>
                  </a:lnTo>
                  <a:lnTo>
                    <a:pt x="804631" y="4945"/>
                  </a:lnTo>
                  <a:lnTo>
                    <a:pt x="851755" y="1246"/>
                  </a:lnTo>
                  <a:lnTo>
                    <a:pt x="899528" y="0"/>
                  </a:lnTo>
                  <a:lnTo>
                    <a:pt x="947302" y="1246"/>
                  </a:lnTo>
                  <a:lnTo>
                    <a:pt x="994427" y="4945"/>
                  </a:lnTo>
                  <a:lnTo>
                    <a:pt x="1040840" y="11035"/>
                  </a:lnTo>
                  <a:lnTo>
                    <a:pt x="1086480" y="19452"/>
                  </a:lnTo>
                  <a:lnTo>
                    <a:pt x="1131283" y="30135"/>
                  </a:lnTo>
                  <a:lnTo>
                    <a:pt x="1175188" y="43021"/>
                  </a:lnTo>
                  <a:lnTo>
                    <a:pt x="1218133" y="58050"/>
                  </a:lnTo>
                  <a:lnTo>
                    <a:pt x="1260055" y="75157"/>
                  </a:lnTo>
                  <a:lnTo>
                    <a:pt x="1300892" y="94281"/>
                  </a:lnTo>
                  <a:lnTo>
                    <a:pt x="1340583" y="115361"/>
                  </a:lnTo>
                  <a:lnTo>
                    <a:pt x="1379064" y="138333"/>
                  </a:lnTo>
                  <a:lnTo>
                    <a:pt x="1416274" y="163136"/>
                  </a:lnTo>
                  <a:lnTo>
                    <a:pt x="1452151" y="189707"/>
                  </a:lnTo>
                  <a:lnTo>
                    <a:pt x="1486633" y="217985"/>
                  </a:lnTo>
                  <a:lnTo>
                    <a:pt x="1519657" y="247906"/>
                  </a:lnTo>
                  <a:lnTo>
                    <a:pt x="1551161" y="279410"/>
                  </a:lnTo>
                  <a:lnTo>
                    <a:pt x="1581083" y="312433"/>
                  </a:lnTo>
                  <a:lnTo>
                    <a:pt x="1609360" y="346914"/>
                  </a:lnTo>
                  <a:lnTo>
                    <a:pt x="1635932" y="382791"/>
                  </a:lnTo>
                  <a:lnTo>
                    <a:pt x="1660735" y="420001"/>
                  </a:lnTo>
                  <a:lnTo>
                    <a:pt x="1683707" y="458482"/>
                  </a:lnTo>
                  <a:lnTo>
                    <a:pt x="1704787" y="498172"/>
                  </a:lnTo>
                  <a:lnTo>
                    <a:pt x="1723911" y="539008"/>
                  </a:lnTo>
                  <a:lnTo>
                    <a:pt x="1741019" y="580930"/>
                  </a:lnTo>
                  <a:lnTo>
                    <a:pt x="1756047" y="623874"/>
                  </a:lnTo>
                  <a:lnTo>
                    <a:pt x="1768933" y="667778"/>
                  </a:lnTo>
                  <a:lnTo>
                    <a:pt x="1779616" y="712580"/>
                  </a:lnTo>
                  <a:lnTo>
                    <a:pt x="1788034" y="758219"/>
                  </a:lnTo>
                  <a:lnTo>
                    <a:pt x="1794123" y="804631"/>
                  </a:lnTo>
                  <a:lnTo>
                    <a:pt x="1797822" y="851755"/>
                  </a:lnTo>
                  <a:lnTo>
                    <a:pt x="1799069" y="899528"/>
                  </a:lnTo>
                  <a:close/>
                </a:path>
              </a:pathLst>
            </a:custGeom>
            <a:ln w="25400">
              <a:solidFill>
                <a:srgbClr val="E3873E"/>
              </a:solidFill>
              <a:prstDash val="sysDash"/>
            </a:ln>
          </p:spPr>
          <p:txBody>
            <a:bodyPr wrap="square" lIns="0" tIns="0" rIns="0" bIns="0" rtlCol="0"/>
            <a:lstStyle/>
            <a:p>
              <a:endParaRPr sz="649"/>
            </a:p>
          </p:txBody>
        </p:sp>
        <p:sp>
          <p:nvSpPr>
            <p:cNvPr id="46" name="object 46"/>
            <p:cNvSpPr/>
            <p:nvPr/>
          </p:nvSpPr>
          <p:spPr>
            <a:xfrm>
              <a:off x="1997638" y="8070001"/>
              <a:ext cx="297180" cy="615950"/>
            </a:xfrm>
            <a:custGeom>
              <a:avLst/>
              <a:gdLst/>
              <a:ahLst/>
              <a:cxnLst/>
              <a:rect l="l" t="t" r="r" b="b"/>
              <a:pathLst>
                <a:path w="297180" h="615950">
                  <a:moveTo>
                    <a:pt x="297040" y="0"/>
                  </a:moveTo>
                  <a:lnTo>
                    <a:pt x="215358" y="50143"/>
                  </a:lnTo>
                  <a:lnTo>
                    <a:pt x="172602" y="77108"/>
                  </a:lnTo>
                  <a:lnTo>
                    <a:pt x="134229" y="120383"/>
                  </a:lnTo>
                  <a:lnTo>
                    <a:pt x="106049" y="166308"/>
                  </a:lnTo>
                  <a:lnTo>
                    <a:pt x="70983" y="224121"/>
                  </a:lnTo>
                  <a:lnTo>
                    <a:pt x="36583" y="281768"/>
                  </a:lnTo>
                  <a:lnTo>
                    <a:pt x="10404" y="327195"/>
                  </a:lnTo>
                  <a:lnTo>
                    <a:pt x="0" y="348348"/>
                  </a:lnTo>
                  <a:lnTo>
                    <a:pt x="609" y="394371"/>
                  </a:lnTo>
                  <a:lnTo>
                    <a:pt x="1949" y="485878"/>
                  </a:lnTo>
                  <a:lnTo>
                    <a:pt x="3289" y="575510"/>
                  </a:lnTo>
                  <a:lnTo>
                    <a:pt x="3898" y="615911"/>
                  </a:lnTo>
                </a:path>
              </a:pathLst>
            </a:custGeom>
            <a:ln w="7619">
              <a:solidFill>
                <a:srgbClr val="231F20"/>
              </a:solidFill>
            </a:ln>
          </p:spPr>
          <p:txBody>
            <a:bodyPr wrap="square" lIns="0" tIns="0" rIns="0" bIns="0" rtlCol="0"/>
            <a:lstStyle/>
            <a:p>
              <a:endParaRPr sz="649"/>
            </a:p>
          </p:txBody>
        </p:sp>
        <p:sp>
          <p:nvSpPr>
            <p:cNvPr id="47" name="object 47"/>
            <p:cNvSpPr/>
            <p:nvPr/>
          </p:nvSpPr>
          <p:spPr>
            <a:xfrm>
              <a:off x="4309305" y="6928966"/>
              <a:ext cx="321310" cy="202565"/>
            </a:xfrm>
            <a:custGeom>
              <a:avLst/>
              <a:gdLst/>
              <a:ahLst/>
              <a:cxnLst/>
              <a:rect l="l" t="t" r="r" b="b"/>
              <a:pathLst>
                <a:path w="321310" h="202565">
                  <a:moveTo>
                    <a:pt x="309638" y="0"/>
                  </a:moveTo>
                  <a:lnTo>
                    <a:pt x="5181" y="128028"/>
                  </a:lnTo>
                  <a:lnTo>
                    <a:pt x="0" y="137096"/>
                  </a:lnTo>
                  <a:lnTo>
                    <a:pt x="6718" y="198272"/>
                  </a:lnTo>
                  <a:lnTo>
                    <a:pt x="13296" y="202247"/>
                  </a:lnTo>
                  <a:lnTo>
                    <a:pt x="308419" y="76022"/>
                  </a:lnTo>
                  <a:lnTo>
                    <a:pt x="315760" y="72961"/>
                  </a:lnTo>
                  <a:lnTo>
                    <a:pt x="321233" y="64033"/>
                  </a:lnTo>
                  <a:lnTo>
                    <a:pt x="316217" y="3936"/>
                  </a:lnTo>
                  <a:lnTo>
                    <a:pt x="309638" y="0"/>
                  </a:lnTo>
                  <a:close/>
                </a:path>
              </a:pathLst>
            </a:custGeom>
            <a:solidFill>
              <a:srgbClr val="E2E3E4"/>
            </a:solidFill>
          </p:spPr>
          <p:txBody>
            <a:bodyPr wrap="square" lIns="0" tIns="0" rIns="0" bIns="0" rtlCol="0"/>
            <a:lstStyle/>
            <a:p>
              <a:endParaRPr sz="649"/>
            </a:p>
          </p:txBody>
        </p:sp>
        <p:sp>
          <p:nvSpPr>
            <p:cNvPr id="48" name="object 48"/>
            <p:cNvSpPr/>
            <p:nvPr/>
          </p:nvSpPr>
          <p:spPr>
            <a:xfrm>
              <a:off x="4309305" y="6928966"/>
              <a:ext cx="321310" cy="202565"/>
            </a:xfrm>
            <a:custGeom>
              <a:avLst/>
              <a:gdLst/>
              <a:ahLst/>
              <a:cxnLst/>
              <a:rect l="l" t="t" r="r" b="b"/>
              <a:pathLst>
                <a:path w="321310" h="202565">
                  <a:moveTo>
                    <a:pt x="308419" y="76022"/>
                  </a:moveTo>
                  <a:lnTo>
                    <a:pt x="20434" y="199110"/>
                  </a:lnTo>
                  <a:lnTo>
                    <a:pt x="13296" y="202247"/>
                  </a:lnTo>
                  <a:lnTo>
                    <a:pt x="6718" y="198272"/>
                  </a:lnTo>
                  <a:lnTo>
                    <a:pt x="5842" y="190271"/>
                  </a:lnTo>
                  <a:lnTo>
                    <a:pt x="876" y="145072"/>
                  </a:lnTo>
                  <a:lnTo>
                    <a:pt x="0" y="137096"/>
                  </a:lnTo>
                  <a:lnTo>
                    <a:pt x="5181" y="128028"/>
                  </a:lnTo>
                  <a:lnTo>
                    <a:pt x="12382" y="124929"/>
                  </a:lnTo>
                  <a:lnTo>
                    <a:pt x="302260" y="3035"/>
                  </a:lnTo>
                  <a:lnTo>
                    <a:pt x="309638" y="0"/>
                  </a:lnTo>
                  <a:lnTo>
                    <a:pt x="316217" y="3936"/>
                  </a:lnTo>
                  <a:lnTo>
                    <a:pt x="316865" y="11772"/>
                  </a:lnTo>
                  <a:lnTo>
                    <a:pt x="320573" y="56184"/>
                  </a:lnTo>
                  <a:lnTo>
                    <a:pt x="321233" y="64033"/>
                  </a:lnTo>
                  <a:lnTo>
                    <a:pt x="315760" y="72961"/>
                  </a:lnTo>
                  <a:lnTo>
                    <a:pt x="308419" y="76022"/>
                  </a:lnTo>
                  <a:close/>
                </a:path>
              </a:pathLst>
            </a:custGeom>
            <a:ln w="5080">
              <a:solidFill>
                <a:srgbClr val="231F20"/>
              </a:solidFill>
            </a:ln>
          </p:spPr>
          <p:txBody>
            <a:bodyPr wrap="square" lIns="0" tIns="0" rIns="0" bIns="0" rtlCol="0"/>
            <a:lstStyle/>
            <a:p>
              <a:endParaRPr sz="649"/>
            </a:p>
          </p:txBody>
        </p:sp>
        <p:pic>
          <p:nvPicPr>
            <p:cNvPr id="49" name="object 49"/>
            <p:cNvPicPr/>
            <p:nvPr/>
          </p:nvPicPr>
          <p:blipFill>
            <a:blip r:embed="rId8" cstate="print"/>
            <a:stretch>
              <a:fillRect/>
            </a:stretch>
          </p:blipFill>
          <p:spPr>
            <a:xfrm>
              <a:off x="4349508" y="6956624"/>
              <a:ext cx="255203" cy="138974"/>
            </a:xfrm>
            <a:prstGeom prst="rect">
              <a:avLst/>
            </a:prstGeom>
          </p:spPr>
        </p:pic>
        <p:sp>
          <p:nvSpPr>
            <p:cNvPr id="50" name="object 50"/>
            <p:cNvSpPr/>
            <p:nvPr/>
          </p:nvSpPr>
          <p:spPr>
            <a:xfrm>
              <a:off x="6223182" y="7824145"/>
              <a:ext cx="671195" cy="1696720"/>
            </a:xfrm>
            <a:custGeom>
              <a:avLst/>
              <a:gdLst/>
              <a:ahLst/>
              <a:cxnLst/>
              <a:rect l="l" t="t" r="r" b="b"/>
              <a:pathLst>
                <a:path w="671195" h="1696720">
                  <a:moveTo>
                    <a:pt x="245249" y="1644390"/>
                  </a:moveTo>
                  <a:lnTo>
                    <a:pt x="217451" y="1395805"/>
                  </a:lnTo>
                  <a:lnTo>
                    <a:pt x="171551" y="935400"/>
                  </a:lnTo>
                  <a:lnTo>
                    <a:pt x="128585" y="491624"/>
                  </a:lnTo>
                  <a:lnTo>
                    <a:pt x="109588" y="292932"/>
                  </a:lnTo>
                  <a:lnTo>
                    <a:pt x="52104" y="282174"/>
                  </a:lnTo>
                  <a:lnTo>
                    <a:pt x="21528" y="265544"/>
                  </a:lnTo>
                  <a:lnTo>
                    <a:pt x="7584" y="231303"/>
                  </a:lnTo>
                  <a:lnTo>
                    <a:pt x="0" y="167710"/>
                  </a:lnTo>
                  <a:lnTo>
                    <a:pt x="52" y="133192"/>
                  </a:lnTo>
                  <a:lnTo>
                    <a:pt x="22231" y="74164"/>
                  </a:lnTo>
                  <a:lnTo>
                    <a:pt x="75844" y="23899"/>
                  </a:lnTo>
                  <a:lnTo>
                    <a:pt x="115190" y="334"/>
                  </a:lnTo>
                  <a:lnTo>
                    <a:pt x="115878" y="0"/>
                  </a:lnTo>
                </a:path>
                <a:path w="671195" h="1696720">
                  <a:moveTo>
                    <a:pt x="670859" y="1619187"/>
                  </a:moveTo>
                  <a:lnTo>
                    <a:pt x="618820" y="1636082"/>
                  </a:lnTo>
                  <a:lnTo>
                    <a:pt x="574900" y="1649960"/>
                  </a:lnTo>
                  <a:lnTo>
                    <a:pt x="534848" y="1662246"/>
                  </a:lnTo>
                  <a:lnTo>
                    <a:pt x="467835" y="1681614"/>
                  </a:lnTo>
                  <a:lnTo>
                    <a:pt x="420752" y="1693337"/>
                  </a:lnTo>
                  <a:lnTo>
                    <a:pt x="396570" y="1696561"/>
                  </a:lnTo>
                  <a:lnTo>
                    <a:pt x="353118" y="1686213"/>
                  </a:lnTo>
                  <a:lnTo>
                    <a:pt x="303302" y="1668523"/>
                  </a:lnTo>
                  <a:lnTo>
                    <a:pt x="262290" y="1651809"/>
                  </a:lnTo>
                  <a:lnTo>
                    <a:pt x="245249" y="1644390"/>
                  </a:lnTo>
                </a:path>
              </a:pathLst>
            </a:custGeom>
            <a:ln w="25400">
              <a:solidFill>
                <a:srgbClr val="231F20"/>
              </a:solidFill>
            </a:ln>
          </p:spPr>
          <p:txBody>
            <a:bodyPr wrap="square" lIns="0" tIns="0" rIns="0" bIns="0" rtlCol="0"/>
            <a:lstStyle/>
            <a:p>
              <a:endParaRPr sz="649"/>
            </a:p>
          </p:txBody>
        </p:sp>
        <p:sp>
          <p:nvSpPr>
            <p:cNvPr id="51" name="object 51"/>
            <p:cNvSpPr/>
            <p:nvPr/>
          </p:nvSpPr>
          <p:spPr>
            <a:xfrm>
              <a:off x="5169024" y="8106493"/>
              <a:ext cx="1242060" cy="861694"/>
            </a:xfrm>
            <a:custGeom>
              <a:avLst/>
              <a:gdLst/>
              <a:ahLst/>
              <a:cxnLst/>
              <a:rect l="l" t="t" r="r" b="b"/>
              <a:pathLst>
                <a:path w="1242060" h="861695">
                  <a:moveTo>
                    <a:pt x="1242009" y="861112"/>
                  </a:moveTo>
                  <a:lnTo>
                    <a:pt x="960323" y="825561"/>
                  </a:lnTo>
                  <a:lnTo>
                    <a:pt x="788703" y="791968"/>
                  </a:lnTo>
                  <a:lnTo>
                    <a:pt x="657195" y="740766"/>
                  </a:lnTo>
                  <a:lnTo>
                    <a:pt x="495846" y="652387"/>
                  </a:lnTo>
                  <a:lnTo>
                    <a:pt x="426598" y="612388"/>
                  </a:lnTo>
                  <a:lnTo>
                    <a:pt x="363890" y="574836"/>
                  </a:lnTo>
                  <a:lnTo>
                    <a:pt x="307534" y="539589"/>
                  </a:lnTo>
                  <a:lnTo>
                    <a:pt x="257341" y="506506"/>
                  </a:lnTo>
                  <a:lnTo>
                    <a:pt x="213124" y="475447"/>
                  </a:lnTo>
                  <a:lnTo>
                    <a:pt x="174693" y="446269"/>
                  </a:lnTo>
                  <a:lnTo>
                    <a:pt x="141861" y="418833"/>
                  </a:lnTo>
                  <a:lnTo>
                    <a:pt x="92238" y="368618"/>
                  </a:lnTo>
                  <a:lnTo>
                    <a:pt x="62750" y="323673"/>
                  </a:lnTo>
                  <a:lnTo>
                    <a:pt x="47439" y="269208"/>
                  </a:lnTo>
                  <a:lnTo>
                    <a:pt x="34610" y="205607"/>
                  </a:lnTo>
                  <a:lnTo>
                    <a:pt x="27531" y="166742"/>
                  </a:lnTo>
                  <a:lnTo>
                    <a:pt x="20066" y="123668"/>
                  </a:lnTo>
                  <a:lnTo>
                    <a:pt x="12254" y="76758"/>
                  </a:lnTo>
                  <a:lnTo>
                    <a:pt x="4137" y="26388"/>
                  </a:lnTo>
                  <a:lnTo>
                    <a:pt x="0" y="0"/>
                  </a:lnTo>
                </a:path>
              </a:pathLst>
            </a:custGeom>
            <a:ln w="25400">
              <a:solidFill>
                <a:srgbClr val="231F20"/>
              </a:solidFill>
            </a:ln>
          </p:spPr>
          <p:txBody>
            <a:bodyPr wrap="square" lIns="0" tIns="0" rIns="0" bIns="0" rtlCol="0"/>
            <a:lstStyle/>
            <a:p>
              <a:endParaRPr sz="649"/>
            </a:p>
          </p:txBody>
        </p:sp>
        <p:sp>
          <p:nvSpPr>
            <p:cNvPr id="52" name="object 52"/>
            <p:cNvSpPr/>
            <p:nvPr/>
          </p:nvSpPr>
          <p:spPr>
            <a:xfrm>
              <a:off x="5065271" y="8235071"/>
              <a:ext cx="438150" cy="698500"/>
            </a:xfrm>
            <a:custGeom>
              <a:avLst/>
              <a:gdLst/>
              <a:ahLst/>
              <a:cxnLst/>
              <a:rect l="l" t="t" r="r" b="b"/>
              <a:pathLst>
                <a:path w="438150" h="698500">
                  <a:moveTo>
                    <a:pt x="0" y="0"/>
                  </a:moveTo>
                  <a:lnTo>
                    <a:pt x="11239" y="54792"/>
                  </a:lnTo>
                  <a:lnTo>
                    <a:pt x="24616" y="117219"/>
                  </a:lnTo>
                  <a:lnTo>
                    <a:pt x="38695" y="180591"/>
                  </a:lnTo>
                  <a:lnTo>
                    <a:pt x="53214" y="243918"/>
                  </a:lnTo>
                  <a:lnTo>
                    <a:pt x="67909" y="306213"/>
                  </a:lnTo>
                  <a:lnTo>
                    <a:pt x="82516" y="366486"/>
                  </a:lnTo>
                  <a:lnTo>
                    <a:pt x="96772" y="423751"/>
                  </a:lnTo>
                  <a:lnTo>
                    <a:pt x="110413" y="477017"/>
                  </a:lnTo>
                  <a:lnTo>
                    <a:pt x="123175" y="525297"/>
                  </a:lnTo>
                  <a:lnTo>
                    <a:pt x="134795" y="567603"/>
                  </a:lnTo>
                  <a:lnTo>
                    <a:pt x="153553" y="630337"/>
                  </a:lnTo>
                  <a:lnTo>
                    <a:pt x="181784" y="670073"/>
                  </a:lnTo>
                  <a:lnTo>
                    <a:pt x="225299" y="694021"/>
                  </a:lnTo>
                  <a:lnTo>
                    <a:pt x="234034" y="698309"/>
                  </a:lnTo>
                  <a:lnTo>
                    <a:pt x="274771" y="688653"/>
                  </a:lnTo>
                  <a:lnTo>
                    <a:pt x="343911" y="667410"/>
                  </a:lnTo>
                  <a:lnTo>
                    <a:pt x="409113" y="646166"/>
                  </a:lnTo>
                  <a:lnTo>
                    <a:pt x="438034" y="636510"/>
                  </a:lnTo>
                </a:path>
              </a:pathLst>
            </a:custGeom>
            <a:ln w="25400">
              <a:solidFill>
                <a:srgbClr val="231F20"/>
              </a:solidFill>
            </a:ln>
          </p:spPr>
          <p:txBody>
            <a:bodyPr wrap="square" lIns="0" tIns="0" rIns="0" bIns="0" rtlCol="0"/>
            <a:lstStyle/>
            <a:p>
              <a:endParaRPr sz="649"/>
            </a:p>
          </p:txBody>
        </p:sp>
        <p:sp>
          <p:nvSpPr>
            <p:cNvPr id="53" name="object 53"/>
            <p:cNvSpPr/>
            <p:nvPr/>
          </p:nvSpPr>
          <p:spPr>
            <a:xfrm>
              <a:off x="6336235" y="8050223"/>
              <a:ext cx="375285" cy="64769"/>
            </a:xfrm>
            <a:custGeom>
              <a:avLst/>
              <a:gdLst/>
              <a:ahLst/>
              <a:cxnLst/>
              <a:rect l="l" t="t" r="r" b="b"/>
              <a:pathLst>
                <a:path w="375284" h="64770">
                  <a:moveTo>
                    <a:pt x="0" y="63604"/>
                  </a:moveTo>
                  <a:lnTo>
                    <a:pt x="63588" y="62749"/>
                  </a:lnTo>
                  <a:lnTo>
                    <a:pt x="137532" y="54147"/>
                  </a:lnTo>
                  <a:lnTo>
                    <a:pt x="177977" y="47215"/>
                  </a:lnTo>
                  <a:lnTo>
                    <a:pt x="220519" y="38676"/>
                  </a:lnTo>
                  <a:lnTo>
                    <a:pt x="264994" y="28638"/>
                  </a:lnTo>
                  <a:lnTo>
                    <a:pt x="311237" y="17212"/>
                  </a:lnTo>
                  <a:lnTo>
                    <a:pt x="359085" y="4507"/>
                  </a:lnTo>
                  <a:lnTo>
                    <a:pt x="375099" y="0"/>
                  </a:lnTo>
                </a:path>
              </a:pathLst>
            </a:custGeom>
            <a:ln w="7620">
              <a:solidFill>
                <a:srgbClr val="231F20"/>
              </a:solidFill>
            </a:ln>
          </p:spPr>
          <p:txBody>
            <a:bodyPr wrap="square" lIns="0" tIns="0" rIns="0" bIns="0" rtlCol="0"/>
            <a:lstStyle/>
            <a:p>
              <a:endParaRPr sz="649"/>
            </a:p>
          </p:txBody>
        </p:sp>
        <p:sp>
          <p:nvSpPr>
            <p:cNvPr id="54" name="object 54"/>
            <p:cNvSpPr/>
            <p:nvPr/>
          </p:nvSpPr>
          <p:spPr>
            <a:xfrm>
              <a:off x="5398218" y="8954838"/>
              <a:ext cx="915669" cy="986790"/>
            </a:xfrm>
            <a:custGeom>
              <a:avLst/>
              <a:gdLst/>
              <a:ahLst/>
              <a:cxnLst/>
              <a:rect l="l" t="t" r="r" b="b"/>
              <a:pathLst>
                <a:path w="915670" h="986790">
                  <a:moveTo>
                    <a:pt x="722253" y="986701"/>
                  </a:moveTo>
                  <a:lnTo>
                    <a:pt x="651216" y="973890"/>
                  </a:lnTo>
                  <a:lnTo>
                    <a:pt x="597321" y="962492"/>
                  </a:lnTo>
                  <a:lnTo>
                    <a:pt x="545182" y="950046"/>
                  </a:lnTo>
                  <a:lnTo>
                    <a:pt x="494885" y="936580"/>
                  </a:lnTo>
                  <a:lnTo>
                    <a:pt x="446512" y="922123"/>
                  </a:lnTo>
                  <a:lnTo>
                    <a:pt x="400148" y="906705"/>
                  </a:lnTo>
                  <a:lnTo>
                    <a:pt x="355876" y="890355"/>
                  </a:lnTo>
                  <a:lnTo>
                    <a:pt x="313781" y="873104"/>
                  </a:lnTo>
                  <a:lnTo>
                    <a:pt x="273947" y="854979"/>
                  </a:lnTo>
                  <a:lnTo>
                    <a:pt x="236457" y="836011"/>
                  </a:lnTo>
                  <a:lnTo>
                    <a:pt x="201395" y="816230"/>
                  </a:lnTo>
                  <a:lnTo>
                    <a:pt x="168846" y="795663"/>
                  </a:lnTo>
                  <a:lnTo>
                    <a:pt x="111620" y="752295"/>
                  </a:lnTo>
                  <a:lnTo>
                    <a:pt x="65451" y="706142"/>
                  </a:lnTo>
                  <a:lnTo>
                    <a:pt x="31010" y="657439"/>
                  </a:lnTo>
                  <a:lnTo>
                    <a:pt x="8969" y="606422"/>
                  </a:lnTo>
                  <a:lnTo>
                    <a:pt x="0" y="553326"/>
                  </a:lnTo>
                  <a:lnTo>
                    <a:pt x="1975" y="515097"/>
                  </a:lnTo>
                  <a:lnTo>
                    <a:pt x="10860" y="477512"/>
                  </a:lnTo>
                  <a:lnTo>
                    <a:pt x="26366" y="440587"/>
                  </a:lnTo>
                  <a:lnTo>
                    <a:pt x="48204" y="404342"/>
                  </a:lnTo>
                  <a:lnTo>
                    <a:pt x="76085" y="368793"/>
                  </a:lnTo>
                  <a:lnTo>
                    <a:pt x="109722" y="333959"/>
                  </a:lnTo>
                  <a:lnTo>
                    <a:pt x="148825" y="299857"/>
                  </a:lnTo>
                  <a:lnTo>
                    <a:pt x="193106" y="266505"/>
                  </a:lnTo>
                  <a:lnTo>
                    <a:pt x="242277" y="233921"/>
                  </a:lnTo>
                  <a:lnTo>
                    <a:pt x="275993" y="214149"/>
                  </a:lnTo>
                  <a:lnTo>
                    <a:pt x="314414" y="193920"/>
                  </a:lnTo>
                  <a:lnTo>
                    <a:pt x="356917" y="173466"/>
                  </a:lnTo>
                  <a:lnTo>
                    <a:pt x="402877" y="153019"/>
                  </a:lnTo>
                  <a:lnTo>
                    <a:pt x="451670" y="132812"/>
                  </a:lnTo>
                  <a:lnTo>
                    <a:pt x="502671" y="113076"/>
                  </a:lnTo>
                  <a:lnTo>
                    <a:pt x="555258" y="94043"/>
                  </a:lnTo>
                  <a:lnTo>
                    <a:pt x="608805" y="75946"/>
                  </a:lnTo>
                  <a:lnTo>
                    <a:pt x="662688" y="59016"/>
                  </a:lnTo>
                  <a:lnTo>
                    <a:pt x="716283" y="43485"/>
                  </a:lnTo>
                  <a:lnTo>
                    <a:pt x="768966" y="29587"/>
                  </a:lnTo>
                  <a:lnTo>
                    <a:pt x="820113" y="17551"/>
                  </a:lnTo>
                  <a:lnTo>
                    <a:pt x="869099" y="7612"/>
                  </a:lnTo>
                  <a:lnTo>
                    <a:pt x="915301" y="0"/>
                  </a:lnTo>
                </a:path>
              </a:pathLst>
            </a:custGeom>
            <a:ln w="25400">
              <a:solidFill>
                <a:srgbClr val="231F20"/>
              </a:solidFill>
            </a:ln>
          </p:spPr>
          <p:txBody>
            <a:bodyPr wrap="square" lIns="0" tIns="0" rIns="0" bIns="0" rtlCol="0"/>
            <a:lstStyle/>
            <a:p>
              <a:endParaRPr sz="649"/>
            </a:p>
          </p:txBody>
        </p:sp>
        <p:sp>
          <p:nvSpPr>
            <p:cNvPr id="55" name="object 55"/>
            <p:cNvSpPr/>
            <p:nvPr/>
          </p:nvSpPr>
          <p:spPr>
            <a:xfrm>
              <a:off x="5398211" y="9468153"/>
              <a:ext cx="840740" cy="450215"/>
            </a:xfrm>
            <a:custGeom>
              <a:avLst/>
              <a:gdLst/>
              <a:ahLst/>
              <a:cxnLst/>
              <a:rect l="l" t="t" r="r" b="b"/>
              <a:pathLst>
                <a:path w="840739" h="450215">
                  <a:moveTo>
                    <a:pt x="840447" y="450215"/>
                  </a:moveTo>
                  <a:lnTo>
                    <a:pt x="763947" y="440092"/>
                  </a:lnTo>
                  <a:lnTo>
                    <a:pt x="706790" y="430882"/>
                  </a:lnTo>
                  <a:lnTo>
                    <a:pt x="651222" y="420563"/>
                  </a:lnTo>
                  <a:lnTo>
                    <a:pt x="597327" y="409166"/>
                  </a:lnTo>
                  <a:lnTo>
                    <a:pt x="545189" y="396720"/>
                  </a:lnTo>
                  <a:lnTo>
                    <a:pt x="494891" y="383253"/>
                  </a:lnTo>
                  <a:lnTo>
                    <a:pt x="446518" y="368796"/>
                  </a:lnTo>
                  <a:lnTo>
                    <a:pt x="400154" y="353379"/>
                  </a:lnTo>
                  <a:lnTo>
                    <a:pt x="355883" y="337029"/>
                  </a:lnTo>
                  <a:lnTo>
                    <a:pt x="313788" y="319777"/>
                  </a:lnTo>
                  <a:lnTo>
                    <a:pt x="273953" y="301653"/>
                  </a:lnTo>
                  <a:lnTo>
                    <a:pt x="236463" y="282685"/>
                  </a:lnTo>
                  <a:lnTo>
                    <a:pt x="201401" y="262903"/>
                  </a:lnTo>
                  <a:lnTo>
                    <a:pt x="168852" y="242337"/>
                  </a:lnTo>
                  <a:lnTo>
                    <a:pt x="111625" y="198969"/>
                  </a:lnTo>
                  <a:lnTo>
                    <a:pt x="65455" y="152815"/>
                  </a:lnTo>
                  <a:lnTo>
                    <a:pt x="31013" y="104112"/>
                  </a:lnTo>
                  <a:lnTo>
                    <a:pt x="8971" y="53095"/>
                  </a:lnTo>
                  <a:lnTo>
                    <a:pt x="2809" y="26793"/>
                  </a:lnTo>
                  <a:lnTo>
                    <a:pt x="0" y="0"/>
                  </a:lnTo>
                </a:path>
              </a:pathLst>
            </a:custGeom>
            <a:ln w="7620">
              <a:solidFill>
                <a:srgbClr val="231F20"/>
              </a:solidFill>
            </a:ln>
          </p:spPr>
          <p:txBody>
            <a:bodyPr wrap="square" lIns="0" tIns="0" rIns="0" bIns="0" rtlCol="0"/>
            <a:lstStyle/>
            <a:p>
              <a:endParaRPr sz="649"/>
            </a:p>
          </p:txBody>
        </p:sp>
        <p:sp>
          <p:nvSpPr>
            <p:cNvPr id="56" name="object 56"/>
            <p:cNvSpPr/>
            <p:nvPr/>
          </p:nvSpPr>
          <p:spPr>
            <a:xfrm>
              <a:off x="5141817" y="8136509"/>
              <a:ext cx="107314" cy="454659"/>
            </a:xfrm>
            <a:custGeom>
              <a:avLst/>
              <a:gdLst/>
              <a:ahLst/>
              <a:cxnLst/>
              <a:rect l="l" t="t" r="r" b="b"/>
              <a:pathLst>
                <a:path w="107314" h="454659">
                  <a:moveTo>
                    <a:pt x="0" y="0"/>
                  </a:moveTo>
                  <a:lnTo>
                    <a:pt x="14666" y="65768"/>
                  </a:lnTo>
                  <a:lnTo>
                    <a:pt x="30533" y="136357"/>
                  </a:lnTo>
                  <a:lnTo>
                    <a:pt x="45843" y="203828"/>
                  </a:lnTo>
                  <a:lnTo>
                    <a:pt x="60257" y="266588"/>
                  </a:lnTo>
                  <a:lnTo>
                    <a:pt x="73431" y="323048"/>
                  </a:lnTo>
                  <a:lnTo>
                    <a:pt x="85027" y="371617"/>
                  </a:lnTo>
                  <a:lnTo>
                    <a:pt x="94701" y="410704"/>
                  </a:lnTo>
                  <a:lnTo>
                    <a:pt x="102114" y="438717"/>
                  </a:lnTo>
                  <a:lnTo>
                    <a:pt x="106924" y="454067"/>
                  </a:lnTo>
                </a:path>
              </a:pathLst>
            </a:custGeom>
            <a:ln w="7619">
              <a:solidFill>
                <a:srgbClr val="231F20"/>
              </a:solidFill>
            </a:ln>
          </p:spPr>
          <p:txBody>
            <a:bodyPr wrap="square" lIns="0" tIns="0" rIns="0" bIns="0" rtlCol="0"/>
            <a:lstStyle/>
            <a:p>
              <a:endParaRPr sz="649"/>
            </a:p>
          </p:txBody>
        </p:sp>
        <p:sp>
          <p:nvSpPr>
            <p:cNvPr id="57" name="object 57"/>
            <p:cNvSpPr/>
            <p:nvPr/>
          </p:nvSpPr>
          <p:spPr>
            <a:xfrm>
              <a:off x="5248945" y="8468451"/>
              <a:ext cx="3810" cy="114935"/>
            </a:xfrm>
            <a:custGeom>
              <a:avLst/>
              <a:gdLst/>
              <a:ahLst/>
              <a:cxnLst/>
              <a:rect l="l" t="t" r="r" b="b"/>
              <a:pathLst>
                <a:path w="3810" h="114934">
                  <a:moveTo>
                    <a:pt x="3759" y="114668"/>
                  </a:moveTo>
                  <a:lnTo>
                    <a:pt x="2378" y="80099"/>
                  </a:lnTo>
                  <a:lnTo>
                    <a:pt x="1174" y="42532"/>
                  </a:lnTo>
                  <a:lnTo>
                    <a:pt x="323" y="12366"/>
                  </a:lnTo>
                  <a:lnTo>
                    <a:pt x="0" y="0"/>
                  </a:lnTo>
                </a:path>
              </a:pathLst>
            </a:custGeom>
            <a:ln w="25400">
              <a:solidFill>
                <a:srgbClr val="231F20"/>
              </a:solidFill>
            </a:ln>
          </p:spPr>
          <p:txBody>
            <a:bodyPr wrap="square" lIns="0" tIns="0" rIns="0" bIns="0" rtlCol="0"/>
            <a:lstStyle/>
            <a:p>
              <a:endParaRPr sz="649"/>
            </a:p>
          </p:txBody>
        </p:sp>
        <p:pic>
          <p:nvPicPr>
            <p:cNvPr id="58" name="object 58"/>
            <p:cNvPicPr/>
            <p:nvPr/>
          </p:nvPicPr>
          <p:blipFill>
            <a:blip r:embed="rId9" cstate="print"/>
            <a:stretch>
              <a:fillRect/>
            </a:stretch>
          </p:blipFill>
          <p:spPr>
            <a:xfrm>
              <a:off x="6309017" y="9301920"/>
              <a:ext cx="141719" cy="111848"/>
            </a:xfrm>
            <a:prstGeom prst="rect">
              <a:avLst/>
            </a:prstGeom>
          </p:spPr>
        </p:pic>
        <p:sp>
          <p:nvSpPr>
            <p:cNvPr id="59" name="object 59"/>
            <p:cNvSpPr/>
            <p:nvPr/>
          </p:nvSpPr>
          <p:spPr>
            <a:xfrm>
              <a:off x="5272001" y="8790562"/>
              <a:ext cx="27305" cy="142875"/>
            </a:xfrm>
            <a:custGeom>
              <a:avLst/>
              <a:gdLst/>
              <a:ahLst/>
              <a:cxnLst/>
              <a:rect l="l" t="t" r="r" b="b"/>
              <a:pathLst>
                <a:path w="27304" h="142875">
                  <a:moveTo>
                    <a:pt x="27304" y="142811"/>
                  </a:moveTo>
                  <a:lnTo>
                    <a:pt x="0" y="0"/>
                  </a:lnTo>
                </a:path>
              </a:pathLst>
            </a:custGeom>
            <a:ln w="7620">
              <a:solidFill>
                <a:srgbClr val="231F20"/>
              </a:solidFill>
            </a:ln>
          </p:spPr>
          <p:txBody>
            <a:bodyPr wrap="square" lIns="0" tIns="0" rIns="0" bIns="0" rtlCol="0"/>
            <a:lstStyle/>
            <a:p>
              <a:endParaRPr sz="649"/>
            </a:p>
          </p:txBody>
        </p:sp>
        <p:sp>
          <p:nvSpPr>
            <p:cNvPr id="60" name="object 60"/>
            <p:cNvSpPr/>
            <p:nvPr/>
          </p:nvSpPr>
          <p:spPr>
            <a:xfrm>
              <a:off x="5340401" y="8727074"/>
              <a:ext cx="1089025" cy="508634"/>
            </a:xfrm>
            <a:custGeom>
              <a:avLst/>
              <a:gdLst/>
              <a:ahLst/>
              <a:cxnLst/>
              <a:rect l="l" t="t" r="r" b="b"/>
              <a:pathLst>
                <a:path w="1089025" h="508634">
                  <a:moveTo>
                    <a:pt x="0" y="0"/>
                  </a:moveTo>
                  <a:lnTo>
                    <a:pt x="0" y="29997"/>
                  </a:lnTo>
                  <a:lnTo>
                    <a:pt x="35334" y="69433"/>
                  </a:lnTo>
                  <a:lnTo>
                    <a:pt x="71330" y="107170"/>
                  </a:lnTo>
                  <a:lnTo>
                    <a:pt x="108151" y="143233"/>
                  </a:lnTo>
                  <a:lnTo>
                    <a:pt x="145964" y="177647"/>
                  </a:lnTo>
                  <a:lnTo>
                    <a:pt x="184934" y="210438"/>
                  </a:lnTo>
                  <a:lnTo>
                    <a:pt x="225225" y="241633"/>
                  </a:lnTo>
                  <a:lnTo>
                    <a:pt x="267004" y="271256"/>
                  </a:lnTo>
                  <a:lnTo>
                    <a:pt x="310436" y="299333"/>
                  </a:lnTo>
                  <a:lnTo>
                    <a:pt x="355686" y="325889"/>
                  </a:lnTo>
                  <a:lnTo>
                    <a:pt x="402920" y="350951"/>
                  </a:lnTo>
                  <a:lnTo>
                    <a:pt x="453176" y="374792"/>
                  </a:lnTo>
                  <a:lnTo>
                    <a:pt x="504336" y="396296"/>
                  </a:lnTo>
                  <a:lnTo>
                    <a:pt x="556126" y="415564"/>
                  </a:lnTo>
                  <a:lnTo>
                    <a:pt x="608269" y="432696"/>
                  </a:lnTo>
                  <a:lnTo>
                    <a:pt x="660490" y="447791"/>
                  </a:lnTo>
                  <a:lnTo>
                    <a:pt x="712514" y="460951"/>
                  </a:lnTo>
                  <a:lnTo>
                    <a:pt x="764066" y="472274"/>
                  </a:lnTo>
                  <a:lnTo>
                    <a:pt x="814871" y="481863"/>
                  </a:lnTo>
                  <a:lnTo>
                    <a:pt x="864652" y="489816"/>
                  </a:lnTo>
                  <a:lnTo>
                    <a:pt x="913136" y="496234"/>
                  </a:lnTo>
                  <a:lnTo>
                    <a:pt x="960045" y="501217"/>
                  </a:lnTo>
                  <a:lnTo>
                    <a:pt x="1005106" y="504865"/>
                  </a:lnTo>
                  <a:lnTo>
                    <a:pt x="1048043" y="507279"/>
                  </a:lnTo>
                  <a:lnTo>
                    <a:pt x="1088580" y="508558"/>
                  </a:lnTo>
                  <a:lnTo>
                    <a:pt x="1086053" y="481914"/>
                  </a:lnTo>
                  <a:lnTo>
                    <a:pt x="1045550" y="480583"/>
                  </a:lnTo>
                  <a:lnTo>
                    <a:pt x="1002715" y="478030"/>
                  </a:lnTo>
                  <a:lnTo>
                    <a:pt x="957811" y="474170"/>
                  </a:lnTo>
                  <a:lnTo>
                    <a:pt x="911104" y="468916"/>
                  </a:lnTo>
                  <a:lnTo>
                    <a:pt x="862856" y="462184"/>
                  </a:lnTo>
                  <a:lnTo>
                    <a:pt x="813333" y="453888"/>
                  </a:lnTo>
                  <a:lnTo>
                    <a:pt x="762798" y="443942"/>
                  </a:lnTo>
                  <a:lnTo>
                    <a:pt x="711516" y="432261"/>
                  </a:lnTo>
                  <a:lnTo>
                    <a:pt x="659750" y="418759"/>
                  </a:lnTo>
                  <a:lnTo>
                    <a:pt x="607766" y="403351"/>
                  </a:lnTo>
                  <a:lnTo>
                    <a:pt x="555826" y="385950"/>
                  </a:lnTo>
                  <a:lnTo>
                    <a:pt x="504196" y="366472"/>
                  </a:lnTo>
                  <a:lnTo>
                    <a:pt x="453139" y="344831"/>
                  </a:lnTo>
                  <a:lnTo>
                    <a:pt x="402920" y="320941"/>
                  </a:lnTo>
                  <a:lnTo>
                    <a:pt x="355686" y="295879"/>
                  </a:lnTo>
                  <a:lnTo>
                    <a:pt x="310436" y="269323"/>
                  </a:lnTo>
                  <a:lnTo>
                    <a:pt x="267004" y="241246"/>
                  </a:lnTo>
                  <a:lnTo>
                    <a:pt x="225225" y="211624"/>
                  </a:lnTo>
                  <a:lnTo>
                    <a:pt x="184934" y="180430"/>
                  </a:lnTo>
                  <a:lnTo>
                    <a:pt x="145964" y="147640"/>
                  </a:lnTo>
                  <a:lnTo>
                    <a:pt x="108151" y="113227"/>
                  </a:lnTo>
                  <a:lnTo>
                    <a:pt x="71330" y="77166"/>
                  </a:lnTo>
                  <a:lnTo>
                    <a:pt x="35334" y="39432"/>
                  </a:lnTo>
                  <a:lnTo>
                    <a:pt x="0" y="0"/>
                  </a:lnTo>
                  <a:close/>
                </a:path>
              </a:pathLst>
            </a:custGeom>
            <a:solidFill>
              <a:srgbClr val="FFFFFF"/>
            </a:solidFill>
          </p:spPr>
          <p:txBody>
            <a:bodyPr wrap="square" lIns="0" tIns="0" rIns="0" bIns="0" rtlCol="0"/>
            <a:lstStyle/>
            <a:p>
              <a:endParaRPr sz="649"/>
            </a:p>
          </p:txBody>
        </p:sp>
        <p:sp>
          <p:nvSpPr>
            <p:cNvPr id="61" name="object 61"/>
            <p:cNvSpPr/>
            <p:nvPr/>
          </p:nvSpPr>
          <p:spPr>
            <a:xfrm>
              <a:off x="5340401" y="8727074"/>
              <a:ext cx="1089025" cy="508634"/>
            </a:xfrm>
            <a:custGeom>
              <a:avLst/>
              <a:gdLst/>
              <a:ahLst/>
              <a:cxnLst/>
              <a:rect l="l" t="t" r="r" b="b"/>
              <a:pathLst>
                <a:path w="1089025" h="508634">
                  <a:moveTo>
                    <a:pt x="0" y="0"/>
                  </a:moveTo>
                  <a:lnTo>
                    <a:pt x="35334" y="39432"/>
                  </a:lnTo>
                  <a:lnTo>
                    <a:pt x="71330" y="77166"/>
                  </a:lnTo>
                  <a:lnTo>
                    <a:pt x="108151" y="113227"/>
                  </a:lnTo>
                  <a:lnTo>
                    <a:pt x="145964" y="147640"/>
                  </a:lnTo>
                  <a:lnTo>
                    <a:pt x="184934" y="180430"/>
                  </a:lnTo>
                  <a:lnTo>
                    <a:pt x="225225" y="211624"/>
                  </a:lnTo>
                  <a:lnTo>
                    <a:pt x="267004" y="241246"/>
                  </a:lnTo>
                  <a:lnTo>
                    <a:pt x="310436" y="269323"/>
                  </a:lnTo>
                  <a:lnTo>
                    <a:pt x="355686" y="295879"/>
                  </a:lnTo>
                  <a:lnTo>
                    <a:pt x="402920" y="320941"/>
                  </a:lnTo>
                  <a:lnTo>
                    <a:pt x="453139" y="344831"/>
                  </a:lnTo>
                  <a:lnTo>
                    <a:pt x="504196" y="366472"/>
                  </a:lnTo>
                  <a:lnTo>
                    <a:pt x="555826" y="385950"/>
                  </a:lnTo>
                  <a:lnTo>
                    <a:pt x="607766" y="403351"/>
                  </a:lnTo>
                  <a:lnTo>
                    <a:pt x="659750" y="418759"/>
                  </a:lnTo>
                  <a:lnTo>
                    <a:pt x="711516" y="432261"/>
                  </a:lnTo>
                  <a:lnTo>
                    <a:pt x="762798" y="443942"/>
                  </a:lnTo>
                  <a:lnTo>
                    <a:pt x="813333" y="453888"/>
                  </a:lnTo>
                  <a:lnTo>
                    <a:pt x="862856" y="462184"/>
                  </a:lnTo>
                  <a:lnTo>
                    <a:pt x="911104" y="468916"/>
                  </a:lnTo>
                  <a:lnTo>
                    <a:pt x="957811" y="474170"/>
                  </a:lnTo>
                  <a:lnTo>
                    <a:pt x="1002715" y="478030"/>
                  </a:lnTo>
                  <a:lnTo>
                    <a:pt x="1045550" y="480583"/>
                  </a:lnTo>
                  <a:lnTo>
                    <a:pt x="1086053" y="481914"/>
                  </a:lnTo>
                  <a:lnTo>
                    <a:pt x="1088580" y="508558"/>
                  </a:lnTo>
                  <a:lnTo>
                    <a:pt x="1048043" y="507279"/>
                  </a:lnTo>
                  <a:lnTo>
                    <a:pt x="1005106" y="504865"/>
                  </a:lnTo>
                  <a:lnTo>
                    <a:pt x="960045" y="501217"/>
                  </a:lnTo>
                  <a:lnTo>
                    <a:pt x="913136" y="496234"/>
                  </a:lnTo>
                  <a:lnTo>
                    <a:pt x="864652" y="489816"/>
                  </a:lnTo>
                  <a:lnTo>
                    <a:pt x="814871" y="481863"/>
                  </a:lnTo>
                  <a:lnTo>
                    <a:pt x="764066" y="472274"/>
                  </a:lnTo>
                  <a:lnTo>
                    <a:pt x="712514" y="460951"/>
                  </a:lnTo>
                  <a:lnTo>
                    <a:pt x="660490" y="447791"/>
                  </a:lnTo>
                  <a:lnTo>
                    <a:pt x="608269" y="432696"/>
                  </a:lnTo>
                  <a:lnTo>
                    <a:pt x="556126" y="415564"/>
                  </a:lnTo>
                  <a:lnTo>
                    <a:pt x="504336" y="396296"/>
                  </a:lnTo>
                  <a:lnTo>
                    <a:pt x="453176" y="374792"/>
                  </a:lnTo>
                  <a:lnTo>
                    <a:pt x="402920" y="350951"/>
                  </a:lnTo>
                  <a:lnTo>
                    <a:pt x="355686" y="325889"/>
                  </a:lnTo>
                  <a:lnTo>
                    <a:pt x="310436" y="299333"/>
                  </a:lnTo>
                  <a:lnTo>
                    <a:pt x="267004" y="271256"/>
                  </a:lnTo>
                  <a:lnTo>
                    <a:pt x="225225" y="241633"/>
                  </a:lnTo>
                  <a:lnTo>
                    <a:pt x="184934" y="210438"/>
                  </a:lnTo>
                  <a:lnTo>
                    <a:pt x="145964" y="177647"/>
                  </a:lnTo>
                  <a:lnTo>
                    <a:pt x="108151" y="143233"/>
                  </a:lnTo>
                  <a:lnTo>
                    <a:pt x="71330" y="107170"/>
                  </a:lnTo>
                  <a:lnTo>
                    <a:pt x="35334" y="69433"/>
                  </a:lnTo>
                  <a:lnTo>
                    <a:pt x="0" y="29997"/>
                  </a:lnTo>
                  <a:lnTo>
                    <a:pt x="0" y="0"/>
                  </a:lnTo>
                </a:path>
              </a:pathLst>
            </a:custGeom>
            <a:ln w="7620">
              <a:solidFill>
                <a:srgbClr val="231F20"/>
              </a:solidFill>
            </a:ln>
          </p:spPr>
          <p:txBody>
            <a:bodyPr wrap="square" lIns="0" tIns="0" rIns="0" bIns="0" rtlCol="0"/>
            <a:lstStyle/>
            <a:p>
              <a:endParaRPr sz="649"/>
            </a:p>
          </p:txBody>
        </p:sp>
        <p:sp>
          <p:nvSpPr>
            <p:cNvPr id="62" name="object 62"/>
            <p:cNvSpPr/>
            <p:nvPr/>
          </p:nvSpPr>
          <p:spPr>
            <a:xfrm>
              <a:off x="5349120" y="8898003"/>
              <a:ext cx="1104265" cy="557530"/>
            </a:xfrm>
            <a:custGeom>
              <a:avLst/>
              <a:gdLst/>
              <a:ahLst/>
              <a:cxnLst/>
              <a:rect l="l" t="t" r="r" b="b"/>
              <a:pathLst>
                <a:path w="1104264" h="557529">
                  <a:moveTo>
                    <a:pt x="0" y="0"/>
                  </a:moveTo>
                  <a:lnTo>
                    <a:pt x="0" y="30010"/>
                  </a:lnTo>
                  <a:lnTo>
                    <a:pt x="18929" y="43041"/>
                  </a:lnTo>
                  <a:lnTo>
                    <a:pt x="41593" y="59982"/>
                  </a:lnTo>
                  <a:lnTo>
                    <a:pt x="98883" y="103922"/>
                  </a:lnTo>
                  <a:lnTo>
                    <a:pt x="133885" y="130087"/>
                  </a:lnTo>
                  <a:lnTo>
                    <a:pt x="173378" y="158494"/>
                  </a:lnTo>
                  <a:lnTo>
                    <a:pt x="217549" y="188725"/>
                  </a:lnTo>
                  <a:lnTo>
                    <a:pt x="266587" y="220364"/>
                  </a:lnTo>
                  <a:lnTo>
                    <a:pt x="320681" y="252994"/>
                  </a:lnTo>
                  <a:lnTo>
                    <a:pt x="380020" y="286197"/>
                  </a:lnTo>
                  <a:lnTo>
                    <a:pt x="444792" y="319557"/>
                  </a:lnTo>
                  <a:lnTo>
                    <a:pt x="493639" y="342663"/>
                  </a:lnTo>
                  <a:lnTo>
                    <a:pt x="545365" y="365404"/>
                  </a:lnTo>
                  <a:lnTo>
                    <a:pt x="599181" y="387634"/>
                  </a:lnTo>
                  <a:lnTo>
                    <a:pt x="654301" y="409209"/>
                  </a:lnTo>
                  <a:lnTo>
                    <a:pt x="709936" y="429985"/>
                  </a:lnTo>
                  <a:lnTo>
                    <a:pt x="765301" y="449818"/>
                  </a:lnTo>
                  <a:lnTo>
                    <a:pt x="819607" y="468561"/>
                  </a:lnTo>
                  <a:lnTo>
                    <a:pt x="872067" y="486072"/>
                  </a:lnTo>
                  <a:lnTo>
                    <a:pt x="921893" y="502205"/>
                  </a:lnTo>
                  <a:lnTo>
                    <a:pt x="968300" y="516816"/>
                  </a:lnTo>
                  <a:lnTo>
                    <a:pt x="1010498" y="529760"/>
                  </a:lnTo>
                  <a:lnTo>
                    <a:pt x="1047701" y="540894"/>
                  </a:lnTo>
                  <a:lnTo>
                    <a:pt x="1103972" y="557149"/>
                  </a:lnTo>
                  <a:lnTo>
                    <a:pt x="1101445" y="526707"/>
                  </a:lnTo>
                  <a:lnTo>
                    <a:pt x="1076627" y="519631"/>
                  </a:lnTo>
                  <a:lnTo>
                    <a:pt x="1008259" y="499359"/>
                  </a:lnTo>
                  <a:lnTo>
                    <a:pt x="966262" y="486449"/>
                  </a:lnTo>
                  <a:lnTo>
                    <a:pt x="920092" y="471878"/>
                  </a:lnTo>
                  <a:lnTo>
                    <a:pt x="870523" y="455789"/>
                  </a:lnTo>
                  <a:lnTo>
                    <a:pt x="818334" y="438326"/>
                  </a:lnTo>
                  <a:lnTo>
                    <a:pt x="764298" y="419630"/>
                  </a:lnTo>
                  <a:lnTo>
                    <a:pt x="709193" y="399843"/>
                  </a:lnTo>
                  <a:lnTo>
                    <a:pt x="653795" y="379109"/>
                  </a:lnTo>
                  <a:lnTo>
                    <a:pt x="598880" y="357570"/>
                  </a:lnTo>
                  <a:lnTo>
                    <a:pt x="545223" y="335368"/>
                  </a:lnTo>
                  <a:lnTo>
                    <a:pt x="493602" y="312646"/>
                  </a:lnTo>
                  <a:lnTo>
                    <a:pt x="444792" y="289547"/>
                  </a:lnTo>
                  <a:lnTo>
                    <a:pt x="380020" y="256190"/>
                  </a:lnTo>
                  <a:lnTo>
                    <a:pt x="320681" y="222989"/>
                  </a:lnTo>
                  <a:lnTo>
                    <a:pt x="266587" y="190362"/>
                  </a:lnTo>
                  <a:lnTo>
                    <a:pt x="217549" y="158724"/>
                  </a:lnTo>
                  <a:lnTo>
                    <a:pt x="173378" y="128493"/>
                  </a:lnTo>
                  <a:lnTo>
                    <a:pt x="133885" y="100087"/>
                  </a:lnTo>
                  <a:lnTo>
                    <a:pt x="98883" y="73920"/>
                  </a:lnTo>
                  <a:lnTo>
                    <a:pt x="41593" y="29977"/>
                  </a:lnTo>
                  <a:lnTo>
                    <a:pt x="18929" y="13034"/>
                  </a:lnTo>
                  <a:lnTo>
                    <a:pt x="0" y="0"/>
                  </a:lnTo>
                  <a:close/>
                </a:path>
              </a:pathLst>
            </a:custGeom>
            <a:solidFill>
              <a:srgbClr val="FFFFFF"/>
            </a:solidFill>
          </p:spPr>
          <p:txBody>
            <a:bodyPr wrap="square" lIns="0" tIns="0" rIns="0" bIns="0" rtlCol="0"/>
            <a:lstStyle/>
            <a:p>
              <a:endParaRPr sz="649"/>
            </a:p>
          </p:txBody>
        </p:sp>
        <p:sp>
          <p:nvSpPr>
            <p:cNvPr id="63" name="object 63"/>
            <p:cNvSpPr/>
            <p:nvPr/>
          </p:nvSpPr>
          <p:spPr>
            <a:xfrm>
              <a:off x="5349120" y="8898003"/>
              <a:ext cx="1104265" cy="557530"/>
            </a:xfrm>
            <a:custGeom>
              <a:avLst/>
              <a:gdLst/>
              <a:ahLst/>
              <a:cxnLst/>
              <a:rect l="l" t="t" r="r" b="b"/>
              <a:pathLst>
                <a:path w="1104264" h="557529">
                  <a:moveTo>
                    <a:pt x="0" y="0"/>
                  </a:moveTo>
                  <a:lnTo>
                    <a:pt x="18929" y="13034"/>
                  </a:lnTo>
                  <a:lnTo>
                    <a:pt x="41593" y="29977"/>
                  </a:lnTo>
                  <a:lnTo>
                    <a:pt x="68181" y="50411"/>
                  </a:lnTo>
                  <a:lnTo>
                    <a:pt x="98883" y="73920"/>
                  </a:lnTo>
                  <a:lnTo>
                    <a:pt x="133885" y="100087"/>
                  </a:lnTo>
                  <a:lnTo>
                    <a:pt x="173378" y="128493"/>
                  </a:lnTo>
                  <a:lnTo>
                    <a:pt x="217549" y="158724"/>
                  </a:lnTo>
                  <a:lnTo>
                    <a:pt x="266587" y="190362"/>
                  </a:lnTo>
                  <a:lnTo>
                    <a:pt x="320681" y="222989"/>
                  </a:lnTo>
                  <a:lnTo>
                    <a:pt x="380020" y="256190"/>
                  </a:lnTo>
                  <a:lnTo>
                    <a:pt x="444792" y="289547"/>
                  </a:lnTo>
                  <a:lnTo>
                    <a:pt x="493602" y="312646"/>
                  </a:lnTo>
                  <a:lnTo>
                    <a:pt x="545223" y="335368"/>
                  </a:lnTo>
                  <a:lnTo>
                    <a:pt x="598880" y="357570"/>
                  </a:lnTo>
                  <a:lnTo>
                    <a:pt x="653795" y="379109"/>
                  </a:lnTo>
                  <a:lnTo>
                    <a:pt x="709193" y="399843"/>
                  </a:lnTo>
                  <a:lnTo>
                    <a:pt x="764298" y="419630"/>
                  </a:lnTo>
                  <a:lnTo>
                    <a:pt x="818334" y="438326"/>
                  </a:lnTo>
                  <a:lnTo>
                    <a:pt x="870523" y="455789"/>
                  </a:lnTo>
                  <a:lnTo>
                    <a:pt x="920092" y="471878"/>
                  </a:lnTo>
                  <a:lnTo>
                    <a:pt x="966262" y="486449"/>
                  </a:lnTo>
                  <a:lnTo>
                    <a:pt x="1008259" y="499359"/>
                  </a:lnTo>
                  <a:lnTo>
                    <a:pt x="1045306" y="510468"/>
                  </a:lnTo>
                  <a:lnTo>
                    <a:pt x="1101445" y="526707"/>
                  </a:lnTo>
                  <a:lnTo>
                    <a:pt x="1103972" y="557149"/>
                  </a:lnTo>
                  <a:lnTo>
                    <a:pt x="1047701" y="540894"/>
                  </a:lnTo>
                  <a:lnTo>
                    <a:pt x="1010498" y="529760"/>
                  </a:lnTo>
                  <a:lnTo>
                    <a:pt x="968300" y="516816"/>
                  </a:lnTo>
                  <a:lnTo>
                    <a:pt x="921893" y="502205"/>
                  </a:lnTo>
                  <a:lnTo>
                    <a:pt x="872067" y="486072"/>
                  </a:lnTo>
                  <a:lnTo>
                    <a:pt x="819607" y="468561"/>
                  </a:lnTo>
                  <a:lnTo>
                    <a:pt x="765301" y="449818"/>
                  </a:lnTo>
                  <a:lnTo>
                    <a:pt x="709936" y="429985"/>
                  </a:lnTo>
                  <a:lnTo>
                    <a:pt x="654301" y="409209"/>
                  </a:lnTo>
                  <a:lnTo>
                    <a:pt x="599181" y="387634"/>
                  </a:lnTo>
                  <a:lnTo>
                    <a:pt x="545365" y="365404"/>
                  </a:lnTo>
                  <a:lnTo>
                    <a:pt x="493639" y="342663"/>
                  </a:lnTo>
                  <a:lnTo>
                    <a:pt x="444792" y="319557"/>
                  </a:lnTo>
                  <a:lnTo>
                    <a:pt x="380020" y="286197"/>
                  </a:lnTo>
                  <a:lnTo>
                    <a:pt x="320681" y="252994"/>
                  </a:lnTo>
                  <a:lnTo>
                    <a:pt x="266587" y="220364"/>
                  </a:lnTo>
                  <a:lnTo>
                    <a:pt x="217549" y="188725"/>
                  </a:lnTo>
                  <a:lnTo>
                    <a:pt x="173378" y="158494"/>
                  </a:lnTo>
                  <a:lnTo>
                    <a:pt x="133885" y="130087"/>
                  </a:lnTo>
                  <a:lnTo>
                    <a:pt x="98883" y="103922"/>
                  </a:lnTo>
                  <a:lnTo>
                    <a:pt x="68181" y="80414"/>
                  </a:lnTo>
                  <a:lnTo>
                    <a:pt x="41593" y="59982"/>
                  </a:lnTo>
                  <a:lnTo>
                    <a:pt x="18929" y="43041"/>
                  </a:lnTo>
                  <a:lnTo>
                    <a:pt x="0" y="30010"/>
                  </a:lnTo>
                  <a:lnTo>
                    <a:pt x="0" y="0"/>
                  </a:lnTo>
                </a:path>
              </a:pathLst>
            </a:custGeom>
            <a:ln w="7620">
              <a:solidFill>
                <a:srgbClr val="231F20"/>
              </a:solidFill>
            </a:ln>
          </p:spPr>
          <p:txBody>
            <a:bodyPr wrap="square" lIns="0" tIns="0" rIns="0" bIns="0" rtlCol="0"/>
            <a:lstStyle/>
            <a:p>
              <a:endParaRPr sz="649"/>
            </a:p>
          </p:txBody>
        </p:sp>
        <p:sp>
          <p:nvSpPr>
            <p:cNvPr id="64" name="object 64"/>
            <p:cNvSpPr/>
            <p:nvPr/>
          </p:nvSpPr>
          <p:spPr>
            <a:xfrm>
              <a:off x="5144420" y="8504856"/>
              <a:ext cx="1248410" cy="454659"/>
            </a:xfrm>
            <a:custGeom>
              <a:avLst/>
              <a:gdLst/>
              <a:ahLst/>
              <a:cxnLst/>
              <a:rect l="l" t="t" r="r" b="b"/>
              <a:pathLst>
                <a:path w="1248410" h="454659">
                  <a:moveTo>
                    <a:pt x="0" y="0"/>
                  </a:moveTo>
                  <a:lnTo>
                    <a:pt x="11869" y="76349"/>
                  </a:lnTo>
                  <a:lnTo>
                    <a:pt x="27699" y="142527"/>
                  </a:lnTo>
                  <a:lnTo>
                    <a:pt x="47921" y="205807"/>
                  </a:lnTo>
                  <a:lnTo>
                    <a:pt x="70878" y="250012"/>
                  </a:lnTo>
                  <a:lnTo>
                    <a:pt x="112416" y="272282"/>
                  </a:lnTo>
                  <a:lnTo>
                    <a:pt x="153321" y="289842"/>
                  </a:lnTo>
                  <a:lnTo>
                    <a:pt x="203554" y="309559"/>
                  </a:lnTo>
                  <a:lnTo>
                    <a:pt x="260041" y="329839"/>
                  </a:lnTo>
                  <a:lnTo>
                    <a:pt x="319711" y="349088"/>
                  </a:lnTo>
                  <a:lnTo>
                    <a:pt x="379491" y="365712"/>
                  </a:lnTo>
                  <a:lnTo>
                    <a:pt x="436308" y="378117"/>
                  </a:lnTo>
                  <a:lnTo>
                    <a:pt x="569360" y="400948"/>
                  </a:lnTo>
                  <a:lnTo>
                    <a:pt x="698241" y="416515"/>
                  </a:lnTo>
                  <a:lnTo>
                    <a:pt x="899028" y="431977"/>
                  </a:lnTo>
                  <a:lnTo>
                    <a:pt x="1247800" y="454494"/>
                  </a:lnTo>
                  <a:lnTo>
                    <a:pt x="1221263" y="442631"/>
                  </a:lnTo>
                  <a:lnTo>
                    <a:pt x="1183294" y="411479"/>
                  </a:lnTo>
                  <a:lnTo>
                    <a:pt x="1138329" y="367689"/>
                  </a:lnTo>
                  <a:lnTo>
                    <a:pt x="1090806" y="317917"/>
                  </a:lnTo>
                  <a:lnTo>
                    <a:pt x="1045163" y="268816"/>
                  </a:lnTo>
                  <a:lnTo>
                    <a:pt x="1005838" y="227039"/>
                  </a:lnTo>
                  <a:lnTo>
                    <a:pt x="977268" y="199241"/>
                  </a:lnTo>
                  <a:lnTo>
                    <a:pt x="963891" y="192074"/>
                  </a:lnTo>
                  <a:lnTo>
                    <a:pt x="956620" y="193175"/>
                  </a:lnTo>
                  <a:lnTo>
                    <a:pt x="857193" y="212827"/>
                  </a:lnTo>
                  <a:lnTo>
                    <a:pt x="805149" y="222473"/>
                  </a:lnTo>
                  <a:lnTo>
                    <a:pt x="747138" y="232490"/>
                  </a:lnTo>
                  <a:lnTo>
                    <a:pt x="685252" y="242171"/>
                  </a:lnTo>
                  <a:lnTo>
                    <a:pt x="621581" y="250811"/>
                  </a:lnTo>
                  <a:lnTo>
                    <a:pt x="558216" y="257702"/>
                  </a:lnTo>
                  <a:lnTo>
                    <a:pt x="497249" y="262139"/>
                  </a:lnTo>
                  <a:lnTo>
                    <a:pt x="440769" y="263416"/>
                  </a:lnTo>
                  <a:lnTo>
                    <a:pt x="390867" y="260827"/>
                  </a:lnTo>
                  <a:lnTo>
                    <a:pt x="349635" y="253665"/>
                  </a:lnTo>
                  <a:lnTo>
                    <a:pt x="256411" y="198966"/>
                  </a:lnTo>
                  <a:lnTo>
                    <a:pt x="198281" y="155172"/>
                  </a:lnTo>
                  <a:lnTo>
                    <a:pt x="145729" y="112341"/>
                  </a:lnTo>
                  <a:lnTo>
                    <a:pt x="99707" y="72967"/>
                  </a:lnTo>
                  <a:lnTo>
                    <a:pt x="61170" y="39550"/>
                  </a:lnTo>
                  <a:lnTo>
                    <a:pt x="31070" y="14584"/>
                  </a:lnTo>
                  <a:lnTo>
                    <a:pt x="10362" y="569"/>
                  </a:lnTo>
                  <a:lnTo>
                    <a:pt x="0" y="0"/>
                  </a:lnTo>
                  <a:close/>
                </a:path>
              </a:pathLst>
            </a:custGeom>
            <a:solidFill>
              <a:srgbClr val="FFFFFF"/>
            </a:solidFill>
          </p:spPr>
          <p:txBody>
            <a:bodyPr wrap="square" lIns="0" tIns="0" rIns="0" bIns="0" rtlCol="0"/>
            <a:lstStyle/>
            <a:p>
              <a:endParaRPr sz="649"/>
            </a:p>
          </p:txBody>
        </p:sp>
        <p:sp>
          <p:nvSpPr>
            <p:cNvPr id="65" name="object 65"/>
            <p:cNvSpPr/>
            <p:nvPr/>
          </p:nvSpPr>
          <p:spPr>
            <a:xfrm>
              <a:off x="5144420" y="8504856"/>
              <a:ext cx="1248410" cy="454659"/>
            </a:xfrm>
            <a:custGeom>
              <a:avLst/>
              <a:gdLst/>
              <a:ahLst/>
              <a:cxnLst/>
              <a:rect l="l" t="t" r="r" b="b"/>
              <a:pathLst>
                <a:path w="1248410" h="454659">
                  <a:moveTo>
                    <a:pt x="70878" y="250012"/>
                  </a:moveTo>
                  <a:lnTo>
                    <a:pt x="47921" y="205807"/>
                  </a:lnTo>
                  <a:lnTo>
                    <a:pt x="27699" y="142527"/>
                  </a:lnTo>
                  <a:lnTo>
                    <a:pt x="11869" y="76349"/>
                  </a:lnTo>
                  <a:lnTo>
                    <a:pt x="2084" y="23448"/>
                  </a:lnTo>
                  <a:lnTo>
                    <a:pt x="0" y="0"/>
                  </a:lnTo>
                  <a:lnTo>
                    <a:pt x="10362" y="569"/>
                  </a:lnTo>
                  <a:lnTo>
                    <a:pt x="31070" y="14584"/>
                  </a:lnTo>
                  <a:lnTo>
                    <a:pt x="61170" y="39550"/>
                  </a:lnTo>
                  <a:lnTo>
                    <a:pt x="99707" y="72967"/>
                  </a:lnTo>
                  <a:lnTo>
                    <a:pt x="145729" y="112341"/>
                  </a:lnTo>
                  <a:lnTo>
                    <a:pt x="198281" y="155172"/>
                  </a:lnTo>
                  <a:lnTo>
                    <a:pt x="256411" y="198966"/>
                  </a:lnTo>
                  <a:lnTo>
                    <a:pt x="319163" y="241223"/>
                  </a:lnTo>
                  <a:lnTo>
                    <a:pt x="390867" y="260827"/>
                  </a:lnTo>
                  <a:lnTo>
                    <a:pt x="440769" y="263416"/>
                  </a:lnTo>
                  <a:lnTo>
                    <a:pt x="497249" y="262139"/>
                  </a:lnTo>
                  <a:lnTo>
                    <a:pt x="558216" y="257702"/>
                  </a:lnTo>
                  <a:lnTo>
                    <a:pt x="621581" y="250811"/>
                  </a:lnTo>
                  <a:lnTo>
                    <a:pt x="685252" y="242171"/>
                  </a:lnTo>
                  <a:lnTo>
                    <a:pt x="747138" y="232490"/>
                  </a:lnTo>
                  <a:lnTo>
                    <a:pt x="805149" y="222473"/>
                  </a:lnTo>
                  <a:lnTo>
                    <a:pt x="857193" y="212827"/>
                  </a:lnTo>
                  <a:lnTo>
                    <a:pt x="901180" y="204258"/>
                  </a:lnTo>
                  <a:lnTo>
                    <a:pt x="935020" y="197472"/>
                  </a:lnTo>
                  <a:lnTo>
                    <a:pt x="956620" y="193175"/>
                  </a:lnTo>
                  <a:lnTo>
                    <a:pt x="1005838" y="227039"/>
                  </a:lnTo>
                  <a:lnTo>
                    <a:pt x="1045163" y="268816"/>
                  </a:lnTo>
                  <a:lnTo>
                    <a:pt x="1090806" y="317917"/>
                  </a:lnTo>
                  <a:lnTo>
                    <a:pt x="1138329" y="367689"/>
                  </a:lnTo>
                  <a:lnTo>
                    <a:pt x="1183294" y="411479"/>
                  </a:lnTo>
                  <a:lnTo>
                    <a:pt x="1221263" y="442631"/>
                  </a:lnTo>
                  <a:lnTo>
                    <a:pt x="1247800" y="454494"/>
                  </a:lnTo>
                  <a:lnTo>
                    <a:pt x="899028" y="431977"/>
                  </a:lnTo>
                  <a:lnTo>
                    <a:pt x="698241" y="416515"/>
                  </a:lnTo>
                  <a:lnTo>
                    <a:pt x="569360" y="400948"/>
                  </a:lnTo>
                  <a:lnTo>
                    <a:pt x="436308" y="378117"/>
                  </a:lnTo>
                  <a:lnTo>
                    <a:pt x="379491" y="365712"/>
                  </a:lnTo>
                  <a:lnTo>
                    <a:pt x="319711" y="349088"/>
                  </a:lnTo>
                  <a:lnTo>
                    <a:pt x="260041" y="329839"/>
                  </a:lnTo>
                  <a:lnTo>
                    <a:pt x="203554" y="309559"/>
                  </a:lnTo>
                  <a:lnTo>
                    <a:pt x="153321" y="289842"/>
                  </a:lnTo>
                  <a:lnTo>
                    <a:pt x="112416" y="272282"/>
                  </a:lnTo>
                  <a:lnTo>
                    <a:pt x="83911" y="258474"/>
                  </a:lnTo>
                  <a:lnTo>
                    <a:pt x="70878" y="250012"/>
                  </a:lnTo>
                </a:path>
              </a:pathLst>
            </a:custGeom>
            <a:ln w="25399">
              <a:solidFill>
                <a:srgbClr val="231F20"/>
              </a:solidFill>
            </a:ln>
          </p:spPr>
          <p:txBody>
            <a:bodyPr wrap="square" lIns="0" tIns="0" rIns="0" bIns="0" rtlCol="0"/>
            <a:lstStyle/>
            <a:p>
              <a:endParaRPr sz="649"/>
            </a:p>
          </p:txBody>
        </p:sp>
        <p:sp>
          <p:nvSpPr>
            <p:cNvPr id="66" name="object 66"/>
            <p:cNvSpPr/>
            <p:nvPr/>
          </p:nvSpPr>
          <p:spPr>
            <a:xfrm>
              <a:off x="5179951" y="8559882"/>
              <a:ext cx="519430" cy="277495"/>
            </a:xfrm>
            <a:custGeom>
              <a:avLst/>
              <a:gdLst/>
              <a:ahLst/>
              <a:cxnLst/>
              <a:rect l="l" t="t" r="r" b="b"/>
              <a:pathLst>
                <a:path w="519429" h="277495">
                  <a:moveTo>
                    <a:pt x="0" y="0"/>
                  </a:moveTo>
                  <a:lnTo>
                    <a:pt x="8801" y="41071"/>
                  </a:lnTo>
                  <a:lnTo>
                    <a:pt x="43306" y="75930"/>
                  </a:lnTo>
                  <a:lnTo>
                    <a:pt x="126926" y="153320"/>
                  </a:lnTo>
                  <a:lnTo>
                    <a:pt x="229821" y="232463"/>
                  </a:lnTo>
                  <a:lnTo>
                    <a:pt x="322148" y="272580"/>
                  </a:lnTo>
                  <a:lnTo>
                    <a:pt x="366348" y="275675"/>
                  </a:lnTo>
                  <a:lnTo>
                    <a:pt x="411838" y="277167"/>
                  </a:lnTo>
                  <a:lnTo>
                    <a:pt x="458172" y="277227"/>
                  </a:lnTo>
                  <a:lnTo>
                    <a:pt x="504901" y="276021"/>
                  </a:lnTo>
                  <a:lnTo>
                    <a:pt x="519150" y="229717"/>
                  </a:lnTo>
                  <a:lnTo>
                    <a:pt x="463838" y="232848"/>
                  </a:lnTo>
                  <a:lnTo>
                    <a:pt x="409274" y="234295"/>
                  </a:lnTo>
                  <a:lnTo>
                    <a:pt x="356357" y="233743"/>
                  </a:lnTo>
                  <a:lnTo>
                    <a:pt x="305981" y="230873"/>
                  </a:lnTo>
                  <a:lnTo>
                    <a:pt x="246236" y="222629"/>
                  </a:lnTo>
                  <a:lnTo>
                    <a:pt x="194448" y="195832"/>
                  </a:lnTo>
                  <a:lnTo>
                    <a:pt x="121931" y="128837"/>
                  </a:lnTo>
                  <a:lnTo>
                    <a:pt x="0" y="0"/>
                  </a:lnTo>
                  <a:close/>
                </a:path>
              </a:pathLst>
            </a:custGeom>
            <a:solidFill>
              <a:srgbClr val="E2E3E4"/>
            </a:solidFill>
          </p:spPr>
          <p:txBody>
            <a:bodyPr wrap="square" lIns="0" tIns="0" rIns="0" bIns="0" rtlCol="0"/>
            <a:lstStyle/>
            <a:p>
              <a:endParaRPr sz="649"/>
            </a:p>
          </p:txBody>
        </p:sp>
        <p:sp>
          <p:nvSpPr>
            <p:cNvPr id="67" name="object 67"/>
            <p:cNvSpPr/>
            <p:nvPr/>
          </p:nvSpPr>
          <p:spPr>
            <a:xfrm>
              <a:off x="5179951" y="8559882"/>
              <a:ext cx="519430" cy="277495"/>
            </a:xfrm>
            <a:custGeom>
              <a:avLst/>
              <a:gdLst/>
              <a:ahLst/>
              <a:cxnLst/>
              <a:rect l="l" t="t" r="r" b="b"/>
              <a:pathLst>
                <a:path w="519429" h="277495">
                  <a:moveTo>
                    <a:pt x="504901" y="276021"/>
                  </a:moveTo>
                  <a:lnTo>
                    <a:pt x="458172" y="277227"/>
                  </a:lnTo>
                  <a:lnTo>
                    <a:pt x="411838" y="277167"/>
                  </a:lnTo>
                  <a:lnTo>
                    <a:pt x="366348" y="275675"/>
                  </a:lnTo>
                  <a:lnTo>
                    <a:pt x="322148" y="272580"/>
                  </a:lnTo>
                  <a:lnTo>
                    <a:pt x="229821" y="232463"/>
                  </a:lnTo>
                  <a:lnTo>
                    <a:pt x="126926" y="153320"/>
                  </a:lnTo>
                  <a:lnTo>
                    <a:pt x="43306" y="75930"/>
                  </a:lnTo>
                  <a:lnTo>
                    <a:pt x="8801" y="41071"/>
                  </a:lnTo>
                  <a:lnTo>
                    <a:pt x="0" y="0"/>
                  </a:lnTo>
                  <a:lnTo>
                    <a:pt x="121931" y="128837"/>
                  </a:lnTo>
                  <a:lnTo>
                    <a:pt x="194448" y="195832"/>
                  </a:lnTo>
                  <a:lnTo>
                    <a:pt x="246236" y="222629"/>
                  </a:lnTo>
                  <a:lnTo>
                    <a:pt x="305981" y="230873"/>
                  </a:lnTo>
                  <a:lnTo>
                    <a:pt x="356357" y="233743"/>
                  </a:lnTo>
                  <a:lnTo>
                    <a:pt x="409274" y="234295"/>
                  </a:lnTo>
                  <a:lnTo>
                    <a:pt x="463838" y="232848"/>
                  </a:lnTo>
                  <a:lnTo>
                    <a:pt x="519150" y="229717"/>
                  </a:lnTo>
                  <a:lnTo>
                    <a:pt x="504901" y="276021"/>
                  </a:lnTo>
                </a:path>
              </a:pathLst>
            </a:custGeom>
            <a:ln w="7619">
              <a:solidFill>
                <a:srgbClr val="231F20"/>
              </a:solidFill>
            </a:ln>
          </p:spPr>
          <p:txBody>
            <a:bodyPr wrap="square" lIns="0" tIns="0" rIns="0" bIns="0" rtlCol="0"/>
            <a:lstStyle/>
            <a:p>
              <a:endParaRPr sz="649"/>
            </a:p>
          </p:txBody>
        </p:sp>
        <p:sp>
          <p:nvSpPr>
            <p:cNvPr id="68" name="object 68"/>
            <p:cNvSpPr/>
            <p:nvPr/>
          </p:nvSpPr>
          <p:spPr>
            <a:xfrm>
              <a:off x="5682744" y="8733804"/>
              <a:ext cx="448309" cy="102235"/>
            </a:xfrm>
            <a:custGeom>
              <a:avLst/>
              <a:gdLst/>
              <a:ahLst/>
              <a:cxnLst/>
              <a:rect l="l" t="t" r="r" b="b"/>
              <a:pathLst>
                <a:path w="448310" h="102234">
                  <a:moveTo>
                    <a:pt x="418490" y="0"/>
                  </a:moveTo>
                  <a:lnTo>
                    <a:pt x="384135" y="6726"/>
                  </a:lnTo>
                  <a:lnTo>
                    <a:pt x="293366" y="22585"/>
                  </a:lnTo>
                  <a:lnTo>
                    <a:pt x="164626" y="41099"/>
                  </a:lnTo>
                  <a:lnTo>
                    <a:pt x="16357" y="55791"/>
                  </a:lnTo>
                  <a:lnTo>
                    <a:pt x="0" y="102006"/>
                  </a:lnTo>
                  <a:lnTo>
                    <a:pt x="132878" y="96369"/>
                  </a:lnTo>
                  <a:lnTo>
                    <a:pt x="223826" y="88823"/>
                  </a:lnTo>
                  <a:lnTo>
                    <a:pt x="314833" y="74267"/>
                  </a:lnTo>
                  <a:lnTo>
                    <a:pt x="447890" y="47599"/>
                  </a:lnTo>
                  <a:lnTo>
                    <a:pt x="418490" y="0"/>
                  </a:lnTo>
                  <a:close/>
                </a:path>
              </a:pathLst>
            </a:custGeom>
            <a:solidFill>
              <a:srgbClr val="808285"/>
            </a:solidFill>
          </p:spPr>
          <p:txBody>
            <a:bodyPr wrap="square" lIns="0" tIns="0" rIns="0" bIns="0" rtlCol="0"/>
            <a:lstStyle/>
            <a:p>
              <a:endParaRPr sz="649"/>
            </a:p>
          </p:txBody>
        </p:sp>
        <p:sp>
          <p:nvSpPr>
            <p:cNvPr id="69" name="object 69"/>
            <p:cNvSpPr/>
            <p:nvPr/>
          </p:nvSpPr>
          <p:spPr>
            <a:xfrm>
              <a:off x="5682744" y="8733804"/>
              <a:ext cx="448309" cy="102235"/>
            </a:xfrm>
            <a:custGeom>
              <a:avLst/>
              <a:gdLst/>
              <a:ahLst/>
              <a:cxnLst/>
              <a:rect l="l" t="t" r="r" b="b"/>
              <a:pathLst>
                <a:path w="448310" h="102234">
                  <a:moveTo>
                    <a:pt x="16357" y="55791"/>
                  </a:moveTo>
                  <a:lnTo>
                    <a:pt x="164626" y="41099"/>
                  </a:lnTo>
                  <a:lnTo>
                    <a:pt x="293366" y="22585"/>
                  </a:lnTo>
                  <a:lnTo>
                    <a:pt x="384135" y="6726"/>
                  </a:lnTo>
                  <a:lnTo>
                    <a:pt x="418490" y="0"/>
                  </a:lnTo>
                  <a:lnTo>
                    <a:pt x="447890" y="47599"/>
                  </a:lnTo>
                  <a:lnTo>
                    <a:pt x="314833" y="74267"/>
                  </a:lnTo>
                  <a:lnTo>
                    <a:pt x="223826" y="88823"/>
                  </a:lnTo>
                  <a:lnTo>
                    <a:pt x="132878" y="96369"/>
                  </a:lnTo>
                  <a:lnTo>
                    <a:pt x="0" y="102006"/>
                  </a:lnTo>
                  <a:lnTo>
                    <a:pt x="16357" y="55791"/>
                  </a:lnTo>
                </a:path>
              </a:pathLst>
            </a:custGeom>
            <a:ln w="7619">
              <a:solidFill>
                <a:srgbClr val="231F20"/>
              </a:solidFill>
            </a:ln>
          </p:spPr>
          <p:txBody>
            <a:bodyPr wrap="square" lIns="0" tIns="0" rIns="0" bIns="0" rtlCol="0"/>
            <a:lstStyle/>
            <a:p>
              <a:endParaRPr sz="649"/>
            </a:p>
          </p:txBody>
        </p:sp>
        <p:pic>
          <p:nvPicPr>
            <p:cNvPr id="70" name="object 70"/>
            <p:cNvPicPr/>
            <p:nvPr/>
          </p:nvPicPr>
          <p:blipFill>
            <a:blip r:embed="rId10" cstate="print"/>
            <a:stretch>
              <a:fillRect/>
            </a:stretch>
          </p:blipFill>
          <p:spPr>
            <a:xfrm>
              <a:off x="6075485" y="8762319"/>
              <a:ext cx="132867" cy="96685"/>
            </a:xfrm>
            <a:prstGeom prst="rect">
              <a:avLst/>
            </a:prstGeom>
          </p:spPr>
        </p:pic>
        <p:pic>
          <p:nvPicPr>
            <p:cNvPr id="71" name="object 71"/>
            <p:cNvPicPr/>
            <p:nvPr/>
          </p:nvPicPr>
          <p:blipFill>
            <a:blip r:embed="rId11" cstate="print"/>
            <a:stretch>
              <a:fillRect/>
            </a:stretch>
          </p:blipFill>
          <p:spPr>
            <a:xfrm>
              <a:off x="5165284" y="8606148"/>
              <a:ext cx="87464" cy="127406"/>
            </a:xfrm>
            <a:prstGeom prst="rect">
              <a:avLst/>
            </a:prstGeom>
          </p:spPr>
        </p:pic>
        <p:pic>
          <p:nvPicPr>
            <p:cNvPr id="72" name="object 72"/>
            <p:cNvPicPr/>
            <p:nvPr/>
          </p:nvPicPr>
          <p:blipFill>
            <a:blip r:embed="rId12" cstate="print"/>
            <a:stretch>
              <a:fillRect/>
            </a:stretch>
          </p:blipFill>
          <p:spPr>
            <a:xfrm>
              <a:off x="5274781" y="8808332"/>
              <a:ext cx="118922" cy="131533"/>
            </a:xfrm>
            <a:prstGeom prst="rect">
              <a:avLst/>
            </a:prstGeom>
          </p:spPr>
        </p:pic>
        <p:sp>
          <p:nvSpPr>
            <p:cNvPr id="73" name="object 73"/>
            <p:cNvSpPr/>
            <p:nvPr/>
          </p:nvSpPr>
          <p:spPr>
            <a:xfrm>
              <a:off x="5389898" y="8914654"/>
              <a:ext cx="1062355" cy="523240"/>
            </a:xfrm>
            <a:custGeom>
              <a:avLst/>
              <a:gdLst/>
              <a:ahLst/>
              <a:cxnLst/>
              <a:rect l="l" t="t" r="r" b="b"/>
              <a:pathLst>
                <a:path w="1062354" h="523240">
                  <a:moveTo>
                    <a:pt x="675444" y="399682"/>
                  </a:moveTo>
                  <a:lnTo>
                    <a:pt x="806543" y="446231"/>
                  </a:lnTo>
                  <a:lnTo>
                    <a:pt x="987880" y="501859"/>
                  </a:lnTo>
                  <a:lnTo>
                    <a:pt x="1062113" y="522643"/>
                  </a:lnTo>
                  <a:lnTo>
                    <a:pt x="1060958" y="503961"/>
                  </a:lnTo>
                  <a:lnTo>
                    <a:pt x="817083" y="442571"/>
                  </a:lnTo>
                  <a:lnTo>
                    <a:pt x="675444" y="399682"/>
                  </a:lnTo>
                  <a:close/>
                </a:path>
                <a:path w="1062354" h="523240">
                  <a:moveTo>
                    <a:pt x="657966" y="393476"/>
                  </a:moveTo>
                  <a:lnTo>
                    <a:pt x="664967" y="396509"/>
                  </a:lnTo>
                  <a:lnTo>
                    <a:pt x="675444" y="399682"/>
                  </a:lnTo>
                  <a:lnTo>
                    <a:pt x="657966" y="393476"/>
                  </a:lnTo>
                  <a:close/>
                </a:path>
                <a:path w="1062354" h="523240">
                  <a:moveTo>
                    <a:pt x="4000" y="0"/>
                  </a:moveTo>
                  <a:lnTo>
                    <a:pt x="87196" y="95705"/>
                  </a:lnTo>
                  <a:lnTo>
                    <a:pt x="154881" y="146451"/>
                  </a:lnTo>
                  <a:lnTo>
                    <a:pt x="237813" y="197019"/>
                  </a:lnTo>
                  <a:lnTo>
                    <a:pt x="370751" y="270789"/>
                  </a:lnTo>
                  <a:lnTo>
                    <a:pt x="580151" y="365846"/>
                  </a:lnTo>
                  <a:lnTo>
                    <a:pt x="657966" y="393476"/>
                  </a:lnTo>
                  <a:lnTo>
                    <a:pt x="540866" y="342737"/>
                  </a:lnTo>
                  <a:lnTo>
                    <a:pt x="381038" y="258216"/>
                  </a:lnTo>
                  <a:lnTo>
                    <a:pt x="230780" y="168476"/>
                  </a:lnTo>
                  <a:lnTo>
                    <a:pt x="111323" y="85202"/>
                  </a:lnTo>
                  <a:lnTo>
                    <a:pt x="32464" y="23881"/>
                  </a:lnTo>
                  <a:lnTo>
                    <a:pt x="4000" y="0"/>
                  </a:lnTo>
                  <a:close/>
                </a:path>
              </a:pathLst>
            </a:custGeom>
            <a:solidFill>
              <a:srgbClr val="E2E3E4"/>
            </a:solidFill>
          </p:spPr>
          <p:txBody>
            <a:bodyPr wrap="square" lIns="0" tIns="0" rIns="0" bIns="0" rtlCol="0"/>
            <a:lstStyle/>
            <a:p>
              <a:endParaRPr sz="649"/>
            </a:p>
          </p:txBody>
        </p:sp>
        <p:sp>
          <p:nvSpPr>
            <p:cNvPr id="74" name="object 74"/>
            <p:cNvSpPr/>
            <p:nvPr/>
          </p:nvSpPr>
          <p:spPr>
            <a:xfrm>
              <a:off x="5389898" y="8914654"/>
              <a:ext cx="1062355" cy="523240"/>
            </a:xfrm>
            <a:custGeom>
              <a:avLst/>
              <a:gdLst/>
              <a:ahLst/>
              <a:cxnLst/>
              <a:rect l="l" t="t" r="r" b="b"/>
              <a:pathLst>
                <a:path w="1062354" h="523240">
                  <a:moveTo>
                    <a:pt x="0" y="21399"/>
                  </a:moveTo>
                  <a:lnTo>
                    <a:pt x="87196" y="95705"/>
                  </a:lnTo>
                  <a:lnTo>
                    <a:pt x="154881" y="146451"/>
                  </a:lnTo>
                  <a:lnTo>
                    <a:pt x="237813" y="197019"/>
                  </a:lnTo>
                  <a:lnTo>
                    <a:pt x="370751" y="270789"/>
                  </a:lnTo>
                  <a:lnTo>
                    <a:pt x="580151" y="365846"/>
                  </a:lnTo>
                  <a:lnTo>
                    <a:pt x="806543" y="446231"/>
                  </a:lnTo>
                  <a:lnTo>
                    <a:pt x="987880" y="501859"/>
                  </a:lnTo>
                  <a:lnTo>
                    <a:pt x="1062113" y="522643"/>
                  </a:lnTo>
                  <a:lnTo>
                    <a:pt x="1060958" y="503961"/>
                  </a:lnTo>
                  <a:lnTo>
                    <a:pt x="817083" y="442571"/>
                  </a:lnTo>
                  <a:lnTo>
                    <a:pt x="664967" y="396509"/>
                  </a:lnTo>
                  <a:lnTo>
                    <a:pt x="540866" y="342737"/>
                  </a:lnTo>
                  <a:lnTo>
                    <a:pt x="381038" y="258216"/>
                  </a:lnTo>
                  <a:lnTo>
                    <a:pt x="230780" y="168476"/>
                  </a:lnTo>
                  <a:lnTo>
                    <a:pt x="111323" y="85202"/>
                  </a:lnTo>
                  <a:lnTo>
                    <a:pt x="32464" y="23881"/>
                  </a:lnTo>
                  <a:lnTo>
                    <a:pt x="4000" y="0"/>
                  </a:lnTo>
                  <a:lnTo>
                    <a:pt x="0" y="21399"/>
                  </a:lnTo>
                </a:path>
              </a:pathLst>
            </a:custGeom>
            <a:ln w="7620">
              <a:solidFill>
                <a:srgbClr val="231F20"/>
              </a:solidFill>
            </a:ln>
          </p:spPr>
          <p:txBody>
            <a:bodyPr wrap="square" lIns="0" tIns="0" rIns="0" bIns="0" rtlCol="0"/>
            <a:lstStyle/>
            <a:p>
              <a:endParaRPr sz="649"/>
            </a:p>
          </p:txBody>
        </p:sp>
        <p:pic>
          <p:nvPicPr>
            <p:cNvPr id="75" name="object 75"/>
            <p:cNvPicPr/>
            <p:nvPr/>
          </p:nvPicPr>
          <p:blipFill>
            <a:blip r:embed="rId13" cstate="print"/>
            <a:stretch>
              <a:fillRect/>
            </a:stretch>
          </p:blipFill>
          <p:spPr>
            <a:xfrm>
              <a:off x="6087325" y="8840978"/>
              <a:ext cx="339128" cy="520953"/>
            </a:xfrm>
            <a:prstGeom prst="rect">
              <a:avLst/>
            </a:prstGeom>
          </p:spPr>
        </p:pic>
        <p:sp>
          <p:nvSpPr>
            <p:cNvPr id="76" name="object 76"/>
            <p:cNvSpPr/>
            <p:nvPr/>
          </p:nvSpPr>
          <p:spPr>
            <a:xfrm>
              <a:off x="6087313" y="8840989"/>
              <a:ext cx="339725" cy="521334"/>
            </a:xfrm>
            <a:custGeom>
              <a:avLst/>
              <a:gdLst/>
              <a:ahLst/>
              <a:cxnLst/>
              <a:rect l="l" t="t" r="r" b="b"/>
              <a:pathLst>
                <a:path w="339725" h="521334">
                  <a:moveTo>
                    <a:pt x="78892" y="0"/>
                  </a:moveTo>
                  <a:lnTo>
                    <a:pt x="263067" y="402704"/>
                  </a:lnTo>
                  <a:lnTo>
                    <a:pt x="339140" y="368007"/>
                  </a:lnTo>
                  <a:lnTo>
                    <a:pt x="273570" y="520941"/>
                  </a:lnTo>
                  <a:lnTo>
                    <a:pt x="104063" y="458495"/>
                  </a:lnTo>
                  <a:lnTo>
                    <a:pt x="178409" y="428752"/>
                  </a:lnTo>
                  <a:lnTo>
                    <a:pt x="0" y="33261"/>
                  </a:lnTo>
                  <a:lnTo>
                    <a:pt x="78892" y="0"/>
                  </a:lnTo>
                </a:path>
              </a:pathLst>
            </a:custGeom>
            <a:ln w="7620">
              <a:solidFill>
                <a:srgbClr val="E3873E"/>
              </a:solidFill>
            </a:ln>
          </p:spPr>
          <p:txBody>
            <a:bodyPr wrap="square" lIns="0" tIns="0" rIns="0" bIns="0" rtlCol="0"/>
            <a:lstStyle/>
            <a:p>
              <a:endParaRPr sz="649"/>
            </a:p>
          </p:txBody>
        </p:sp>
        <p:pic>
          <p:nvPicPr>
            <p:cNvPr id="77" name="object 77"/>
            <p:cNvPicPr/>
            <p:nvPr/>
          </p:nvPicPr>
          <p:blipFill>
            <a:blip r:embed="rId14" cstate="print"/>
            <a:stretch>
              <a:fillRect/>
            </a:stretch>
          </p:blipFill>
          <p:spPr>
            <a:xfrm>
              <a:off x="5189765" y="8689746"/>
              <a:ext cx="151015" cy="175577"/>
            </a:xfrm>
            <a:prstGeom prst="rect">
              <a:avLst/>
            </a:prstGeom>
          </p:spPr>
        </p:pic>
        <p:pic>
          <p:nvPicPr>
            <p:cNvPr id="78" name="object 78"/>
            <p:cNvPicPr/>
            <p:nvPr/>
          </p:nvPicPr>
          <p:blipFill>
            <a:blip r:embed="rId15" cstate="print"/>
            <a:stretch>
              <a:fillRect/>
            </a:stretch>
          </p:blipFill>
          <p:spPr>
            <a:xfrm>
              <a:off x="5185964" y="8685932"/>
              <a:ext cx="158635" cy="183210"/>
            </a:xfrm>
            <a:prstGeom prst="rect">
              <a:avLst/>
            </a:prstGeom>
          </p:spPr>
        </p:pic>
        <p:pic>
          <p:nvPicPr>
            <p:cNvPr id="79" name="object 79"/>
            <p:cNvPicPr/>
            <p:nvPr/>
          </p:nvPicPr>
          <p:blipFill>
            <a:blip r:embed="rId16" cstate="print"/>
            <a:stretch>
              <a:fillRect/>
            </a:stretch>
          </p:blipFill>
          <p:spPr>
            <a:xfrm>
              <a:off x="5442584" y="8843683"/>
              <a:ext cx="306832" cy="452778"/>
            </a:xfrm>
            <a:prstGeom prst="rect">
              <a:avLst/>
            </a:prstGeom>
          </p:spPr>
        </p:pic>
        <p:sp>
          <p:nvSpPr>
            <p:cNvPr id="80" name="object 80"/>
            <p:cNvSpPr/>
            <p:nvPr/>
          </p:nvSpPr>
          <p:spPr>
            <a:xfrm>
              <a:off x="5442568" y="8843680"/>
              <a:ext cx="307340" cy="481965"/>
            </a:xfrm>
            <a:custGeom>
              <a:avLst/>
              <a:gdLst/>
              <a:ahLst/>
              <a:cxnLst/>
              <a:rect l="l" t="t" r="r" b="b"/>
              <a:pathLst>
                <a:path w="307339" h="481965">
                  <a:moveTo>
                    <a:pt x="51777" y="412788"/>
                  </a:moveTo>
                  <a:lnTo>
                    <a:pt x="94544" y="411937"/>
                  </a:lnTo>
                  <a:lnTo>
                    <a:pt x="137158" y="401854"/>
                  </a:lnTo>
                  <a:lnTo>
                    <a:pt x="169873" y="390194"/>
                  </a:lnTo>
                  <a:lnTo>
                    <a:pt x="182943" y="384606"/>
                  </a:lnTo>
                  <a:lnTo>
                    <a:pt x="129070" y="349846"/>
                  </a:lnTo>
                  <a:lnTo>
                    <a:pt x="267754" y="358114"/>
                  </a:lnTo>
                  <a:lnTo>
                    <a:pt x="306844" y="452348"/>
                  </a:lnTo>
                  <a:lnTo>
                    <a:pt x="241223" y="420395"/>
                  </a:lnTo>
                  <a:lnTo>
                    <a:pt x="138584" y="467954"/>
                  </a:lnTo>
                  <a:lnTo>
                    <a:pt x="84097" y="481685"/>
                  </a:lnTo>
                  <a:lnTo>
                    <a:pt x="59517" y="459678"/>
                  </a:lnTo>
                  <a:lnTo>
                    <a:pt x="46596" y="400024"/>
                  </a:lnTo>
                  <a:lnTo>
                    <a:pt x="62731" y="314456"/>
                  </a:lnTo>
                  <a:lnTo>
                    <a:pt x="107267" y="180455"/>
                  </a:lnTo>
                  <a:lnTo>
                    <a:pt x="153541" y="56887"/>
                  </a:lnTo>
                  <a:lnTo>
                    <a:pt x="174891" y="2616"/>
                  </a:lnTo>
                  <a:lnTo>
                    <a:pt x="91097" y="0"/>
                  </a:lnTo>
                  <a:lnTo>
                    <a:pt x="34650" y="168086"/>
                  </a:lnTo>
                  <a:lnTo>
                    <a:pt x="6950" y="262507"/>
                  </a:lnTo>
                  <a:lnTo>
                    <a:pt x="0" y="317816"/>
                  </a:lnTo>
                  <a:lnTo>
                    <a:pt x="5803" y="368566"/>
                  </a:lnTo>
                  <a:lnTo>
                    <a:pt x="8028" y="378132"/>
                  </a:lnTo>
                  <a:lnTo>
                    <a:pt x="11382" y="386384"/>
                  </a:lnTo>
                  <a:lnTo>
                    <a:pt x="15769" y="393398"/>
                  </a:lnTo>
                  <a:lnTo>
                    <a:pt x="21094" y="399249"/>
                  </a:lnTo>
                  <a:lnTo>
                    <a:pt x="66357" y="437540"/>
                  </a:lnTo>
                </a:path>
              </a:pathLst>
            </a:custGeom>
            <a:ln w="7620">
              <a:solidFill>
                <a:srgbClr val="E3873E"/>
              </a:solidFill>
            </a:ln>
          </p:spPr>
          <p:txBody>
            <a:bodyPr wrap="square" lIns="0" tIns="0" rIns="0" bIns="0" rtlCol="0"/>
            <a:lstStyle/>
            <a:p>
              <a:endParaRPr sz="649"/>
            </a:p>
          </p:txBody>
        </p:sp>
        <p:sp>
          <p:nvSpPr>
            <p:cNvPr id="81" name="object 81"/>
            <p:cNvSpPr/>
            <p:nvPr/>
          </p:nvSpPr>
          <p:spPr>
            <a:xfrm>
              <a:off x="4872464" y="7759885"/>
              <a:ext cx="2192655" cy="2192655"/>
            </a:xfrm>
            <a:custGeom>
              <a:avLst/>
              <a:gdLst/>
              <a:ahLst/>
              <a:cxnLst/>
              <a:rect l="l" t="t" r="r" b="b"/>
              <a:pathLst>
                <a:path w="2192654" h="2192654">
                  <a:moveTo>
                    <a:pt x="2192235" y="1096111"/>
                  </a:moveTo>
                  <a:lnTo>
                    <a:pt x="2191167" y="1144937"/>
                  </a:lnTo>
                  <a:lnTo>
                    <a:pt x="2187993" y="1193215"/>
                  </a:lnTo>
                  <a:lnTo>
                    <a:pt x="2182757" y="1240902"/>
                  </a:lnTo>
                  <a:lnTo>
                    <a:pt x="2175504" y="1287954"/>
                  </a:lnTo>
                  <a:lnTo>
                    <a:pt x="2166278" y="1334324"/>
                  </a:lnTo>
                  <a:lnTo>
                    <a:pt x="2155124" y="1379970"/>
                  </a:lnTo>
                  <a:lnTo>
                    <a:pt x="2142086" y="1424846"/>
                  </a:lnTo>
                  <a:lnTo>
                    <a:pt x="2127210" y="1468907"/>
                  </a:lnTo>
                  <a:lnTo>
                    <a:pt x="2110539" y="1512110"/>
                  </a:lnTo>
                  <a:lnTo>
                    <a:pt x="2092118" y="1554410"/>
                  </a:lnTo>
                  <a:lnTo>
                    <a:pt x="2071992" y="1595761"/>
                  </a:lnTo>
                  <a:lnTo>
                    <a:pt x="2050206" y="1636120"/>
                  </a:lnTo>
                  <a:lnTo>
                    <a:pt x="2026803" y="1675443"/>
                  </a:lnTo>
                  <a:lnTo>
                    <a:pt x="2001828" y="1713683"/>
                  </a:lnTo>
                  <a:lnTo>
                    <a:pt x="1975326" y="1750798"/>
                  </a:lnTo>
                  <a:lnTo>
                    <a:pt x="1947342" y="1786742"/>
                  </a:lnTo>
                  <a:lnTo>
                    <a:pt x="1917920" y="1821470"/>
                  </a:lnTo>
                  <a:lnTo>
                    <a:pt x="1887104" y="1854939"/>
                  </a:lnTo>
                  <a:lnTo>
                    <a:pt x="1854939" y="1887104"/>
                  </a:lnTo>
                  <a:lnTo>
                    <a:pt x="1821470" y="1917920"/>
                  </a:lnTo>
                  <a:lnTo>
                    <a:pt x="1786742" y="1947342"/>
                  </a:lnTo>
                  <a:lnTo>
                    <a:pt x="1750798" y="1975326"/>
                  </a:lnTo>
                  <a:lnTo>
                    <a:pt x="1713683" y="2001828"/>
                  </a:lnTo>
                  <a:lnTo>
                    <a:pt x="1675443" y="2026803"/>
                  </a:lnTo>
                  <a:lnTo>
                    <a:pt x="1636120" y="2050206"/>
                  </a:lnTo>
                  <a:lnTo>
                    <a:pt x="1595761" y="2071992"/>
                  </a:lnTo>
                  <a:lnTo>
                    <a:pt x="1554410" y="2092118"/>
                  </a:lnTo>
                  <a:lnTo>
                    <a:pt x="1512110" y="2110539"/>
                  </a:lnTo>
                  <a:lnTo>
                    <a:pt x="1468907" y="2127210"/>
                  </a:lnTo>
                  <a:lnTo>
                    <a:pt x="1424846" y="2142086"/>
                  </a:lnTo>
                  <a:lnTo>
                    <a:pt x="1379970" y="2155124"/>
                  </a:lnTo>
                  <a:lnTo>
                    <a:pt x="1334324" y="2166278"/>
                  </a:lnTo>
                  <a:lnTo>
                    <a:pt x="1287954" y="2175504"/>
                  </a:lnTo>
                  <a:lnTo>
                    <a:pt x="1240902" y="2182757"/>
                  </a:lnTo>
                  <a:lnTo>
                    <a:pt x="1193215" y="2187993"/>
                  </a:lnTo>
                  <a:lnTo>
                    <a:pt x="1144937" y="2191167"/>
                  </a:lnTo>
                  <a:lnTo>
                    <a:pt x="1096111" y="2192235"/>
                  </a:lnTo>
                  <a:lnTo>
                    <a:pt x="1047287" y="2191167"/>
                  </a:lnTo>
                  <a:lnTo>
                    <a:pt x="999009" y="2187993"/>
                  </a:lnTo>
                  <a:lnTo>
                    <a:pt x="951323" y="2182757"/>
                  </a:lnTo>
                  <a:lnTo>
                    <a:pt x="904272" y="2175504"/>
                  </a:lnTo>
                  <a:lnTo>
                    <a:pt x="857902" y="2166278"/>
                  </a:lnTo>
                  <a:lnTo>
                    <a:pt x="812258" y="2155124"/>
                  </a:lnTo>
                  <a:lnTo>
                    <a:pt x="767383" y="2142086"/>
                  </a:lnTo>
                  <a:lnTo>
                    <a:pt x="723322" y="2127210"/>
                  </a:lnTo>
                  <a:lnTo>
                    <a:pt x="680119" y="2110539"/>
                  </a:lnTo>
                  <a:lnTo>
                    <a:pt x="637820" y="2092118"/>
                  </a:lnTo>
                  <a:lnTo>
                    <a:pt x="596469" y="2071992"/>
                  </a:lnTo>
                  <a:lnTo>
                    <a:pt x="556111" y="2050206"/>
                  </a:lnTo>
                  <a:lnTo>
                    <a:pt x="516789" y="2026803"/>
                  </a:lnTo>
                  <a:lnTo>
                    <a:pt x="478549" y="2001828"/>
                  </a:lnTo>
                  <a:lnTo>
                    <a:pt x="441434" y="1975326"/>
                  </a:lnTo>
                  <a:lnTo>
                    <a:pt x="405491" y="1947342"/>
                  </a:lnTo>
                  <a:lnTo>
                    <a:pt x="370763" y="1917920"/>
                  </a:lnTo>
                  <a:lnTo>
                    <a:pt x="337294" y="1887104"/>
                  </a:lnTo>
                  <a:lnTo>
                    <a:pt x="305130" y="1854939"/>
                  </a:lnTo>
                  <a:lnTo>
                    <a:pt x="274314" y="1821470"/>
                  </a:lnTo>
                  <a:lnTo>
                    <a:pt x="244892" y="1786742"/>
                  </a:lnTo>
                  <a:lnTo>
                    <a:pt x="216908" y="1750798"/>
                  </a:lnTo>
                  <a:lnTo>
                    <a:pt x="190406" y="1713683"/>
                  </a:lnTo>
                  <a:lnTo>
                    <a:pt x="165432" y="1675443"/>
                  </a:lnTo>
                  <a:lnTo>
                    <a:pt x="142029" y="1636120"/>
                  </a:lnTo>
                  <a:lnTo>
                    <a:pt x="120242" y="1595761"/>
                  </a:lnTo>
                  <a:lnTo>
                    <a:pt x="100116" y="1554410"/>
                  </a:lnTo>
                  <a:lnTo>
                    <a:pt x="81696" y="1512110"/>
                  </a:lnTo>
                  <a:lnTo>
                    <a:pt x="65025" y="1468907"/>
                  </a:lnTo>
                  <a:lnTo>
                    <a:pt x="50148" y="1424846"/>
                  </a:lnTo>
                  <a:lnTo>
                    <a:pt x="37111" y="1379970"/>
                  </a:lnTo>
                  <a:lnTo>
                    <a:pt x="25957" y="1334324"/>
                  </a:lnTo>
                  <a:lnTo>
                    <a:pt x="16731" y="1287954"/>
                  </a:lnTo>
                  <a:lnTo>
                    <a:pt x="9478" y="1240902"/>
                  </a:lnTo>
                  <a:lnTo>
                    <a:pt x="4242" y="1193215"/>
                  </a:lnTo>
                  <a:lnTo>
                    <a:pt x="1068" y="1144937"/>
                  </a:lnTo>
                  <a:lnTo>
                    <a:pt x="0" y="1096111"/>
                  </a:lnTo>
                  <a:lnTo>
                    <a:pt x="1068" y="1047287"/>
                  </a:lnTo>
                  <a:lnTo>
                    <a:pt x="4242" y="999009"/>
                  </a:lnTo>
                  <a:lnTo>
                    <a:pt x="9478" y="951323"/>
                  </a:lnTo>
                  <a:lnTo>
                    <a:pt x="16731" y="904272"/>
                  </a:lnTo>
                  <a:lnTo>
                    <a:pt x="25957" y="857902"/>
                  </a:lnTo>
                  <a:lnTo>
                    <a:pt x="37111" y="812258"/>
                  </a:lnTo>
                  <a:lnTo>
                    <a:pt x="50148" y="767383"/>
                  </a:lnTo>
                  <a:lnTo>
                    <a:pt x="65025" y="723322"/>
                  </a:lnTo>
                  <a:lnTo>
                    <a:pt x="81696" y="680119"/>
                  </a:lnTo>
                  <a:lnTo>
                    <a:pt x="100116" y="637820"/>
                  </a:lnTo>
                  <a:lnTo>
                    <a:pt x="120242" y="596469"/>
                  </a:lnTo>
                  <a:lnTo>
                    <a:pt x="142029" y="556111"/>
                  </a:lnTo>
                  <a:lnTo>
                    <a:pt x="165432" y="516789"/>
                  </a:lnTo>
                  <a:lnTo>
                    <a:pt x="190406" y="478549"/>
                  </a:lnTo>
                  <a:lnTo>
                    <a:pt x="216908" y="441434"/>
                  </a:lnTo>
                  <a:lnTo>
                    <a:pt x="244892" y="405491"/>
                  </a:lnTo>
                  <a:lnTo>
                    <a:pt x="274314" y="370763"/>
                  </a:lnTo>
                  <a:lnTo>
                    <a:pt x="305130" y="337294"/>
                  </a:lnTo>
                  <a:lnTo>
                    <a:pt x="337294" y="305130"/>
                  </a:lnTo>
                  <a:lnTo>
                    <a:pt x="370763" y="274314"/>
                  </a:lnTo>
                  <a:lnTo>
                    <a:pt x="405491" y="244892"/>
                  </a:lnTo>
                  <a:lnTo>
                    <a:pt x="441434" y="216908"/>
                  </a:lnTo>
                  <a:lnTo>
                    <a:pt x="478549" y="190406"/>
                  </a:lnTo>
                  <a:lnTo>
                    <a:pt x="516789" y="165432"/>
                  </a:lnTo>
                  <a:lnTo>
                    <a:pt x="556111" y="142029"/>
                  </a:lnTo>
                  <a:lnTo>
                    <a:pt x="596469" y="120242"/>
                  </a:lnTo>
                  <a:lnTo>
                    <a:pt x="637820" y="100116"/>
                  </a:lnTo>
                  <a:lnTo>
                    <a:pt x="680119" y="81696"/>
                  </a:lnTo>
                  <a:lnTo>
                    <a:pt x="723322" y="65025"/>
                  </a:lnTo>
                  <a:lnTo>
                    <a:pt x="767383" y="50148"/>
                  </a:lnTo>
                  <a:lnTo>
                    <a:pt x="812258" y="37111"/>
                  </a:lnTo>
                  <a:lnTo>
                    <a:pt x="857902" y="25957"/>
                  </a:lnTo>
                  <a:lnTo>
                    <a:pt x="904272" y="16731"/>
                  </a:lnTo>
                  <a:lnTo>
                    <a:pt x="951323" y="9478"/>
                  </a:lnTo>
                  <a:lnTo>
                    <a:pt x="999009" y="4242"/>
                  </a:lnTo>
                  <a:lnTo>
                    <a:pt x="1047287" y="1068"/>
                  </a:lnTo>
                  <a:lnTo>
                    <a:pt x="1096111" y="0"/>
                  </a:lnTo>
                  <a:lnTo>
                    <a:pt x="1144937" y="1068"/>
                  </a:lnTo>
                  <a:lnTo>
                    <a:pt x="1193215" y="4242"/>
                  </a:lnTo>
                  <a:lnTo>
                    <a:pt x="1240902" y="9478"/>
                  </a:lnTo>
                  <a:lnTo>
                    <a:pt x="1287954" y="16731"/>
                  </a:lnTo>
                  <a:lnTo>
                    <a:pt x="1334324" y="25957"/>
                  </a:lnTo>
                  <a:lnTo>
                    <a:pt x="1379970" y="37111"/>
                  </a:lnTo>
                  <a:lnTo>
                    <a:pt x="1424846" y="50148"/>
                  </a:lnTo>
                  <a:lnTo>
                    <a:pt x="1468907" y="65025"/>
                  </a:lnTo>
                  <a:lnTo>
                    <a:pt x="1512110" y="81696"/>
                  </a:lnTo>
                  <a:lnTo>
                    <a:pt x="1554410" y="100116"/>
                  </a:lnTo>
                  <a:lnTo>
                    <a:pt x="1595761" y="120242"/>
                  </a:lnTo>
                  <a:lnTo>
                    <a:pt x="1636120" y="142029"/>
                  </a:lnTo>
                  <a:lnTo>
                    <a:pt x="1675443" y="165432"/>
                  </a:lnTo>
                  <a:lnTo>
                    <a:pt x="1713683" y="190406"/>
                  </a:lnTo>
                  <a:lnTo>
                    <a:pt x="1750798" y="216908"/>
                  </a:lnTo>
                  <a:lnTo>
                    <a:pt x="1786742" y="244892"/>
                  </a:lnTo>
                  <a:lnTo>
                    <a:pt x="1821470" y="274314"/>
                  </a:lnTo>
                  <a:lnTo>
                    <a:pt x="1854939" y="305130"/>
                  </a:lnTo>
                  <a:lnTo>
                    <a:pt x="1887104" y="337294"/>
                  </a:lnTo>
                  <a:lnTo>
                    <a:pt x="1917920" y="370763"/>
                  </a:lnTo>
                  <a:lnTo>
                    <a:pt x="1947342" y="405491"/>
                  </a:lnTo>
                  <a:lnTo>
                    <a:pt x="1975326" y="441434"/>
                  </a:lnTo>
                  <a:lnTo>
                    <a:pt x="2001828" y="478549"/>
                  </a:lnTo>
                  <a:lnTo>
                    <a:pt x="2026803" y="516789"/>
                  </a:lnTo>
                  <a:lnTo>
                    <a:pt x="2050206" y="556111"/>
                  </a:lnTo>
                  <a:lnTo>
                    <a:pt x="2071992" y="596469"/>
                  </a:lnTo>
                  <a:lnTo>
                    <a:pt x="2092118" y="637820"/>
                  </a:lnTo>
                  <a:lnTo>
                    <a:pt x="2110539" y="680119"/>
                  </a:lnTo>
                  <a:lnTo>
                    <a:pt x="2127210" y="723322"/>
                  </a:lnTo>
                  <a:lnTo>
                    <a:pt x="2142086" y="767383"/>
                  </a:lnTo>
                  <a:lnTo>
                    <a:pt x="2155124" y="812258"/>
                  </a:lnTo>
                  <a:lnTo>
                    <a:pt x="2166278" y="857902"/>
                  </a:lnTo>
                  <a:lnTo>
                    <a:pt x="2175504" y="904272"/>
                  </a:lnTo>
                  <a:lnTo>
                    <a:pt x="2182757" y="951323"/>
                  </a:lnTo>
                  <a:lnTo>
                    <a:pt x="2187993" y="999009"/>
                  </a:lnTo>
                  <a:lnTo>
                    <a:pt x="2191167" y="1047287"/>
                  </a:lnTo>
                  <a:lnTo>
                    <a:pt x="2192235" y="1096111"/>
                  </a:lnTo>
                  <a:close/>
                </a:path>
              </a:pathLst>
            </a:custGeom>
            <a:ln w="25400">
              <a:solidFill>
                <a:srgbClr val="E3873E"/>
              </a:solidFill>
            </a:ln>
          </p:spPr>
          <p:txBody>
            <a:bodyPr wrap="square" lIns="0" tIns="0" rIns="0" bIns="0" rtlCol="0"/>
            <a:lstStyle/>
            <a:p>
              <a:endParaRPr sz="649"/>
            </a:p>
          </p:txBody>
        </p:sp>
        <p:pic>
          <p:nvPicPr>
            <p:cNvPr id="82" name="object 82"/>
            <p:cNvPicPr/>
            <p:nvPr/>
          </p:nvPicPr>
          <p:blipFill>
            <a:blip r:embed="rId17" cstate="print"/>
            <a:stretch>
              <a:fillRect/>
            </a:stretch>
          </p:blipFill>
          <p:spPr>
            <a:xfrm>
              <a:off x="5669277" y="8644044"/>
              <a:ext cx="220383" cy="195567"/>
            </a:xfrm>
            <a:prstGeom prst="rect">
              <a:avLst/>
            </a:prstGeom>
          </p:spPr>
        </p:pic>
        <p:pic>
          <p:nvPicPr>
            <p:cNvPr id="83" name="object 83"/>
            <p:cNvPicPr/>
            <p:nvPr/>
          </p:nvPicPr>
          <p:blipFill>
            <a:blip r:embed="rId18" cstate="print"/>
            <a:stretch>
              <a:fillRect/>
            </a:stretch>
          </p:blipFill>
          <p:spPr>
            <a:xfrm>
              <a:off x="5734151" y="8502256"/>
              <a:ext cx="256903" cy="264071"/>
            </a:xfrm>
            <a:prstGeom prst="rect">
              <a:avLst/>
            </a:prstGeom>
          </p:spPr>
        </p:pic>
        <p:sp>
          <p:nvSpPr>
            <p:cNvPr id="84" name="object 84"/>
            <p:cNvSpPr/>
            <p:nvPr/>
          </p:nvSpPr>
          <p:spPr>
            <a:xfrm>
              <a:off x="5734154" y="8502244"/>
              <a:ext cx="257175" cy="264160"/>
            </a:xfrm>
            <a:custGeom>
              <a:avLst/>
              <a:gdLst/>
              <a:ahLst/>
              <a:cxnLst/>
              <a:rect l="l" t="t" r="r" b="b"/>
              <a:pathLst>
                <a:path w="257175" h="264159">
                  <a:moveTo>
                    <a:pt x="241706" y="189407"/>
                  </a:moveTo>
                  <a:lnTo>
                    <a:pt x="230747" y="200932"/>
                  </a:lnTo>
                  <a:lnTo>
                    <a:pt x="215058" y="209769"/>
                  </a:lnTo>
                  <a:lnTo>
                    <a:pt x="195536" y="216343"/>
                  </a:lnTo>
                  <a:lnTo>
                    <a:pt x="173075" y="221081"/>
                  </a:lnTo>
                  <a:lnTo>
                    <a:pt x="183362" y="264096"/>
                  </a:lnTo>
                  <a:lnTo>
                    <a:pt x="222954" y="255065"/>
                  </a:lnTo>
                  <a:lnTo>
                    <a:pt x="246637" y="243041"/>
                  </a:lnTo>
                  <a:lnTo>
                    <a:pt x="256903" y="227115"/>
                  </a:lnTo>
                  <a:lnTo>
                    <a:pt x="256247" y="206375"/>
                  </a:lnTo>
                  <a:lnTo>
                    <a:pt x="222425" y="168452"/>
                  </a:lnTo>
                  <a:lnTo>
                    <a:pt x="158391" y="130951"/>
                  </a:lnTo>
                  <a:lnTo>
                    <a:pt x="96352" y="102281"/>
                  </a:lnTo>
                  <a:lnTo>
                    <a:pt x="68516" y="90855"/>
                  </a:lnTo>
                  <a:lnTo>
                    <a:pt x="66954" y="149212"/>
                  </a:lnTo>
                  <a:lnTo>
                    <a:pt x="0" y="59118"/>
                  </a:lnTo>
                  <a:lnTo>
                    <a:pt x="69849" y="0"/>
                  </a:lnTo>
                  <a:lnTo>
                    <a:pt x="70243" y="54686"/>
                  </a:lnTo>
                  <a:lnTo>
                    <a:pt x="169719" y="92152"/>
                  </a:lnTo>
                  <a:lnTo>
                    <a:pt x="221302" y="116009"/>
                  </a:lnTo>
                  <a:lnTo>
                    <a:pt x="241574" y="136487"/>
                  </a:lnTo>
                  <a:lnTo>
                    <a:pt x="247116" y="163817"/>
                  </a:lnTo>
                  <a:lnTo>
                    <a:pt x="256247" y="206375"/>
                  </a:lnTo>
                </a:path>
              </a:pathLst>
            </a:custGeom>
            <a:ln w="7620">
              <a:solidFill>
                <a:srgbClr val="E3873E"/>
              </a:solidFill>
            </a:ln>
          </p:spPr>
          <p:txBody>
            <a:bodyPr wrap="square" lIns="0" tIns="0" rIns="0" bIns="0" rtlCol="0"/>
            <a:lstStyle/>
            <a:p>
              <a:endParaRPr sz="649"/>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967979" y="4919958"/>
            <a:ext cx="47662" cy="94978"/>
          </a:xfrm>
          <a:prstGeom prst="rect">
            <a:avLst/>
          </a:prstGeom>
        </p:spPr>
        <p:txBody>
          <a:bodyPr vert="horz" wrap="square" lIns="0" tIns="6111" rIns="0" bIns="0" rtlCol="0">
            <a:spAutoFit/>
          </a:bodyPr>
          <a:lstStyle/>
          <a:p>
            <a:pPr marL="6110">
              <a:spcBef>
                <a:spcPts val="48"/>
              </a:spcBef>
            </a:pPr>
            <a:r>
              <a:rPr sz="577" spc="5" dirty="0">
                <a:solidFill>
                  <a:srgbClr val="231F20"/>
                </a:solidFill>
                <a:latin typeface="Miriam"/>
                <a:cs typeface="Miriam"/>
              </a:rPr>
              <a:t>4</a:t>
            </a:r>
            <a:endParaRPr sz="577">
              <a:latin typeface="Miriam"/>
              <a:cs typeface="Miriam"/>
            </a:endParaRPr>
          </a:p>
        </p:txBody>
      </p:sp>
      <p:sp>
        <p:nvSpPr>
          <p:cNvPr id="3" name="object 3"/>
          <p:cNvSpPr txBox="1"/>
          <p:nvPr/>
        </p:nvSpPr>
        <p:spPr>
          <a:xfrm>
            <a:off x="3160149" y="4936612"/>
            <a:ext cx="661162" cy="80165"/>
          </a:xfrm>
          <a:prstGeom prst="rect">
            <a:avLst/>
          </a:prstGeom>
        </p:spPr>
        <p:txBody>
          <a:bodyPr vert="horz" wrap="square" lIns="0" tIns="6111" rIns="0" bIns="0" rtlCol="0">
            <a:spAutoFit/>
          </a:bodyPr>
          <a:lstStyle/>
          <a:p>
            <a:pPr marL="18330">
              <a:spcBef>
                <a:spcPts val="48"/>
              </a:spcBef>
            </a:pPr>
            <a:r>
              <a:rPr sz="481" dirty="0">
                <a:solidFill>
                  <a:srgbClr val="231F20"/>
                </a:solidFill>
                <a:latin typeface="Tahoma"/>
                <a:cs typeface="Tahoma"/>
              </a:rPr>
              <a:t>Stressles</a:t>
            </a:r>
            <a:r>
              <a:rPr sz="481" spc="-2" dirty="0">
                <a:solidFill>
                  <a:srgbClr val="231F20"/>
                </a:solidFill>
                <a:latin typeface="Tahoma"/>
                <a:cs typeface="Tahoma"/>
              </a:rPr>
              <a:t>s</a:t>
            </a:r>
            <a:r>
              <a:rPr sz="397" spc="-36" baseline="35353" dirty="0">
                <a:solidFill>
                  <a:srgbClr val="231F20"/>
                </a:solidFill>
                <a:latin typeface="Tahoma"/>
                <a:cs typeface="Tahoma"/>
              </a:rPr>
              <a:t>®</a:t>
            </a:r>
            <a:r>
              <a:rPr sz="397" spc="14" baseline="35353" dirty="0">
                <a:solidFill>
                  <a:srgbClr val="231F20"/>
                </a:solidFill>
                <a:latin typeface="Tahoma"/>
                <a:cs typeface="Tahoma"/>
              </a:rPr>
              <a:t> </a:t>
            </a:r>
            <a:r>
              <a:rPr sz="481" spc="31" dirty="0">
                <a:solidFill>
                  <a:srgbClr val="231F20"/>
                </a:solidFill>
                <a:latin typeface="Tahoma"/>
                <a:cs typeface="Tahoma"/>
              </a:rPr>
              <a:t>Mi</a:t>
            </a:r>
            <a:r>
              <a:rPr sz="481" spc="17" dirty="0">
                <a:solidFill>
                  <a:srgbClr val="231F20"/>
                </a:solidFill>
                <a:latin typeface="Tahoma"/>
                <a:cs typeface="Tahoma"/>
              </a:rPr>
              <a:t>k</a:t>
            </a:r>
            <a:r>
              <a:rPr sz="481" spc="-2" dirty="0">
                <a:solidFill>
                  <a:srgbClr val="231F20"/>
                </a:solidFill>
                <a:latin typeface="Tahoma"/>
                <a:cs typeface="Tahoma"/>
              </a:rPr>
              <a:t>e</a:t>
            </a:r>
            <a:r>
              <a:rPr sz="481" spc="-58" dirty="0">
                <a:solidFill>
                  <a:srgbClr val="231F20"/>
                </a:solidFill>
                <a:latin typeface="Tahoma"/>
                <a:cs typeface="Tahoma"/>
              </a:rPr>
              <a:t> </a:t>
            </a:r>
            <a:r>
              <a:rPr sz="481" spc="12" dirty="0">
                <a:solidFill>
                  <a:srgbClr val="231F20"/>
                </a:solidFill>
                <a:latin typeface="Tahoma"/>
                <a:cs typeface="Tahoma"/>
              </a:rPr>
              <a:t>&amp;</a:t>
            </a:r>
            <a:r>
              <a:rPr sz="481" spc="-58" dirty="0">
                <a:solidFill>
                  <a:srgbClr val="231F20"/>
                </a:solidFill>
                <a:latin typeface="Tahoma"/>
                <a:cs typeface="Tahoma"/>
              </a:rPr>
              <a:t> </a:t>
            </a:r>
            <a:r>
              <a:rPr sz="481" spc="22" dirty="0">
                <a:solidFill>
                  <a:srgbClr val="231F20"/>
                </a:solidFill>
                <a:latin typeface="Tahoma"/>
                <a:cs typeface="Tahoma"/>
              </a:rPr>
              <a:t>Max</a:t>
            </a:r>
            <a:endParaRPr sz="481">
              <a:latin typeface="Tahoma"/>
              <a:cs typeface="Tahoma"/>
            </a:endParaRPr>
          </a:p>
        </p:txBody>
      </p:sp>
      <p:sp>
        <p:nvSpPr>
          <p:cNvPr id="4" name="object 4"/>
          <p:cNvSpPr txBox="1"/>
          <p:nvPr/>
        </p:nvSpPr>
        <p:spPr>
          <a:xfrm>
            <a:off x="2967979" y="100972"/>
            <a:ext cx="1044294" cy="109917"/>
          </a:xfrm>
          <a:prstGeom prst="rect">
            <a:avLst/>
          </a:prstGeom>
        </p:spPr>
        <p:txBody>
          <a:bodyPr vert="horz" wrap="square" lIns="0" tIns="6111" rIns="0" bIns="0" rtlCol="0">
            <a:spAutoFit/>
          </a:bodyPr>
          <a:lstStyle/>
          <a:p>
            <a:pPr marL="6110">
              <a:spcBef>
                <a:spcPts val="48"/>
              </a:spcBef>
            </a:pPr>
            <a:r>
              <a:rPr sz="674" spc="26" dirty="0">
                <a:solidFill>
                  <a:srgbClr val="231F20"/>
                </a:solidFill>
                <a:latin typeface="Tahoma"/>
                <a:cs typeface="Tahoma"/>
              </a:rPr>
              <a:t>P</a:t>
            </a:r>
            <a:r>
              <a:rPr sz="674" spc="12" dirty="0">
                <a:solidFill>
                  <a:srgbClr val="231F20"/>
                </a:solidFill>
                <a:latin typeface="Tahoma"/>
                <a:cs typeface="Tahoma"/>
              </a:rPr>
              <a:t>ower</a:t>
            </a:r>
            <a:r>
              <a:rPr sz="674" spc="-82" dirty="0">
                <a:solidFill>
                  <a:srgbClr val="231F20"/>
                </a:solidFill>
                <a:latin typeface="Tahoma"/>
                <a:cs typeface="Tahoma"/>
              </a:rPr>
              <a:t> </a:t>
            </a:r>
            <a:r>
              <a:rPr sz="674" spc="-5" dirty="0">
                <a:solidFill>
                  <a:srgbClr val="231F20"/>
                </a:solidFill>
                <a:latin typeface="Tahoma"/>
                <a:cs typeface="Tahoma"/>
              </a:rPr>
              <a:t>and</a:t>
            </a:r>
            <a:r>
              <a:rPr sz="674" spc="-82" dirty="0">
                <a:solidFill>
                  <a:srgbClr val="231F20"/>
                </a:solidFill>
                <a:latin typeface="Tahoma"/>
                <a:cs typeface="Tahoma"/>
              </a:rPr>
              <a:t> </a:t>
            </a:r>
            <a:r>
              <a:rPr sz="674" spc="10" dirty="0">
                <a:solidFill>
                  <a:srgbClr val="231F20"/>
                </a:solidFill>
                <a:latin typeface="Tahoma"/>
                <a:cs typeface="Tahoma"/>
              </a:rPr>
              <a:t>battery</a:t>
            </a:r>
            <a:r>
              <a:rPr sz="674" spc="-82" dirty="0">
                <a:solidFill>
                  <a:srgbClr val="231F20"/>
                </a:solidFill>
                <a:latin typeface="Tahoma"/>
                <a:cs typeface="Tahoma"/>
              </a:rPr>
              <a:t> </a:t>
            </a:r>
            <a:r>
              <a:rPr sz="674" spc="-5" dirty="0">
                <a:solidFill>
                  <a:srgbClr val="231F20"/>
                </a:solidFill>
                <a:latin typeface="Tahoma"/>
                <a:cs typeface="Tahoma"/>
              </a:rPr>
              <a:t>charging</a:t>
            </a:r>
            <a:endParaRPr sz="674">
              <a:latin typeface="Tahoma"/>
              <a:cs typeface="Tahoma"/>
            </a:endParaRPr>
          </a:p>
        </p:txBody>
      </p:sp>
      <p:pic>
        <p:nvPicPr>
          <p:cNvPr id="5" name="object 5"/>
          <p:cNvPicPr/>
          <p:nvPr/>
        </p:nvPicPr>
        <p:blipFill>
          <a:blip r:embed="rId2" cstate="print"/>
          <a:stretch>
            <a:fillRect/>
          </a:stretch>
        </p:blipFill>
        <p:spPr>
          <a:xfrm>
            <a:off x="3070035" y="423562"/>
            <a:ext cx="3002398" cy="1705926"/>
          </a:xfrm>
          <a:prstGeom prst="rect">
            <a:avLst/>
          </a:prstGeom>
        </p:spPr>
      </p:pic>
      <p:sp>
        <p:nvSpPr>
          <p:cNvPr id="6" name="object 6"/>
          <p:cNvSpPr txBox="1"/>
          <p:nvPr/>
        </p:nvSpPr>
        <p:spPr>
          <a:xfrm>
            <a:off x="3209200" y="1217671"/>
            <a:ext cx="80354" cy="68828"/>
          </a:xfrm>
          <a:prstGeom prst="rect">
            <a:avLst/>
          </a:prstGeom>
        </p:spPr>
        <p:txBody>
          <a:bodyPr vert="horz" wrap="square" lIns="0" tIns="5805" rIns="0" bIns="0" rtlCol="0">
            <a:spAutoFit/>
          </a:bodyPr>
          <a:lstStyle/>
          <a:p>
            <a:pPr marL="6110">
              <a:spcBef>
                <a:spcPts val="46"/>
              </a:spcBef>
            </a:pPr>
            <a:r>
              <a:rPr sz="409" b="1" spc="-10" dirty="0">
                <a:solidFill>
                  <a:srgbClr val="231F20"/>
                </a:solidFill>
                <a:latin typeface="Tahoma"/>
                <a:cs typeface="Tahoma"/>
              </a:rPr>
              <a:t>EU</a:t>
            </a:r>
            <a:endParaRPr sz="409">
              <a:latin typeface="Tahoma"/>
              <a:cs typeface="Tahoma"/>
            </a:endParaRPr>
          </a:p>
        </p:txBody>
      </p:sp>
      <p:sp>
        <p:nvSpPr>
          <p:cNvPr id="7" name="object 7"/>
          <p:cNvSpPr txBox="1"/>
          <p:nvPr/>
        </p:nvSpPr>
        <p:spPr>
          <a:xfrm>
            <a:off x="3578235" y="1217671"/>
            <a:ext cx="86159" cy="68828"/>
          </a:xfrm>
          <a:prstGeom prst="rect">
            <a:avLst/>
          </a:prstGeom>
        </p:spPr>
        <p:txBody>
          <a:bodyPr vert="horz" wrap="square" lIns="0" tIns="5805" rIns="0" bIns="0" rtlCol="0">
            <a:spAutoFit/>
          </a:bodyPr>
          <a:lstStyle/>
          <a:p>
            <a:pPr marL="6110">
              <a:spcBef>
                <a:spcPts val="46"/>
              </a:spcBef>
            </a:pPr>
            <a:r>
              <a:rPr sz="409" b="1" spc="-7" dirty="0">
                <a:solidFill>
                  <a:srgbClr val="231F20"/>
                </a:solidFill>
                <a:latin typeface="Tahoma"/>
                <a:cs typeface="Tahoma"/>
              </a:rPr>
              <a:t>UK</a:t>
            </a:r>
            <a:endParaRPr sz="409">
              <a:latin typeface="Tahoma"/>
              <a:cs typeface="Tahoma"/>
            </a:endParaRPr>
          </a:p>
        </p:txBody>
      </p:sp>
      <p:sp>
        <p:nvSpPr>
          <p:cNvPr id="8" name="object 8"/>
          <p:cNvSpPr txBox="1"/>
          <p:nvPr/>
        </p:nvSpPr>
        <p:spPr>
          <a:xfrm>
            <a:off x="3954102" y="1217671"/>
            <a:ext cx="79132" cy="68828"/>
          </a:xfrm>
          <a:prstGeom prst="rect">
            <a:avLst/>
          </a:prstGeom>
        </p:spPr>
        <p:txBody>
          <a:bodyPr vert="horz" wrap="square" lIns="0" tIns="5805" rIns="0" bIns="0" rtlCol="0">
            <a:spAutoFit/>
          </a:bodyPr>
          <a:lstStyle/>
          <a:p>
            <a:pPr marL="6110">
              <a:spcBef>
                <a:spcPts val="46"/>
              </a:spcBef>
            </a:pPr>
            <a:r>
              <a:rPr sz="409" b="1" spc="-22" dirty="0">
                <a:solidFill>
                  <a:srgbClr val="231F20"/>
                </a:solidFill>
                <a:latin typeface="Tahoma"/>
                <a:cs typeface="Tahoma"/>
              </a:rPr>
              <a:t>US</a:t>
            </a:r>
            <a:endParaRPr sz="409">
              <a:latin typeface="Tahoma"/>
              <a:cs typeface="Tahoma"/>
            </a:endParaRPr>
          </a:p>
        </p:txBody>
      </p:sp>
      <p:sp>
        <p:nvSpPr>
          <p:cNvPr id="9" name="object 9"/>
          <p:cNvSpPr txBox="1"/>
          <p:nvPr/>
        </p:nvSpPr>
        <p:spPr>
          <a:xfrm>
            <a:off x="4308870" y="1217671"/>
            <a:ext cx="113961" cy="68828"/>
          </a:xfrm>
          <a:prstGeom prst="rect">
            <a:avLst/>
          </a:prstGeom>
        </p:spPr>
        <p:txBody>
          <a:bodyPr vert="horz" wrap="square" lIns="0" tIns="5805" rIns="0" bIns="0" rtlCol="0">
            <a:spAutoFit/>
          </a:bodyPr>
          <a:lstStyle/>
          <a:p>
            <a:pPr marL="6110">
              <a:spcBef>
                <a:spcPts val="46"/>
              </a:spcBef>
            </a:pPr>
            <a:r>
              <a:rPr sz="409" b="1" spc="-10" dirty="0">
                <a:solidFill>
                  <a:srgbClr val="231F20"/>
                </a:solidFill>
                <a:latin typeface="Tahoma"/>
                <a:cs typeface="Tahoma"/>
              </a:rPr>
              <a:t>A</a:t>
            </a:r>
            <a:r>
              <a:rPr sz="409" b="1" dirty="0">
                <a:solidFill>
                  <a:srgbClr val="231F20"/>
                </a:solidFill>
                <a:latin typeface="Tahoma"/>
                <a:cs typeface="Tahoma"/>
              </a:rPr>
              <a:t>U</a:t>
            </a:r>
            <a:r>
              <a:rPr sz="409" b="1" spc="-36" dirty="0">
                <a:solidFill>
                  <a:srgbClr val="231F20"/>
                </a:solidFill>
                <a:latin typeface="Tahoma"/>
                <a:cs typeface="Tahoma"/>
              </a:rPr>
              <a:t>S</a:t>
            </a:r>
            <a:endParaRPr sz="409">
              <a:latin typeface="Tahoma"/>
              <a:cs typeface="Tahoma"/>
            </a:endParaRPr>
          </a:p>
        </p:txBody>
      </p:sp>
      <p:grpSp>
        <p:nvGrpSpPr>
          <p:cNvPr id="10" name="object 10"/>
          <p:cNvGrpSpPr/>
          <p:nvPr/>
        </p:nvGrpSpPr>
        <p:grpSpPr>
          <a:xfrm>
            <a:off x="5613301" y="1038178"/>
            <a:ext cx="145431" cy="94408"/>
            <a:chOff x="5942459" y="2157717"/>
            <a:chExt cx="302260" cy="196215"/>
          </a:xfrm>
        </p:grpSpPr>
        <p:pic>
          <p:nvPicPr>
            <p:cNvPr id="11" name="object 11"/>
            <p:cNvPicPr/>
            <p:nvPr/>
          </p:nvPicPr>
          <p:blipFill>
            <a:blip r:embed="rId3" cstate="print"/>
            <a:stretch>
              <a:fillRect/>
            </a:stretch>
          </p:blipFill>
          <p:spPr>
            <a:xfrm>
              <a:off x="5946279" y="2161528"/>
              <a:ext cx="294144" cy="188010"/>
            </a:xfrm>
            <a:prstGeom prst="rect">
              <a:avLst/>
            </a:prstGeom>
          </p:spPr>
        </p:pic>
        <p:sp>
          <p:nvSpPr>
            <p:cNvPr id="12" name="object 12"/>
            <p:cNvSpPr/>
            <p:nvPr/>
          </p:nvSpPr>
          <p:spPr>
            <a:xfrm>
              <a:off x="5946269" y="2161527"/>
              <a:ext cx="294640" cy="188595"/>
            </a:xfrm>
            <a:custGeom>
              <a:avLst/>
              <a:gdLst/>
              <a:ahLst/>
              <a:cxnLst/>
              <a:rect l="l" t="t" r="r" b="b"/>
              <a:pathLst>
                <a:path w="294639" h="188594">
                  <a:moveTo>
                    <a:pt x="273138" y="188023"/>
                  </a:moveTo>
                  <a:lnTo>
                    <a:pt x="77330" y="124510"/>
                  </a:lnTo>
                  <a:lnTo>
                    <a:pt x="57442" y="176212"/>
                  </a:lnTo>
                  <a:lnTo>
                    <a:pt x="0" y="54902"/>
                  </a:lnTo>
                  <a:lnTo>
                    <a:pt x="114592" y="0"/>
                  </a:lnTo>
                  <a:lnTo>
                    <a:pt x="98361" y="59677"/>
                  </a:lnTo>
                  <a:lnTo>
                    <a:pt x="294157" y="123177"/>
                  </a:lnTo>
                  <a:lnTo>
                    <a:pt x="282448" y="159302"/>
                  </a:lnTo>
                  <a:lnTo>
                    <a:pt x="276356" y="178098"/>
                  </a:lnTo>
                  <a:lnTo>
                    <a:pt x="273910" y="185645"/>
                  </a:lnTo>
                  <a:lnTo>
                    <a:pt x="273138" y="188023"/>
                  </a:lnTo>
                  <a:close/>
                </a:path>
              </a:pathLst>
            </a:custGeom>
            <a:ln w="7620">
              <a:solidFill>
                <a:srgbClr val="E3873E"/>
              </a:solidFill>
            </a:ln>
          </p:spPr>
          <p:txBody>
            <a:bodyPr wrap="square" lIns="0" tIns="0" rIns="0" bIns="0" rtlCol="0"/>
            <a:lstStyle/>
            <a:p>
              <a:endParaRPr sz="649"/>
            </a:p>
          </p:txBody>
        </p:sp>
      </p:grpSp>
      <p:grpSp>
        <p:nvGrpSpPr>
          <p:cNvPr id="13" name="object 13"/>
          <p:cNvGrpSpPr/>
          <p:nvPr/>
        </p:nvGrpSpPr>
        <p:grpSpPr>
          <a:xfrm>
            <a:off x="3256810" y="2604971"/>
            <a:ext cx="1320185" cy="1475394"/>
            <a:chOff x="1044796" y="5414095"/>
            <a:chExt cx="2743835" cy="3066415"/>
          </a:xfrm>
        </p:grpSpPr>
        <p:sp>
          <p:nvSpPr>
            <p:cNvPr id="14" name="object 14"/>
            <p:cNvSpPr/>
            <p:nvPr/>
          </p:nvSpPr>
          <p:spPr>
            <a:xfrm>
              <a:off x="2087110" y="6463955"/>
              <a:ext cx="1688464" cy="1697355"/>
            </a:xfrm>
            <a:custGeom>
              <a:avLst/>
              <a:gdLst/>
              <a:ahLst/>
              <a:cxnLst/>
              <a:rect l="l" t="t" r="r" b="b"/>
              <a:pathLst>
                <a:path w="1688464" h="1697354">
                  <a:moveTo>
                    <a:pt x="163918" y="1662241"/>
                  </a:moveTo>
                  <a:lnTo>
                    <a:pt x="145335" y="1496081"/>
                  </a:lnTo>
                  <a:lnTo>
                    <a:pt x="114655" y="1188342"/>
                  </a:lnTo>
                  <a:lnTo>
                    <a:pt x="85937" y="891721"/>
                  </a:lnTo>
                  <a:lnTo>
                    <a:pt x="73240" y="758915"/>
                  </a:lnTo>
                  <a:lnTo>
                    <a:pt x="34820" y="751721"/>
                  </a:lnTo>
                  <a:lnTo>
                    <a:pt x="14384" y="740603"/>
                  </a:lnTo>
                  <a:lnTo>
                    <a:pt x="5066" y="717715"/>
                  </a:lnTo>
                  <a:lnTo>
                    <a:pt x="0" y="675210"/>
                  </a:lnTo>
                  <a:lnTo>
                    <a:pt x="1852" y="641527"/>
                  </a:lnTo>
                  <a:lnTo>
                    <a:pt x="39665" y="587141"/>
                  </a:lnTo>
                  <a:lnTo>
                    <a:pt x="76980" y="563340"/>
                  </a:lnTo>
                  <a:lnTo>
                    <a:pt x="127473" y="539732"/>
                  </a:lnTo>
                  <a:lnTo>
                    <a:pt x="191820" y="514770"/>
                  </a:lnTo>
                  <a:lnTo>
                    <a:pt x="251353" y="493315"/>
                  </a:lnTo>
                  <a:lnTo>
                    <a:pt x="289124" y="479857"/>
                  </a:lnTo>
                  <a:lnTo>
                    <a:pt x="331438" y="464828"/>
                  </a:lnTo>
                  <a:lnTo>
                    <a:pt x="377699" y="448414"/>
                  </a:lnTo>
                  <a:lnTo>
                    <a:pt x="427311" y="430801"/>
                  </a:lnTo>
                  <a:lnTo>
                    <a:pt x="479679" y="412176"/>
                  </a:lnTo>
                  <a:lnTo>
                    <a:pt x="534206" y="392727"/>
                  </a:lnTo>
                  <a:lnTo>
                    <a:pt x="590299" y="372638"/>
                  </a:lnTo>
                  <a:lnTo>
                    <a:pt x="647360" y="352098"/>
                  </a:lnTo>
                  <a:lnTo>
                    <a:pt x="704794" y="331292"/>
                  </a:lnTo>
                  <a:lnTo>
                    <a:pt x="762005" y="310408"/>
                  </a:lnTo>
                  <a:lnTo>
                    <a:pt x="818398" y="289631"/>
                  </a:lnTo>
                  <a:lnTo>
                    <a:pt x="873378" y="269148"/>
                  </a:lnTo>
                  <a:lnTo>
                    <a:pt x="926348" y="249146"/>
                  </a:lnTo>
                  <a:lnTo>
                    <a:pt x="976712" y="229812"/>
                  </a:lnTo>
                  <a:lnTo>
                    <a:pt x="1023876" y="211332"/>
                  </a:lnTo>
                  <a:lnTo>
                    <a:pt x="1067244" y="193892"/>
                  </a:lnTo>
                  <a:lnTo>
                    <a:pt x="1128645" y="168273"/>
                  </a:lnTo>
                  <a:lnTo>
                    <a:pt x="1188737" y="142400"/>
                  </a:lnTo>
                  <a:lnTo>
                    <a:pt x="1247086" y="116890"/>
                  </a:lnTo>
                  <a:lnTo>
                    <a:pt x="1303254" y="92361"/>
                  </a:lnTo>
                  <a:lnTo>
                    <a:pt x="1356807" y="69430"/>
                  </a:lnTo>
                  <a:lnTo>
                    <a:pt x="1407307" y="48715"/>
                  </a:lnTo>
                  <a:lnTo>
                    <a:pt x="1454320" y="30834"/>
                  </a:lnTo>
                  <a:lnTo>
                    <a:pt x="1497408" y="16405"/>
                  </a:lnTo>
                  <a:lnTo>
                    <a:pt x="1536137" y="6044"/>
                  </a:lnTo>
                  <a:lnTo>
                    <a:pt x="1598770" y="0"/>
                  </a:lnTo>
                  <a:lnTo>
                    <a:pt x="1621802" y="5551"/>
                  </a:lnTo>
                  <a:lnTo>
                    <a:pt x="1666384" y="37158"/>
                  </a:lnTo>
                  <a:lnTo>
                    <a:pt x="1685459" y="75306"/>
                  </a:lnTo>
                  <a:lnTo>
                    <a:pt x="1687530" y="113454"/>
                  </a:lnTo>
                  <a:lnTo>
                    <a:pt x="1681099" y="145061"/>
                  </a:lnTo>
                  <a:lnTo>
                    <a:pt x="1670143" y="167409"/>
                  </a:lnTo>
                  <a:lnTo>
                    <a:pt x="1656245" y="182559"/>
                  </a:lnTo>
                  <a:lnTo>
                    <a:pt x="1644308" y="191168"/>
                  </a:lnTo>
                  <a:lnTo>
                    <a:pt x="1639239" y="193892"/>
                  </a:lnTo>
                  <a:lnTo>
                    <a:pt x="1671290" y="330021"/>
                  </a:lnTo>
                  <a:lnTo>
                    <a:pt x="1686334" y="419722"/>
                  </a:lnTo>
                  <a:lnTo>
                    <a:pt x="1688295" y="502886"/>
                  </a:lnTo>
                  <a:lnTo>
                    <a:pt x="1681099" y="619406"/>
                  </a:lnTo>
                  <a:lnTo>
                    <a:pt x="1676524" y="679963"/>
                  </a:lnTo>
                  <a:lnTo>
                    <a:pt x="1671302" y="743095"/>
                  </a:lnTo>
                  <a:lnTo>
                    <a:pt x="1665620" y="806771"/>
                  </a:lnTo>
                  <a:lnTo>
                    <a:pt x="1659666" y="868962"/>
                  </a:lnTo>
                  <a:lnTo>
                    <a:pt x="1653628" y="927636"/>
                  </a:lnTo>
                  <a:lnTo>
                    <a:pt x="1647696" y="980766"/>
                  </a:lnTo>
                  <a:lnTo>
                    <a:pt x="1642058" y="1026320"/>
                  </a:lnTo>
                  <a:lnTo>
                    <a:pt x="1632415" y="1086582"/>
                  </a:lnTo>
                  <a:lnTo>
                    <a:pt x="1604716" y="1113391"/>
                  </a:lnTo>
                  <a:lnTo>
                    <a:pt x="1546430" y="1149022"/>
                  </a:lnTo>
                  <a:lnTo>
                    <a:pt x="1506457" y="1172639"/>
                  </a:lnTo>
                  <a:lnTo>
                    <a:pt x="1460331" y="1199323"/>
                  </a:lnTo>
                  <a:lnTo>
                    <a:pt x="1408852" y="1228474"/>
                  </a:lnTo>
                  <a:lnTo>
                    <a:pt x="1352820" y="1259493"/>
                  </a:lnTo>
                  <a:lnTo>
                    <a:pt x="1293035" y="1291779"/>
                  </a:lnTo>
                  <a:lnTo>
                    <a:pt x="1230297" y="1324731"/>
                  </a:lnTo>
                  <a:lnTo>
                    <a:pt x="1165407" y="1357750"/>
                  </a:lnTo>
                  <a:lnTo>
                    <a:pt x="1099164" y="1390236"/>
                  </a:lnTo>
                  <a:lnTo>
                    <a:pt x="1032370" y="1421589"/>
                  </a:lnTo>
                  <a:lnTo>
                    <a:pt x="976392" y="1446561"/>
                  </a:lnTo>
                  <a:lnTo>
                    <a:pt x="917574" y="1471620"/>
                  </a:lnTo>
                  <a:lnTo>
                    <a:pt x="856753" y="1496526"/>
                  </a:lnTo>
                  <a:lnTo>
                    <a:pt x="794767" y="1521039"/>
                  </a:lnTo>
                  <a:lnTo>
                    <a:pt x="732454" y="1544919"/>
                  </a:lnTo>
                  <a:lnTo>
                    <a:pt x="670652" y="1567926"/>
                  </a:lnTo>
                  <a:lnTo>
                    <a:pt x="610199" y="1589819"/>
                  </a:lnTo>
                  <a:lnTo>
                    <a:pt x="551932" y="1610358"/>
                  </a:lnTo>
                  <a:lnTo>
                    <a:pt x="496690" y="1629303"/>
                  </a:lnTo>
                  <a:lnTo>
                    <a:pt x="445310" y="1646415"/>
                  </a:lnTo>
                  <a:lnTo>
                    <a:pt x="398631" y="1661451"/>
                  </a:lnTo>
                  <a:lnTo>
                    <a:pt x="357489" y="1674174"/>
                  </a:lnTo>
                  <a:lnTo>
                    <a:pt x="295172" y="1691714"/>
                  </a:lnTo>
                  <a:lnTo>
                    <a:pt x="265061" y="1697115"/>
                  </a:lnTo>
                  <a:lnTo>
                    <a:pt x="236018" y="1690198"/>
                  </a:lnTo>
                  <a:lnTo>
                    <a:pt x="202722" y="1678373"/>
                  </a:lnTo>
                  <a:lnTo>
                    <a:pt x="175309" y="1667201"/>
                  </a:lnTo>
                  <a:lnTo>
                    <a:pt x="163918" y="1662241"/>
                  </a:lnTo>
                  <a:close/>
                </a:path>
              </a:pathLst>
            </a:custGeom>
            <a:ln w="25400">
              <a:solidFill>
                <a:srgbClr val="231F20"/>
              </a:solidFill>
            </a:ln>
          </p:spPr>
          <p:txBody>
            <a:bodyPr wrap="square" lIns="0" tIns="0" rIns="0" bIns="0" rtlCol="0"/>
            <a:lstStyle/>
            <a:p>
              <a:endParaRPr sz="649"/>
            </a:p>
          </p:txBody>
        </p:sp>
        <p:sp>
          <p:nvSpPr>
            <p:cNvPr id="15" name="object 15"/>
            <p:cNvSpPr/>
            <p:nvPr/>
          </p:nvSpPr>
          <p:spPr>
            <a:xfrm>
              <a:off x="1057496" y="5426795"/>
              <a:ext cx="1448435" cy="2352675"/>
            </a:xfrm>
            <a:custGeom>
              <a:avLst/>
              <a:gdLst/>
              <a:ahLst/>
              <a:cxnLst/>
              <a:rect l="l" t="t" r="r" b="b"/>
              <a:pathLst>
                <a:path w="1448435" h="2352675">
                  <a:moveTo>
                    <a:pt x="1448141" y="1457760"/>
                  </a:moveTo>
                  <a:lnTo>
                    <a:pt x="1423986" y="1424087"/>
                  </a:lnTo>
                  <a:lnTo>
                    <a:pt x="1401673" y="1388629"/>
                  </a:lnTo>
                  <a:lnTo>
                    <a:pt x="1381090" y="1351367"/>
                  </a:lnTo>
                  <a:lnTo>
                    <a:pt x="1362125" y="1312282"/>
                  </a:lnTo>
                  <a:lnTo>
                    <a:pt x="1344668" y="1271355"/>
                  </a:lnTo>
                  <a:lnTo>
                    <a:pt x="1328606" y="1228569"/>
                  </a:lnTo>
                  <a:lnTo>
                    <a:pt x="1313828" y="1183904"/>
                  </a:lnTo>
                  <a:lnTo>
                    <a:pt x="1300221" y="1137342"/>
                  </a:lnTo>
                  <a:lnTo>
                    <a:pt x="1287675" y="1088864"/>
                  </a:lnTo>
                  <a:lnTo>
                    <a:pt x="1276078" y="1038451"/>
                  </a:lnTo>
                  <a:lnTo>
                    <a:pt x="1265318" y="986086"/>
                  </a:lnTo>
                  <a:lnTo>
                    <a:pt x="1255284" y="931749"/>
                  </a:lnTo>
                  <a:lnTo>
                    <a:pt x="1245863" y="875421"/>
                  </a:lnTo>
                  <a:lnTo>
                    <a:pt x="1236945" y="817084"/>
                  </a:lnTo>
                  <a:lnTo>
                    <a:pt x="1228418" y="756720"/>
                  </a:lnTo>
                  <a:lnTo>
                    <a:pt x="1221051" y="696554"/>
                  </a:lnTo>
                  <a:lnTo>
                    <a:pt x="1214953" y="635354"/>
                  </a:lnTo>
                  <a:lnTo>
                    <a:pt x="1209860" y="574113"/>
                  </a:lnTo>
                  <a:lnTo>
                    <a:pt x="1205507" y="513821"/>
                  </a:lnTo>
                  <a:lnTo>
                    <a:pt x="1201631" y="455472"/>
                  </a:lnTo>
                  <a:lnTo>
                    <a:pt x="1197966" y="400057"/>
                  </a:lnTo>
                  <a:lnTo>
                    <a:pt x="1194250" y="348567"/>
                  </a:lnTo>
                  <a:lnTo>
                    <a:pt x="1190216" y="301995"/>
                  </a:lnTo>
                  <a:lnTo>
                    <a:pt x="1185602" y="261333"/>
                  </a:lnTo>
                  <a:lnTo>
                    <a:pt x="1173573" y="201706"/>
                  </a:lnTo>
                  <a:lnTo>
                    <a:pt x="1130139" y="160325"/>
                  </a:lnTo>
                  <a:lnTo>
                    <a:pt x="1063064" y="136023"/>
                  </a:lnTo>
                  <a:lnTo>
                    <a:pt x="1019802" y="123938"/>
                  </a:lnTo>
                  <a:lnTo>
                    <a:pt x="971187" y="111914"/>
                  </a:lnTo>
                  <a:lnTo>
                    <a:pt x="918067" y="99963"/>
                  </a:lnTo>
                  <a:lnTo>
                    <a:pt x="861290" y="88097"/>
                  </a:lnTo>
                  <a:lnTo>
                    <a:pt x="801703" y="76327"/>
                  </a:lnTo>
                  <a:lnTo>
                    <a:pt x="740155" y="64667"/>
                  </a:lnTo>
                  <a:lnTo>
                    <a:pt x="677492" y="53128"/>
                  </a:lnTo>
                  <a:lnTo>
                    <a:pt x="614563" y="41723"/>
                  </a:lnTo>
                  <a:lnTo>
                    <a:pt x="541464" y="29443"/>
                  </a:lnTo>
                  <a:lnTo>
                    <a:pt x="472989" y="19653"/>
                  </a:lnTo>
                  <a:lnTo>
                    <a:pt x="409369" y="12123"/>
                  </a:lnTo>
                  <a:lnTo>
                    <a:pt x="350834" y="6623"/>
                  </a:lnTo>
                  <a:lnTo>
                    <a:pt x="297614" y="2923"/>
                  </a:lnTo>
                  <a:lnTo>
                    <a:pt x="249940" y="792"/>
                  </a:lnTo>
                  <a:lnTo>
                    <a:pt x="208041" y="0"/>
                  </a:lnTo>
                  <a:lnTo>
                    <a:pt x="172149" y="316"/>
                  </a:lnTo>
                  <a:lnTo>
                    <a:pt x="119301" y="3356"/>
                  </a:lnTo>
                  <a:lnTo>
                    <a:pt x="74777" y="12625"/>
                  </a:lnTo>
                  <a:lnTo>
                    <a:pt x="15814" y="45540"/>
                  </a:lnTo>
                  <a:lnTo>
                    <a:pt x="0" y="68881"/>
                  </a:lnTo>
                  <a:lnTo>
                    <a:pt x="1522" y="81609"/>
                  </a:lnTo>
                  <a:lnTo>
                    <a:pt x="10593" y="125061"/>
                  </a:lnTo>
                  <a:lnTo>
                    <a:pt x="26519" y="190005"/>
                  </a:lnTo>
                  <a:lnTo>
                    <a:pt x="36611" y="229599"/>
                  </a:lnTo>
                  <a:lnTo>
                    <a:pt x="47886" y="273439"/>
                  </a:lnTo>
                  <a:lnTo>
                    <a:pt x="60167" y="321151"/>
                  </a:lnTo>
                  <a:lnTo>
                    <a:pt x="73277" y="372359"/>
                  </a:lnTo>
                  <a:lnTo>
                    <a:pt x="87040" y="426688"/>
                  </a:lnTo>
                  <a:lnTo>
                    <a:pt x="101279" y="483763"/>
                  </a:lnTo>
                  <a:lnTo>
                    <a:pt x="115816" y="543208"/>
                  </a:lnTo>
                  <a:lnTo>
                    <a:pt x="130476" y="604648"/>
                  </a:lnTo>
                  <a:lnTo>
                    <a:pt x="145080" y="667707"/>
                  </a:lnTo>
                  <a:lnTo>
                    <a:pt x="159452" y="732011"/>
                  </a:lnTo>
                  <a:lnTo>
                    <a:pt x="173415" y="797183"/>
                  </a:lnTo>
                  <a:lnTo>
                    <a:pt x="186793" y="862848"/>
                  </a:lnTo>
                  <a:lnTo>
                    <a:pt x="199408" y="928632"/>
                  </a:lnTo>
                  <a:lnTo>
                    <a:pt x="211084" y="994158"/>
                  </a:lnTo>
                  <a:lnTo>
                    <a:pt x="221643" y="1059052"/>
                  </a:lnTo>
                  <a:lnTo>
                    <a:pt x="230909" y="1122937"/>
                  </a:lnTo>
                  <a:lnTo>
                    <a:pt x="237774" y="1173685"/>
                  </a:lnTo>
                  <a:lnTo>
                    <a:pt x="245162" y="1228254"/>
                  </a:lnTo>
                  <a:lnTo>
                    <a:pt x="252990" y="1285888"/>
                  </a:lnTo>
                  <a:lnTo>
                    <a:pt x="261175" y="1345835"/>
                  </a:lnTo>
                  <a:lnTo>
                    <a:pt x="269635" y="1407338"/>
                  </a:lnTo>
                  <a:lnTo>
                    <a:pt x="278286" y="1469645"/>
                  </a:lnTo>
                  <a:lnTo>
                    <a:pt x="287046" y="1532000"/>
                  </a:lnTo>
                  <a:lnTo>
                    <a:pt x="295833" y="1593650"/>
                  </a:lnTo>
                  <a:lnTo>
                    <a:pt x="304563" y="1653839"/>
                  </a:lnTo>
                  <a:lnTo>
                    <a:pt x="313153" y="1711813"/>
                  </a:lnTo>
                  <a:lnTo>
                    <a:pt x="321522" y="1766818"/>
                  </a:lnTo>
                  <a:lnTo>
                    <a:pt x="329586" y="1818100"/>
                  </a:lnTo>
                  <a:lnTo>
                    <a:pt x="337263" y="1864903"/>
                  </a:lnTo>
                  <a:lnTo>
                    <a:pt x="344469" y="1906474"/>
                  </a:lnTo>
                  <a:lnTo>
                    <a:pt x="357141" y="1970902"/>
                  </a:lnTo>
                  <a:lnTo>
                    <a:pt x="380812" y="2029709"/>
                  </a:lnTo>
                  <a:lnTo>
                    <a:pt x="432032" y="2088110"/>
                  </a:lnTo>
                  <a:lnTo>
                    <a:pt x="471384" y="2120822"/>
                  </a:lnTo>
                  <a:lnTo>
                    <a:pt x="521232" y="2154993"/>
                  </a:lnTo>
                  <a:lnTo>
                    <a:pt x="582577" y="2189958"/>
                  </a:lnTo>
                  <a:lnTo>
                    <a:pt x="656423" y="2225056"/>
                  </a:lnTo>
                  <a:lnTo>
                    <a:pt x="707197" y="2245493"/>
                  </a:lnTo>
                  <a:lnTo>
                    <a:pt x="762999" y="2265186"/>
                  </a:lnTo>
                  <a:lnTo>
                    <a:pt x="821850" y="2283772"/>
                  </a:lnTo>
                  <a:lnTo>
                    <a:pt x="881774" y="2300889"/>
                  </a:lnTo>
                  <a:lnTo>
                    <a:pt x="940793" y="2316175"/>
                  </a:lnTo>
                  <a:lnTo>
                    <a:pt x="996930" y="2329267"/>
                  </a:lnTo>
                  <a:lnTo>
                    <a:pt x="1048207" y="2339803"/>
                  </a:lnTo>
                  <a:lnTo>
                    <a:pt x="1092647" y="2347421"/>
                  </a:lnTo>
                  <a:lnTo>
                    <a:pt x="1128272" y="2351757"/>
                  </a:lnTo>
                  <a:lnTo>
                    <a:pt x="1153107" y="2352450"/>
                  </a:lnTo>
                </a:path>
              </a:pathLst>
            </a:custGeom>
            <a:ln w="25400">
              <a:solidFill>
                <a:srgbClr val="231F20"/>
              </a:solidFill>
            </a:ln>
          </p:spPr>
          <p:txBody>
            <a:bodyPr wrap="square" lIns="0" tIns="0" rIns="0" bIns="0" rtlCol="0"/>
            <a:lstStyle/>
            <a:p>
              <a:endParaRPr sz="649"/>
            </a:p>
          </p:txBody>
        </p:sp>
        <p:sp>
          <p:nvSpPr>
            <p:cNvPr id="16" name="object 16"/>
            <p:cNvSpPr/>
            <p:nvPr/>
          </p:nvSpPr>
          <p:spPr>
            <a:xfrm>
              <a:off x="2285911" y="6181776"/>
              <a:ext cx="419734" cy="552450"/>
            </a:xfrm>
            <a:custGeom>
              <a:avLst/>
              <a:gdLst/>
              <a:ahLst/>
              <a:cxnLst/>
              <a:rect l="l" t="t" r="r" b="b"/>
              <a:pathLst>
                <a:path w="419735" h="552450">
                  <a:moveTo>
                    <a:pt x="0" y="1736"/>
                  </a:moveTo>
                  <a:lnTo>
                    <a:pt x="36038" y="0"/>
                  </a:lnTo>
                  <a:lnTo>
                    <a:pt x="73281" y="717"/>
                  </a:lnTo>
                  <a:lnTo>
                    <a:pt x="111264" y="7427"/>
                  </a:lnTo>
                  <a:lnTo>
                    <a:pt x="149523" y="23668"/>
                  </a:lnTo>
                  <a:lnTo>
                    <a:pt x="187591" y="52976"/>
                  </a:lnTo>
                  <a:lnTo>
                    <a:pt x="225005" y="98891"/>
                  </a:lnTo>
                  <a:lnTo>
                    <a:pt x="286586" y="216449"/>
                  </a:lnTo>
                  <a:lnTo>
                    <a:pt x="350058" y="367052"/>
                  </a:lnTo>
                  <a:lnTo>
                    <a:pt x="399683" y="496880"/>
                  </a:lnTo>
                  <a:lnTo>
                    <a:pt x="419722" y="552116"/>
                  </a:lnTo>
                </a:path>
              </a:pathLst>
            </a:custGeom>
            <a:ln w="25400">
              <a:solidFill>
                <a:srgbClr val="231F20"/>
              </a:solidFill>
            </a:ln>
          </p:spPr>
          <p:txBody>
            <a:bodyPr wrap="square" lIns="0" tIns="0" rIns="0" bIns="0" rtlCol="0"/>
            <a:lstStyle/>
            <a:p>
              <a:endParaRPr sz="649"/>
            </a:p>
          </p:txBody>
        </p:sp>
        <p:sp>
          <p:nvSpPr>
            <p:cNvPr id="17" name="object 17"/>
            <p:cNvSpPr/>
            <p:nvPr/>
          </p:nvSpPr>
          <p:spPr>
            <a:xfrm>
              <a:off x="2437121" y="6720556"/>
              <a:ext cx="413384" cy="53975"/>
            </a:xfrm>
            <a:custGeom>
              <a:avLst/>
              <a:gdLst/>
              <a:ahLst/>
              <a:cxnLst/>
              <a:rect l="l" t="t" r="r" b="b"/>
              <a:pathLst>
                <a:path w="413385" h="53975">
                  <a:moveTo>
                    <a:pt x="0" y="35745"/>
                  </a:moveTo>
                  <a:lnTo>
                    <a:pt x="86461" y="13192"/>
                  </a:lnTo>
                  <a:lnTo>
                    <a:pt x="138007" y="2292"/>
                  </a:lnTo>
                  <a:lnTo>
                    <a:pt x="175089" y="0"/>
                  </a:lnTo>
                  <a:lnTo>
                    <a:pt x="218160" y="3271"/>
                  </a:lnTo>
                  <a:lnTo>
                    <a:pt x="278326" y="13973"/>
                  </a:lnTo>
                  <a:lnTo>
                    <a:pt x="341955" y="30968"/>
                  </a:lnTo>
                  <a:lnTo>
                    <a:pt x="392366" y="46703"/>
                  </a:lnTo>
                  <a:lnTo>
                    <a:pt x="412877" y="53627"/>
                  </a:lnTo>
                </a:path>
              </a:pathLst>
            </a:custGeom>
            <a:ln w="25400">
              <a:solidFill>
                <a:srgbClr val="231F20"/>
              </a:solidFill>
            </a:ln>
          </p:spPr>
          <p:txBody>
            <a:bodyPr wrap="square" lIns="0" tIns="0" rIns="0" bIns="0" rtlCol="0"/>
            <a:lstStyle/>
            <a:p>
              <a:endParaRPr sz="649"/>
            </a:p>
          </p:txBody>
        </p:sp>
        <p:sp>
          <p:nvSpPr>
            <p:cNvPr id="18" name="object 18"/>
            <p:cNvSpPr/>
            <p:nvPr/>
          </p:nvSpPr>
          <p:spPr>
            <a:xfrm>
              <a:off x="1146168" y="6615249"/>
              <a:ext cx="309245" cy="1135380"/>
            </a:xfrm>
            <a:custGeom>
              <a:avLst/>
              <a:gdLst/>
              <a:ahLst/>
              <a:cxnLst/>
              <a:rect l="l" t="t" r="r" b="b"/>
              <a:pathLst>
                <a:path w="309244" h="1135379">
                  <a:moveTo>
                    <a:pt x="147462" y="0"/>
                  </a:moveTo>
                  <a:lnTo>
                    <a:pt x="86051" y="24684"/>
                  </a:lnTo>
                  <a:lnTo>
                    <a:pt x="51795" y="42124"/>
                  </a:lnTo>
                  <a:lnTo>
                    <a:pt x="15116" y="88430"/>
                  </a:lnTo>
                  <a:lnTo>
                    <a:pt x="1889" y="124783"/>
                  </a:lnTo>
                  <a:lnTo>
                    <a:pt x="0" y="160193"/>
                  </a:lnTo>
                  <a:lnTo>
                    <a:pt x="5668" y="189937"/>
                  </a:lnTo>
                  <a:lnTo>
                    <a:pt x="31270" y="225820"/>
                  </a:lnTo>
                  <a:lnTo>
                    <a:pt x="73657" y="262641"/>
                  </a:lnTo>
                  <a:lnTo>
                    <a:pt x="82261" y="269722"/>
                  </a:lnTo>
                  <a:lnTo>
                    <a:pt x="110004" y="404591"/>
                  </a:lnTo>
                  <a:lnTo>
                    <a:pt x="127993" y="492563"/>
                  </a:lnTo>
                  <a:lnTo>
                    <a:pt x="144097" y="572353"/>
                  </a:lnTo>
                  <a:lnTo>
                    <a:pt x="166182" y="682675"/>
                  </a:lnTo>
                  <a:lnTo>
                    <a:pt x="179377" y="746172"/>
                  </a:lnTo>
                  <a:lnTo>
                    <a:pt x="193898" y="811909"/>
                  </a:lnTo>
                  <a:lnTo>
                    <a:pt x="209083" y="877397"/>
                  </a:lnTo>
                  <a:lnTo>
                    <a:pt x="224267" y="940150"/>
                  </a:lnTo>
                  <a:lnTo>
                    <a:pt x="238789" y="997681"/>
                  </a:lnTo>
                  <a:lnTo>
                    <a:pt x="251983" y="1047503"/>
                  </a:lnTo>
                  <a:lnTo>
                    <a:pt x="263189" y="1087128"/>
                  </a:lnTo>
                  <a:lnTo>
                    <a:pt x="276977" y="1125842"/>
                  </a:lnTo>
                  <a:lnTo>
                    <a:pt x="305525" y="1134791"/>
                  </a:lnTo>
                  <a:lnTo>
                    <a:pt x="309133" y="1134770"/>
                  </a:lnTo>
                </a:path>
              </a:pathLst>
            </a:custGeom>
            <a:ln w="25400">
              <a:solidFill>
                <a:srgbClr val="231F20"/>
              </a:solidFill>
            </a:ln>
          </p:spPr>
          <p:txBody>
            <a:bodyPr wrap="square" lIns="0" tIns="0" rIns="0" bIns="0" rtlCol="0"/>
            <a:lstStyle/>
            <a:p>
              <a:endParaRPr sz="649"/>
            </a:p>
          </p:txBody>
        </p:sp>
        <p:sp>
          <p:nvSpPr>
            <p:cNvPr id="19" name="object 19"/>
            <p:cNvSpPr/>
            <p:nvPr/>
          </p:nvSpPr>
          <p:spPr>
            <a:xfrm>
              <a:off x="1424432" y="7432137"/>
              <a:ext cx="826135" cy="677545"/>
            </a:xfrm>
            <a:custGeom>
              <a:avLst/>
              <a:gdLst/>
              <a:ahLst/>
              <a:cxnLst/>
              <a:rect l="l" t="t" r="r" b="b"/>
              <a:pathLst>
                <a:path w="826135" h="677545">
                  <a:moveTo>
                    <a:pt x="0" y="0"/>
                  </a:moveTo>
                  <a:lnTo>
                    <a:pt x="5557" y="78798"/>
                  </a:lnTo>
                  <a:lnTo>
                    <a:pt x="9024" y="125707"/>
                  </a:lnTo>
                  <a:lnTo>
                    <a:pt x="15506" y="198170"/>
                  </a:lnTo>
                  <a:lnTo>
                    <a:pt x="21917" y="249861"/>
                  </a:lnTo>
                  <a:lnTo>
                    <a:pt x="30181" y="292368"/>
                  </a:lnTo>
                  <a:lnTo>
                    <a:pt x="49657" y="338759"/>
                  </a:lnTo>
                  <a:lnTo>
                    <a:pt x="78989" y="367693"/>
                  </a:lnTo>
                  <a:lnTo>
                    <a:pt x="116042" y="398623"/>
                  </a:lnTo>
                  <a:lnTo>
                    <a:pt x="172903" y="439279"/>
                  </a:lnTo>
                  <a:lnTo>
                    <a:pt x="253238" y="488721"/>
                  </a:lnTo>
                  <a:lnTo>
                    <a:pt x="296088" y="511121"/>
                  </a:lnTo>
                  <a:lnTo>
                    <a:pt x="346671" y="534034"/>
                  </a:lnTo>
                  <a:lnTo>
                    <a:pt x="402932" y="556937"/>
                  </a:lnTo>
                  <a:lnTo>
                    <a:pt x="462816" y="579310"/>
                  </a:lnTo>
                  <a:lnTo>
                    <a:pt x="524269" y="600634"/>
                  </a:lnTo>
                  <a:lnTo>
                    <a:pt x="585236" y="620387"/>
                  </a:lnTo>
                  <a:lnTo>
                    <a:pt x="643664" y="638048"/>
                  </a:lnTo>
                  <a:lnTo>
                    <a:pt x="697498" y="653097"/>
                  </a:lnTo>
                  <a:lnTo>
                    <a:pt x="744683" y="665013"/>
                  </a:lnTo>
                  <a:lnTo>
                    <a:pt x="783165" y="673275"/>
                  </a:lnTo>
                  <a:lnTo>
                    <a:pt x="810891" y="677364"/>
                  </a:lnTo>
                  <a:lnTo>
                    <a:pt x="825804" y="676757"/>
                  </a:lnTo>
                </a:path>
              </a:pathLst>
            </a:custGeom>
            <a:ln w="25400">
              <a:solidFill>
                <a:srgbClr val="231F20"/>
              </a:solidFill>
            </a:ln>
          </p:spPr>
          <p:txBody>
            <a:bodyPr wrap="square" lIns="0" tIns="0" rIns="0" bIns="0" rtlCol="0"/>
            <a:lstStyle/>
            <a:p>
              <a:endParaRPr sz="649"/>
            </a:p>
          </p:txBody>
        </p:sp>
        <p:sp>
          <p:nvSpPr>
            <p:cNvPr id="20" name="object 20"/>
            <p:cNvSpPr/>
            <p:nvPr/>
          </p:nvSpPr>
          <p:spPr>
            <a:xfrm>
              <a:off x="2162669" y="6649779"/>
              <a:ext cx="1569085" cy="571500"/>
            </a:xfrm>
            <a:custGeom>
              <a:avLst/>
              <a:gdLst/>
              <a:ahLst/>
              <a:cxnLst/>
              <a:rect l="l" t="t" r="r" b="b"/>
              <a:pathLst>
                <a:path w="1569085" h="571500">
                  <a:moveTo>
                    <a:pt x="0" y="570915"/>
                  </a:moveTo>
                  <a:lnTo>
                    <a:pt x="67863" y="567907"/>
                  </a:lnTo>
                  <a:lnTo>
                    <a:pt x="107655" y="562002"/>
                  </a:lnTo>
                  <a:lnTo>
                    <a:pt x="150830" y="553513"/>
                  </a:lnTo>
                  <a:lnTo>
                    <a:pt x="196997" y="542703"/>
                  </a:lnTo>
                  <a:lnTo>
                    <a:pt x="245763" y="529832"/>
                  </a:lnTo>
                  <a:lnTo>
                    <a:pt x="296737" y="515165"/>
                  </a:lnTo>
                  <a:lnTo>
                    <a:pt x="349525" y="498962"/>
                  </a:lnTo>
                  <a:lnTo>
                    <a:pt x="403735" y="481487"/>
                  </a:lnTo>
                  <a:lnTo>
                    <a:pt x="458976" y="463001"/>
                  </a:lnTo>
                  <a:lnTo>
                    <a:pt x="514855" y="443767"/>
                  </a:lnTo>
                  <a:lnTo>
                    <a:pt x="570980" y="424048"/>
                  </a:lnTo>
                  <a:lnTo>
                    <a:pt x="626959" y="404104"/>
                  </a:lnTo>
                  <a:lnTo>
                    <a:pt x="682399" y="384200"/>
                  </a:lnTo>
                  <a:lnTo>
                    <a:pt x="736908" y="364597"/>
                  </a:lnTo>
                  <a:lnTo>
                    <a:pt x="790094" y="345556"/>
                  </a:lnTo>
                  <a:lnTo>
                    <a:pt x="841565" y="327342"/>
                  </a:lnTo>
                  <a:lnTo>
                    <a:pt x="896317" y="307588"/>
                  </a:lnTo>
                  <a:lnTo>
                    <a:pt x="952865" y="286186"/>
                  </a:lnTo>
                  <a:lnTo>
                    <a:pt x="1010557" y="263468"/>
                  </a:lnTo>
                  <a:lnTo>
                    <a:pt x="1068744" y="239769"/>
                  </a:lnTo>
                  <a:lnTo>
                    <a:pt x="1126776" y="215420"/>
                  </a:lnTo>
                  <a:lnTo>
                    <a:pt x="1184000" y="190756"/>
                  </a:lnTo>
                  <a:lnTo>
                    <a:pt x="1239769" y="166108"/>
                  </a:lnTo>
                  <a:lnTo>
                    <a:pt x="1293429" y="141811"/>
                  </a:lnTo>
                  <a:lnTo>
                    <a:pt x="1344333" y="118197"/>
                  </a:lnTo>
                  <a:lnTo>
                    <a:pt x="1391828" y="95599"/>
                  </a:lnTo>
                  <a:lnTo>
                    <a:pt x="1435265" y="74350"/>
                  </a:lnTo>
                  <a:lnTo>
                    <a:pt x="1473992" y="54783"/>
                  </a:lnTo>
                  <a:lnTo>
                    <a:pt x="1534719" y="22028"/>
                  </a:lnTo>
                  <a:lnTo>
                    <a:pt x="1555417" y="9507"/>
                  </a:lnTo>
                  <a:lnTo>
                    <a:pt x="1568805" y="0"/>
                  </a:lnTo>
                </a:path>
              </a:pathLst>
            </a:custGeom>
            <a:ln w="7620">
              <a:solidFill>
                <a:srgbClr val="231F20"/>
              </a:solidFill>
            </a:ln>
          </p:spPr>
          <p:txBody>
            <a:bodyPr wrap="square" lIns="0" tIns="0" rIns="0" bIns="0" rtlCol="0"/>
            <a:lstStyle/>
            <a:p>
              <a:endParaRPr sz="649"/>
            </a:p>
          </p:txBody>
        </p:sp>
        <p:sp>
          <p:nvSpPr>
            <p:cNvPr id="21" name="object 21"/>
            <p:cNvSpPr/>
            <p:nvPr/>
          </p:nvSpPr>
          <p:spPr>
            <a:xfrm>
              <a:off x="1535678" y="7888022"/>
              <a:ext cx="1757680" cy="579755"/>
            </a:xfrm>
            <a:custGeom>
              <a:avLst/>
              <a:gdLst/>
              <a:ahLst/>
              <a:cxnLst/>
              <a:rect l="l" t="t" r="r" b="b"/>
              <a:pathLst>
                <a:path w="1757679" h="579754">
                  <a:moveTo>
                    <a:pt x="1592097" y="0"/>
                  </a:moveTo>
                  <a:lnTo>
                    <a:pt x="1647952" y="33078"/>
                  </a:lnTo>
                  <a:lnTo>
                    <a:pt x="1693254" y="69191"/>
                  </a:lnTo>
                  <a:lnTo>
                    <a:pt x="1727167" y="108044"/>
                  </a:lnTo>
                  <a:lnTo>
                    <a:pt x="1748853" y="149345"/>
                  </a:lnTo>
                  <a:lnTo>
                    <a:pt x="1757476" y="192798"/>
                  </a:lnTo>
                  <a:lnTo>
                    <a:pt x="1756132" y="218936"/>
                  </a:lnTo>
                  <a:lnTo>
                    <a:pt x="1739424" y="270157"/>
                  </a:lnTo>
                  <a:lnTo>
                    <a:pt x="1705138" y="319473"/>
                  </a:lnTo>
                  <a:lnTo>
                    <a:pt x="1654613" y="366290"/>
                  </a:lnTo>
                  <a:lnTo>
                    <a:pt x="1623678" y="388576"/>
                  </a:lnTo>
                  <a:lnTo>
                    <a:pt x="1589185" y="410013"/>
                  </a:lnTo>
                  <a:lnTo>
                    <a:pt x="1551300" y="430527"/>
                  </a:lnTo>
                  <a:lnTo>
                    <a:pt x="1510191" y="450045"/>
                  </a:lnTo>
                  <a:lnTo>
                    <a:pt x="1466026" y="468491"/>
                  </a:lnTo>
                  <a:lnTo>
                    <a:pt x="1418970" y="485791"/>
                  </a:lnTo>
                  <a:lnTo>
                    <a:pt x="1369192" y="501871"/>
                  </a:lnTo>
                  <a:lnTo>
                    <a:pt x="1316858" y="516656"/>
                  </a:lnTo>
                  <a:lnTo>
                    <a:pt x="1262137" y="530072"/>
                  </a:lnTo>
                  <a:lnTo>
                    <a:pt x="1205194" y="542044"/>
                  </a:lnTo>
                  <a:lnTo>
                    <a:pt x="1146197" y="552498"/>
                  </a:lnTo>
                  <a:lnTo>
                    <a:pt x="1085313" y="561360"/>
                  </a:lnTo>
                  <a:lnTo>
                    <a:pt x="1022710" y="568555"/>
                  </a:lnTo>
                  <a:lnTo>
                    <a:pt x="958554" y="574009"/>
                  </a:lnTo>
                  <a:lnTo>
                    <a:pt x="893013" y="577646"/>
                  </a:lnTo>
                  <a:lnTo>
                    <a:pt x="827392" y="579372"/>
                  </a:lnTo>
                  <a:lnTo>
                    <a:pt x="763004" y="579174"/>
                  </a:lnTo>
                  <a:lnTo>
                    <a:pt x="700021" y="577115"/>
                  </a:lnTo>
                  <a:lnTo>
                    <a:pt x="638616" y="573254"/>
                  </a:lnTo>
                  <a:lnTo>
                    <a:pt x="578962" y="567652"/>
                  </a:lnTo>
                  <a:lnTo>
                    <a:pt x="521231" y="560370"/>
                  </a:lnTo>
                  <a:lnTo>
                    <a:pt x="465596" y="551467"/>
                  </a:lnTo>
                  <a:lnTo>
                    <a:pt x="412230" y="541005"/>
                  </a:lnTo>
                  <a:lnTo>
                    <a:pt x="361305" y="529044"/>
                  </a:lnTo>
                  <a:lnTo>
                    <a:pt x="312994" y="515645"/>
                  </a:lnTo>
                  <a:lnTo>
                    <a:pt x="267469" y="500867"/>
                  </a:lnTo>
                  <a:lnTo>
                    <a:pt x="224904" y="484772"/>
                  </a:lnTo>
                  <a:lnTo>
                    <a:pt x="185471" y="467419"/>
                  </a:lnTo>
                  <a:lnTo>
                    <a:pt x="149343" y="448871"/>
                  </a:lnTo>
                  <a:lnTo>
                    <a:pt x="116692" y="429186"/>
                  </a:lnTo>
                  <a:lnTo>
                    <a:pt x="62511" y="386651"/>
                  </a:lnTo>
                  <a:lnTo>
                    <a:pt x="24312" y="340297"/>
                  </a:lnTo>
                  <a:lnTo>
                    <a:pt x="3475" y="290610"/>
                  </a:lnTo>
                  <a:lnTo>
                    <a:pt x="0" y="264667"/>
                  </a:lnTo>
                  <a:lnTo>
                    <a:pt x="3629" y="226336"/>
                  </a:lnTo>
                  <a:lnTo>
                    <a:pt x="17312" y="188790"/>
                  </a:lnTo>
                  <a:lnTo>
                    <a:pt x="40517" y="152265"/>
                  </a:lnTo>
                  <a:lnTo>
                    <a:pt x="72713" y="116996"/>
                  </a:lnTo>
                  <a:lnTo>
                    <a:pt x="113368" y="83218"/>
                  </a:lnTo>
                  <a:lnTo>
                    <a:pt x="161950" y="51168"/>
                  </a:lnTo>
                </a:path>
              </a:pathLst>
            </a:custGeom>
            <a:ln w="25400">
              <a:solidFill>
                <a:srgbClr val="231F20"/>
              </a:solidFill>
            </a:ln>
          </p:spPr>
          <p:txBody>
            <a:bodyPr wrap="square" lIns="0" tIns="0" rIns="0" bIns="0" rtlCol="0"/>
            <a:lstStyle/>
            <a:p>
              <a:endParaRPr sz="649"/>
            </a:p>
          </p:txBody>
        </p:sp>
        <p:sp>
          <p:nvSpPr>
            <p:cNvPr id="22" name="object 22"/>
            <p:cNvSpPr/>
            <p:nvPr/>
          </p:nvSpPr>
          <p:spPr>
            <a:xfrm>
              <a:off x="1535684" y="8054077"/>
              <a:ext cx="1757680" cy="386715"/>
            </a:xfrm>
            <a:custGeom>
              <a:avLst/>
              <a:gdLst/>
              <a:ahLst/>
              <a:cxnLst/>
              <a:rect l="l" t="t" r="r" b="b"/>
              <a:pathLst>
                <a:path w="1757679" h="386715">
                  <a:moveTo>
                    <a:pt x="1757476" y="0"/>
                  </a:moveTo>
                  <a:lnTo>
                    <a:pt x="1750058" y="51952"/>
                  </a:lnTo>
                  <a:lnTo>
                    <a:pt x="1724394" y="102296"/>
                  </a:lnTo>
                  <a:lnTo>
                    <a:pt x="1681822" y="150439"/>
                  </a:lnTo>
                  <a:lnTo>
                    <a:pt x="1623678" y="195783"/>
                  </a:lnTo>
                  <a:lnTo>
                    <a:pt x="1589185" y="217220"/>
                  </a:lnTo>
                  <a:lnTo>
                    <a:pt x="1551300" y="237735"/>
                  </a:lnTo>
                  <a:lnTo>
                    <a:pt x="1510191" y="257252"/>
                  </a:lnTo>
                  <a:lnTo>
                    <a:pt x="1466026" y="275698"/>
                  </a:lnTo>
                  <a:lnTo>
                    <a:pt x="1418970" y="292998"/>
                  </a:lnTo>
                  <a:lnTo>
                    <a:pt x="1369192" y="309078"/>
                  </a:lnTo>
                  <a:lnTo>
                    <a:pt x="1316858" y="323864"/>
                  </a:lnTo>
                  <a:lnTo>
                    <a:pt x="1262137" y="337280"/>
                  </a:lnTo>
                  <a:lnTo>
                    <a:pt x="1205194" y="349253"/>
                  </a:lnTo>
                  <a:lnTo>
                    <a:pt x="1146197" y="359708"/>
                  </a:lnTo>
                  <a:lnTo>
                    <a:pt x="1085313" y="368570"/>
                  </a:lnTo>
                  <a:lnTo>
                    <a:pt x="1022710" y="375766"/>
                  </a:lnTo>
                  <a:lnTo>
                    <a:pt x="958554" y="381221"/>
                  </a:lnTo>
                  <a:lnTo>
                    <a:pt x="893013" y="384860"/>
                  </a:lnTo>
                  <a:lnTo>
                    <a:pt x="827392" y="386584"/>
                  </a:lnTo>
                  <a:lnTo>
                    <a:pt x="763003" y="386385"/>
                  </a:lnTo>
                  <a:lnTo>
                    <a:pt x="700020" y="384324"/>
                  </a:lnTo>
                  <a:lnTo>
                    <a:pt x="638615" y="380462"/>
                  </a:lnTo>
                  <a:lnTo>
                    <a:pt x="578960" y="374858"/>
                  </a:lnTo>
                  <a:lnTo>
                    <a:pt x="521229" y="367574"/>
                  </a:lnTo>
                  <a:lnTo>
                    <a:pt x="465593" y="358670"/>
                  </a:lnTo>
                  <a:lnTo>
                    <a:pt x="412226" y="348207"/>
                  </a:lnTo>
                  <a:lnTo>
                    <a:pt x="361301" y="336244"/>
                  </a:lnTo>
                  <a:lnTo>
                    <a:pt x="312989" y="322844"/>
                  </a:lnTo>
                  <a:lnTo>
                    <a:pt x="267465" y="308065"/>
                  </a:lnTo>
                  <a:lnTo>
                    <a:pt x="224899" y="291969"/>
                  </a:lnTo>
                  <a:lnTo>
                    <a:pt x="185466" y="274616"/>
                  </a:lnTo>
                  <a:lnTo>
                    <a:pt x="149337" y="256067"/>
                  </a:lnTo>
                  <a:lnTo>
                    <a:pt x="116686" y="236382"/>
                  </a:lnTo>
                  <a:lnTo>
                    <a:pt x="62506" y="193847"/>
                  </a:lnTo>
                  <a:lnTo>
                    <a:pt x="24308" y="147495"/>
                  </a:lnTo>
                  <a:lnTo>
                    <a:pt x="3474" y="97810"/>
                  </a:lnTo>
                  <a:lnTo>
                    <a:pt x="0" y="71869"/>
                  </a:lnTo>
                </a:path>
              </a:pathLst>
            </a:custGeom>
            <a:ln w="7620">
              <a:solidFill>
                <a:srgbClr val="231F20"/>
              </a:solidFill>
            </a:ln>
          </p:spPr>
          <p:txBody>
            <a:bodyPr wrap="square" lIns="0" tIns="0" rIns="0" bIns="0" rtlCol="0"/>
            <a:lstStyle/>
            <a:p>
              <a:endParaRPr sz="649"/>
            </a:p>
          </p:txBody>
        </p:sp>
        <p:sp>
          <p:nvSpPr>
            <p:cNvPr id="23" name="object 23"/>
            <p:cNvSpPr/>
            <p:nvPr/>
          </p:nvSpPr>
          <p:spPr>
            <a:xfrm>
              <a:off x="1231847" y="6876809"/>
              <a:ext cx="204470" cy="662940"/>
            </a:xfrm>
            <a:custGeom>
              <a:avLst/>
              <a:gdLst/>
              <a:ahLst/>
              <a:cxnLst/>
              <a:rect l="l" t="t" r="r" b="b"/>
              <a:pathLst>
                <a:path w="204469" h="662940">
                  <a:moveTo>
                    <a:pt x="0" y="0"/>
                  </a:moveTo>
                  <a:lnTo>
                    <a:pt x="20953" y="11991"/>
                  </a:lnTo>
                  <a:lnTo>
                    <a:pt x="41289" y="21504"/>
                  </a:lnTo>
                  <a:lnTo>
                    <a:pt x="57455" y="32879"/>
                  </a:lnTo>
                  <a:lnTo>
                    <a:pt x="65900" y="50457"/>
                  </a:lnTo>
                  <a:lnTo>
                    <a:pt x="69308" y="68048"/>
                  </a:lnTo>
                  <a:lnTo>
                    <a:pt x="76753" y="103677"/>
                  </a:lnTo>
                  <a:lnTo>
                    <a:pt x="87464" y="153756"/>
                  </a:lnTo>
                  <a:lnTo>
                    <a:pt x="100673" y="214695"/>
                  </a:lnTo>
                  <a:lnTo>
                    <a:pt x="115611" y="282907"/>
                  </a:lnTo>
                  <a:lnTo>
                    <a:pt x="131506" y="354803"/>
                  </a:lnTo>
                  <a:lnTo>
                    <a:pt x="147591" y="426793"/>
                  </a:lnTo>
                  <a:lnTo>
                    <a:pt x="163096" y="495289"/>
                  </a:lnTo>
                  <a:lnTo>
                    <a:pt x="177251" y="556702"/>
                  </a:lnTo>
                  <a:lnTo>
                    <a:pt x="189287" y="607444"/>
                  </a:lnTo>
                  <a:lnTo>
                    <a:pt x="198434" y="643926"/>
                  </a:lnTo>
                  <a:lnTo>
                    <a:pt x="203923" y="662559"/>
                  </a:lnTo>
                </a:path>
              </a:pathLst>
            </a:custGeom>
            <a:ln w="7620">
              <a:solidFill>
                <a:srgbClr val="231F20"/>
              </a:solidFill>
            </a:ln>
          </p:spPr>
          <p:txBody>
            <a:bodyPr wrap="square" lIns="0" tIns="0" rIns="0" bIns="0" rtlCol="0"/>
            <a:lstStyle/>
            <a:p>
              <a:endParaRPr sz="649"/>
            </a:p>
          </p:txBody>
        </p:sp>
        <p:sp>
          <p:nvSpPr>
            <p:cNvPr id="24" name="object 24"/>
            <p:cNvSpPr/>
            <p:nvPr/>
          </p:nvSpPr>
          <p:spPr>
            <a:xfrm>
              <a:off x="1058216" y="5489446"/>
              <a:ext cx="1151255" cy="1503680"/>
            </a:xfrm>
            <a:custGeom>
              <a:avLst/>
              <a:gdLst/>
              <a:ahLst/>
              <a:cxnLst/>
              <a:rect l="l" t="t" r="r" b="b"/>
              <a:pathLst>
                <a:path w="1151255" h="1503679">
                  <a:moveTo>
                    <a:pt x="0" y="0"/>
                  </a:moveTo>
                  <a:lnTo>
                    <a:pt x="48957" y="9516"/>
                  </a:lnTo>
                  <a:lnTo>
                    <a:pt x="86804" y="15361"/>
                  </a:lnTo>
                  <a:lnTo>
                    <a:pt x="132125" y="21851"/>
                  </a:lnTo>
                  <a:lnTo>
                    <a:pt x="183845" y="28925"/>
                  </a:lnTo>
                  <a:lnTo>
                    <a:pt x="240883" y="36523"/>
                  </a:lnTo>
                  <a:lnTo>
                    <a:pt x="302164" y="44586"/>
                  </a:lnTo>
                  <a:lnTo>
                    <a:pt x="366609" y="53053"/>
                  </a:lnTo>
                  <a:lnTo>
                    <a:pt x="433140" y="61863"/>
                  </a:lnTo>
                  <a:lnTo>
                    <a:pt x="500680" y="70958"/>
                  </a:lnTo>
                  <a:lnTo>
                    <a:pt x="568151" y="80276"/>
                  </a:lnTo>
                  <a:lnTo>
                    <a:pt x="634476" y="89759"/>
                  </a:lnTo>
                  <a:lnTo>
                    <a:pt x="698575" y="99344"/>
                  </a:lnTo>
                  <a:lnTo>
                    <a:pt x="759373" y="108973"/>
                  </a:lnTo>
                  <a:lnTo>
                    <a:pt x="815791" y="118585"/>
                  </a:lnTo>
                  <a:lnTo>
                    <a:pt x="866751" y="128121"/>
                  </a:lnTo>
                  <a:lnTo>
                    <a:pt x="911175" y="137519"/>
                  </a:lnTo>
                  <a:lnTo>
                    <a:pt x="976108" y="155665"/>
                  </a:lnTo>
                  <a:lnTo>
                    <a:pt x="1003551" y="183077"/>
                  </a:lnTo>
                  <a:lnTo>
                    <a:pt x="1008127" y="227972"/>
                  </a:lnTo>
                  <a:lnTo>
                    <a:pt x="1014438" y="300500"/>
                  </a:lnTo>
                  <a:lnTo>
                    <a:pt x="1018193" y="345576"/>
                  </a:lnTo>
                  <a:lnTo>
                    <a:pt x="1022318" y="395700"/>
                  </a:lnTo>
                  <a:lnTo>
                    <a:pt x="1026794" y="450251"/>
                  </a:lnTo>
                  <a:lnTo>
                    <a:pt x="1031600" y="508611"/>
                  </a:lnTo>
                  <a:lnTo>
                    <a:pt x="1036714" y="570157"/>
                  </a:lnTo>
                  <a:lnTo>
                    <a:pt x="1042117" y="634272"/>
                  </a:lnTo>
                  <a:lnTo>
                    <a:pt x="1047786" y="700333"/>
                  </a:lnTo>
                  <a:lnTo>
                    <a:pt x="1053702" y="767722"/>
                  </a:lnTo>
                  <a:lnTo>
                    <a:pt x="1059843" y="835818"/>
                  </a:lnTo>
                  <a:lnTo>
                    <a:pt x="1066189" y="904001"/>
                  </a:lnTo>
                  <a:lnTo>
                    <a:pt x="1072719" y="971651"/>
                  </a:lnTo>
                  <a:lnTo>
                    <a:pt x="1079412" y="1038147"/>
                  </a:lnTo>
                  <a:lnTo>
                    <a:pt x="1086247" y="1102870"/>
                  </a:lnTo>
                  <a:lnTo>
                    <a:pt x="1093203" y="1165200"/>
                  </a:lnTo>
                  <a:lnTo>
                    <a:pt x="1100260" y="1224516"/>
                  </a:lnTo>
                  <a:lnTo>
                    <a:pt x="1107396" y="1280199"/>
                  </a:lnTo>
                  <a:lnTo>
                    <a:pt x="1114592" y="1331627"/>
                  </a:lnTo>
                  <a:lnTo>
                    <a:pt x="1121825" y="1378182"/>
                  </a:lnTo>
                  <a:lnTo>
                    <a:pt x="1129075" y="1419243"/>
                  </a:lnTo>
                  <a:lnTo>
                    <a:pt x="1143544" y="1482402"/>
                  </a:lnTo>
                  <a:lnTo>
                    <a:pt x="1150721" y="1503260"/>
                  </a:lnTo>
                </a:path>
              </a:pathLst>
            </a:custGeom>
            <a:ln w="7620">
              <a:solidFill>
                <a:srgbClr val="231F20"/>
              </a:solidFill>
            </a:ln>
          </p:spPr>
          <p:txBody>
            <a:bodyPr wrap="square" lIns="0" tIns="0" rIns="0" bIns="0" rtlCol="0"/>
            <a:lstStyle/>
            <a:p>
              <a:endParaRPr sz="649"/>
            </a:p>
          </p:txBody>
        </p:sp>
        <p:sp>
          <p:nvSpPr>
            <p:cNvPr id="25" name="object 25"/>
            <p:cNvSpPr/>
            <p:nvPr/>
          </p:nvSpPr>
          <p:spPr>
            <a:xfrm>
              <a:off x="2607628" y="7248427"/>
              <a:ext cx="903605" cy="903605"/>
            </a:xfrm>
            <a:custGeom>
              <a:avLst/>
              <a:gdLst/>
              <a:ahLst/>
              <a:cxnLst/>
              <a:rect l="l" t="t" r="r" b="b"/>
              <a:pathLst>
                <a:path w="903604" h="903604">
                  <a:moveTo>
                    <a:pt x="451637" y="0"/>
                  </a:moveTo>
                  <a:lnTo>
                    <a:pt x="402427" y="2650"/>
                  </a:lnTo>
                  <a:lnTo>
                    <a:pt x="354751" y="10417"/>
                  </a:lnTo>
                  <a:lnTo>
                    <a:pt x="308886" y="23025"/>
                  </a:lnTo>
                  <a:lnTo>
                    <a:pt x="265107" y="40198"/>
                  </a:lnTo>
                  <a:lnTo>
                    <a:pt x="223689" y="61662"/>
                  </a:lnTo>
                  <a:lnTo>
                    <a:pt x="184908" y="87141"/>
                  </a:lnTo>
                  <a:lnTo>
                    <a:pt x="149039" y="116358"/>
                  </a:lnTo>
                  <a:lnTo>
                    <a:pt x="116358" y="149039"/>
                  </a:lnTo>
                  <a:lnTo>
                    <a:pt x="87141" y="184908"/>
                  </a:lnTo>
                  <a:lnTo>
                    <a:pt x="61662" y="223689"/>
                  </a:lnTo>
                  <a:lnTo>
                    <a:pt x="40198" y="265107"/>
                  </a:lnTo>
                  <a:lnTo>
                    <a:pt x="23025" y="308886"/>
                  </a:lnTo>
                  <a:lnTo>
                    <a:pt x="10417" y="354751"/>
                  </a:lnTo>
                  <a:lnTo>
                    <a:pt x="2650" y="402427"/>
                  </a:lnTo>
                  <a:lnTo>
                    <a:pt x="0" y="451637"/>
                  </a:lnTo>
                  <a:lnTo>
                    <a:pt x="2650" y="500849"/>
                  </a:lnTo>
                  <a:lnTo>
                    <a:pt x="10417" y="548527"/>
                  </a:lnTo>
                  <a:lnTo>
                    <a:pt x="23025" y="594394"/>
                  </a:lnTo>
                  <a:lnTo>
                    <a:pt x="40198" y="638175"/>
                  </a:lnTo>
                  <a:lnTo>
                    <a:pt x="61662" y="679594"/>
                  </a:lnTo>
                  <a:lnTo>
                    <a:pt x="87141" y="718376"/>
                  </a:lnTo>
                  <a:lnTo>
                    <a:pt x="116358" y="754246"/>
                  </a:lnTo>
                  <a:lnTo>
                    <a:pt x="149039" y="786927"/>
                  </a:lnTo>
                  <a:lnTo>
                    <a:pt x="184908" y="816145"/>
                  </a:lnTo>
                  <a:lnTo>
                    <a:pt x="223689" y="841624"/>
                  </a:lnTo>
                  <a:lnTo>
                    <a:pt x="265107" y="863088"/>
                  </a:lnTo>
                  <a:lnTo>
                    <a:pt x="308886" y="880262"/>
                  </a:lnTo>
                  <a:lnTo>
                    <a:pt x="354751" y="892870"/>
                  </a:lnTo>
                  <a:lnTo>
                    <a:pt x="402427" y="900637"/>
                  </a:lnTo>
                  <a:lnTo>
                    <a:pt x="451637" y="903287"/>
                  </a:lnTo>
                  <a:lnTo>
                    <a:pt x="500849" y="900637"/>
                  </a:lnTo>
                  <a:lnTo>
                    <a:pt x="548526" y="892870"/>
                  </a:lnTo>
                  <a:lnTo>
                    <a:pt x="594392" y="880262"/>
                  </a:lnTo>
                  <a:lnTo>
                    <a:pt x="638172" y="863088"/>
                  </a:lnTo>
                  <a:lnTo>
                    <a:pt x="679591" y="841624"/>
                  </a:lnTo>
                  <a:lnTo>
                    <a:pt x="718372" y="816145"/>
                  </a:lnTo>
                  <a:lnTo>
                    <a:pt x="754240" y="786927"/>
                  </a:lnTo>
                  <a:lnTo>
                    <a:pt x="786920" y="754246"/>
                  </a:lnTo>
                  <a:lnTo>
                    <a:pt x="816137" y="718376"/>
                  </a:lnTo>
                  <a:lnTo>
                    <a:pt x="841614" y="679594"/>
                  </a:lnTo>
                  <a:lnTo>
                    <a:pt x="863077" y="638175"/>
                  </a:lnTo>
                  <a:lnTo>
                    <a:pt x="880250" y="594394"/>
                  </a:lnTo>
                  <a:lnTo>
                    <a:pt x="892858" y="548527"/>
                  </a:lnTo>
                  <a:lnTo>
                    <a:pt x="900624" y="500849"/>
                  </a:lnTo>
                  <a:lnTo>
                    <a:pt x="903274" y="451637"/>
                  </a:lnTo>
                  <a:lnTo>
                    <a:pt x="900624" y="402427"/>
                  </a:lnTo>
                  <a:lnTo>
                    <a:pt x="892858" y="354751"/>
                  </a:lnTo>
                  <a:lnTo>
                    <a:pt x="880250" y="308886"/>
                  </a:lnTo>
                  <a:lnTo>
                    <a:pt x="863077" y="265107"/>
                  </a:lnTo>
                  <a:lnTo>
                    <a:pt x="841614" y="223689"/>
                  </a:lnTo>
                  <a:lnTo>
                    <a:pt x="816137" y="184908"/>
                  </a:lnTo>
                  <a:lnTo>
                    <a:pt x="786920" y="149039"/>
                  </a:lnTo>
                  <a:lnTo>
                    <a:pt x="754240" y="116358"/>
                  </a:lnTo>
                  <a:lnTo>
                    <a:pt x="718372" y="87141"/>
                  </a:lnTo>
                  <a:lnTo>
                    <a:pt x="679591" y="61662"/>
                  </a:lnTo>
                  <a:lnTo>
                    <a:pt x="638172" y="40198"/>
                  </a:lnTo>
                  <a:lnTo>
                    <a:pt x="594392" y="23025"/>
                  </a:lnTo>
                  <a:lnTo>
                    <a:pt x="548526" y="10417"/>
                  </a:lnTo>
                  <a:lnTo>
                    <a:pt x="500849" y="2650"/>
                  </a:lnTo>
                  <a:lnTo>
                    <a:pt x="451637" y="0"/>
                  </a:lnTo>
                  <a:close/>
                </a:path>
              </a:pathLst>
            </a:custGeom>
            <a:solidFill>
              <a:srgbClr val="D1D3D4"/>
            </a:solidFill>
          </p:spPr>
          <p:txBody>
            <a:bodyPr wrap="square" lIns="0" tIns="0" rIns="0" bIns="0" rtlCol="0"/>
            <a:lstStyle/>
            <a:p>
              <a:endParaRPr sz="649"/>
            </a:p>
          </p:txBody>
        </p:sp>
        <p:sp>
          <p:nvSpPr>
            <p:cNvPr id="26" name="object 26"/>
            <p:cNvSpPr/>
            <p:nvPr/>
          </p:nvSpPr>
          <p:spPr>
            <a:xfrm>
              <a:off x="2607628" y="7248427"/>
              <a:ext cx="903605" cy="903605"/>
            </a:xfrm>
            <a:custGeom>
              <a:avLst/>
              <a:gdLst/>
              <a:ahLst/>
              <a:cxnLst/>
              <a:rect l="l" t="t" r="r" b="b"/>
              <a:pathLst>
                <a:path w="903604" h="903604">
                  <a:moveTo>
                    <a:pt x="903274" y="451637"/>
                  </a:moveTo>
                  <a:lnTo>
                    <a:pt x="900624" y="500849"/>
                  </a:lnTo>
                  <a:lnTo>
                    <a:pt x="892858" y="548527"/>
                  </a:lnTo>
                  <a:lnTo>
                    <a:pt x="880250" y="594394"/>
                  </a:lnTo>
                  <a:lnTo>
                    <a:pt x="863077" y="638175"/>
                  </a:lnTo>
                  <a:lnTo>
                    <a:pt x="841614" y="679594"/>
                  </a:lnTo>
                  <a:lnTo>
                    <a:pt x="816137" y="718376"/>
                  </a:lnTo>
                  <a:lnTo>
                    <a:pt x="786920" y="754246"/>
                  </a:lnTo>
                  <a:lnTo>
                    <a:pt x="754240" y="786927"/>
                  </a:lnTo>
                  <a:lnTo>
                    <a:pt x="718372" y="816145"/>
                  </a:lnTo>
                  <a:lnTo>
                    <a:pt x="679591" y="841624"/>
                  </a:lnTo>
                  <a:lnTo>
                    <a:pt x="638172" y="863088"/>
                  </a:lnTo>
                  <a:lnTo>
                    <a:pt x="594392" y="880262"/>
                  </a:lnTo>
                  <a:lnTo>
                    <a:pt x="548526" y="892870"/>
                  </a:lnTo>
                  <a:lnTo>
                    <a:pt x="500849" y="900637"/>
                  </a:lnTo>
                  <a:lnTo>
                    <a:pt x="451637" y="903287"/>
                  </a:lnTo>
                  <a:lnTo>
                    <a:pt x="402427" y="900637"/>
                  </a:lnTo>
                  <a:lnTo>
                    <a:pt x="354751" y="892870"/>
                  </a:lnTo>
                  <a:lnTo>
                    <a:pt x="308886" y="880262"/>
                  </a:lnTo>
                  <a:lnTo>
                    <a:pt x="265107" y="863088"/>
                  </a:lnTo>
                  <a:lnTo>
                    <a:pt x="223689" y="841624"/>
                  </a:lnTo>
                  <a:lnTo>
                    <a:pt x="184908" y="816145"/>
                  </a:lnTo>
                  <a:lnTo>
                    <a:pt x="149039" y="786927"/>
                  </a:lnTo>
                  <a:lnTo>
                    <a:pt x="116358" y="754246"/>
                  </a:lnTo>
                  <a:lnTo>
                    <a:pt x="87141" y="718376"/>
                  </a:lnTo>
                  <a:lnTo>
                    <a:pt x="61662" y="679594"/>
                  </a:lnTo>
                  <a:lnTo>
                    <a:pt x="40198" y="638175"/>
                  </a:lnTo>
                  <a:lnTo>
                    <a:pt x="23025" y="594394"/>
                  </a:lnTo>
                  <a:lnTo>
                    <a:pt x="10417" y="548527"/>
                  </a:lnTo>
                  <a:lnTo>
                    <a:pt x="2650" y="500849"/>
                  </a:lnTo>
                  <a:lnTo>
                    <a:pt x="0" y="451637"/>
                  </a:lnTo>
                  <a:lnTo>
                    <a:pt x="2650" y="402427"/>
                  </a:lnTo>
                  <a:lnTo>
                    <a:pt x="10417" y="354751"/>
                  </a:lnTo>
                  <a:lnTo>
                    <a:pt x="23025" y="308886"/>
                  </a:lnTo>
                  <a:lnTo>
                    <a:pt x="40198" y="265107"/>
                  </a:lnTo>
                  <a:lnTo>
                    <a:pt x="61662" y="223689"/>
                  </a:lnTo>
                  <a:lnTo>
                    <a:pt x="87141" y="184908"/>
                  </a:lnTo>
                  <a:lnTo>
                    <a:pt x="116358" y="149039"/>
                  </a:lnTo>
                  <a:lnTo>
                    <a:pt x="149039" y="116358"/>
                  </a:lnTo>
                  <a:lnTo>
                    <a:pt x="184908" y="87141"/>
                  </a:lnTo>
                  <a:lnTo>
                    <a:pt x="223689" y="61662"/>
                  </a:lnTo>
                  <a:lnTo>
                    <a:pt x="265107" y="40198"/>
                  </a:lnTo>
                  <a:lnTo>
                    <a:pt x="308886" y="23025"/>
                  </a:lnTo>
                  <a:lnTo>
                    <a:pt x="354751" y="10417"/>
                  </a:lnTo>
                  <a:lnTo>
                    <a:pt x="402427" y="2650"/>
                  </a:lnTo>
                  <a:lnTo>
                    <a:pt x="451637" y="0"/>
                  </a:lnTo>
                  <a:lnTo>
                    <a:pt x="500849" y="2650"/>
                  </a:lnTo>
                  <a:lnTo>
                    <a:pt x="548526" y="10417"/>
                  </a:lnTo>
                  <a:lnTo>
                    <a:pt x="594392" y="23025"/>
                  </a:lnTo>
                  <a:lnTo>
                    <a:pt x="638172" y="40198"/>
                  </a:lnTo>
                  <a:lnTo>
                    <a:pt x="679591" y="61662"/>
                  </a:lnTo>
                  <a:lnTo>
                    <a:pt x="718372" y="87141"/>
                  </a:lnTo>
                  <a:lnTo>
                    <a:pt x="754240" y="116358"/>
                  </a:lnTo>
                  <a:lnTo>
                    <a:pt x="786920" y="149039"/>
                  </a:lnTo>
                  <a:lnTo>
                    <a:pt x="816137" y="184908"/>
                  </a:lnTo>
                  <a:lnTo>
                    <a:pt x="841614" y="223689"/>
                  </a:lnTo>
                  <a:lnTo>
                    <a:pt x="863077" y="265107"/>
                  </a:lnTo>
                  <a:lnTo>
                    <a:pt x="880250" y="308886"/>
                  </a:lnTo>
                  <a:lnTo>
                    <a:pt x="892858" y="354751"/>
                  </a:lnTo>
                  <a:lnTo>
                    <a:pt x="900624" y="402427"/>
                  </a:lnTo>
                  <a:lnTo>
                    <a:pt x="903274" y="451637"/>
                  </a:lnTo>
                  <a:close/>
                </a:path>
              </a:pathLst>
            </a:custGeom>
            <a:ln w="12700">
              <a:solidFill>
                <a:srgbClr val="231F20"/>
              </a:solidFill>
            </a:ln>
          </p:spPr>
          <p:txBody>
            <a:bodyPr wrap="square" lIns="0" tIns="0" rIns="0" bIns="0" rtlCol="0"/>
            <a:lstStyle/>
            <a:p>
              <a:endParaRPr sz="649"/>
            </a:p>
          </p:txBody>
        </p:sp>
        <p:sp>
          <p:nvSpPr>
            <p:cNvPr id="27" name="object 27"/>
            <p:cNvSpPr/>
            <p:nvPr/>
          </p:nvSpPr>
          <p:spPr>
            <a:xfrm>
              <a:off x="2998494" y="7369905"/>
              <a:ext cx="121920" cy="43815"/>
            </a:xfrm>
            <a:custGeom>
              <a:avLst/>
              <a:gdLst/>
              <a:ahLst/>
              <a:cxnLst/>
              <a:rect l="l" t="t" r="r" b="b"/>
              <a:pathLst>
                <a:path w="121919" h="43815">
                  <a:moveTo>
                    <a:pt x="121551" y="0"/>
                  </a:moveTo>
                  <a:lnTo>
                    <a:pt x="0" y="0"/>
                  </a:lnTo>
                  <a:lnTo>
                    <a:pt x="0" y="41668"/>
                  </a:lnTo>
                  <a:lnTo>
                    <a:pt x="121551" y="43561"/>
                  </a:lnTo>
                  <a:lnTo>
                    <a:pt x="121551" y="0"/>
                  </a:lnTo>
                  <a:close/>
                </a:path>
              </a:pathLst>
            </a:custGeom>
            <a:solidFill>
              <a:srgbClr val="FFFFFF"/>
            </a:solidFill>
          </p:spPr>
          <p:txBody>
            <a:bodyPr wrap="square" lIns="0" tIns="0" rIns="0" bIns="0" rtlCol="0"/>
            <a:lstStyle/>
            <a:p>
              <a:endParaRPr sz="649"/>
            </a:p>
          </p:txBody>
        </p:sp>
        <p:sp>
          <p:nvSpPr>
            <p:cNvPr id="28" name="object 28"/>
            <p:cNvSpPr/>
            <p:nvPr/>
          </p:nvSpPr>
          <p:spPr>
            <a:xfrm>
              <a:off x="2998494" y="7369905"/>
              <a:ext cx="121920" cy="43815"/>
            </a:xfrm>
            <a:custGeom>
              <a:avLst/>
              <a:gdLst/>
              <a:ahLst/>
              <a:cxnLst/>
              <a:rect l="l" t="t" r="r" b="b"/>
              <a:pathLst>
                <a:path w="121919" h="43815">
                  <a:moveTo>
                    <a:pt x="0" y="41668"/>
                  </a:moveTo>
                  <a:lnTo>
                    <a:pt x="0" y="0"/>
                  </a:lnTo>
                  <a:lnTo>
                    <a:pt x="121551" y="0"/>
                  </a:lnTo>
                  <a:lnTo>
                    <a:pt x="121551" y="43561"/>
                  </a:lnTo>
                </a:path>
              </a:pathLst>
            </a:custGeom>
            <a:ln w="12700">
              <a:solidFill>
                <a:srgbClr val="231F20"/>
              </a:solidFill>
            </a:ln>
          </p:spPr>
          <p:txBody>
            <a:bodyPr wrap="square" lIns="0" tIns="0" rIns="0" bIns="0" rtlCol="0"/>
            <a:lstStyle/>
            <a:p>
              <a:endParaRPr sz="649"/>
            </a:p>
          </p:txBody>
        </p:sp>
        <p:sp>
          <p:nvSpPr>
            <p:cNvPr id="29" name="object 29"/>
            <p:cNvSpPr/>
            <p:nvPr/>
          </p:nvSpPr>
          <p:spPr>
            <a:xfrm>
              <a:off x="2930118" y="7413066"/>
              <a:ext cx="258445" cy="624840"/>
            </a:xfrm>
            <a:custGeom>
              <a:avLst/>
              <a:gdLst/>
              <a:ahLst/>
              <a:cxnLst/>
              <a:rect l="l" t="t" r="r" b="b"/>
              <a:pathLst>
                <a:path w="258444" h="624840">
                  <a:moveTo>
                    <a:pt x="258292" y="0"/>
                  </a:moveTo>
                  <a:lnTo>
                    <a:pt x="0" y="0"/>
                  </a:lnTo>
                  <a:lnTo>
                    <a:pt x="0" y="624700"/>
                  </a:lnTo>
                  <a:lnTo>
                    <a:pt x="258292" y="624700"/>
                  </a:lnTo>
                  <a:lnTo>
                    <a:pt x="258292" y="0"/>
                  </a:lnTo>
                  <a:close/>
                </a:path>
              </a:pathLst>
            </a:custGeom>
            <a:solidFill>
              <a:srgbClr val="FFFFFF"/>
            </a:solidFill>
          </p:spPr>
          <p:txBody>
            <a:bodyPr wrap="square" lIns="0" tIns="0" rIns="0" bIns="0" rtlCol="0"/>
            <a:lstStyle/>
            <a:p>
              <a:endParaRPr sz="649"/>
            </a:p>
          </p:txBody>
        </p:sp>
        <p:sp>
          <p:nvSpPr>
            <p:cNvPr id="30" name="object 30"/>
            <p:cNvSpPr/>
            <p:nvPr/>
          </p:nvSpPr>
          <p:spPr>
            <a:xfrm>
              <a:off x="2930119" y="7413061"/>
              <a:ext cx="258445" cy="624840"/>
            </a:xfrm>
            <a:custGeom>
              <a:avLst/>
              <a:gdLst/>
              <a:ahLst/>
              <a:cxnLst/>
              <a:rect l="l" t="t" r="r" b="b"/>
              <a:pathLst>
                <a:path w="258444" h="624840">
                  <a:moveTo>
                    <a:pt x="258292" y="0"/>
                  </a:moveTo>
                  <a:lnTo>
                    <a:pt x="0" y="0"/>
                  </a:lnTo>
                  <a:lnTo>
                    <a:pt x="0" y="624700"/>
                  </a:lnTo>
                  <a:lnTo>
                    <a:pt x="258292" y="624700"/>
                  </a:lnTo>
                  <a:lnTo>
                    <a:pt x="258292" y="0"/>
                  </a:lnTo>
                  <a:close/>
                </a:path>
              </a:pathLst>
            </a:custGeom>
            <a:ln w="12700">
              <a:solidFill>
                <a:srgbClr val="231F20"/>
              </a:solidFill>
            </a:ln>
          </p:spPr>
          <p:txBody>
            <a:bodyPr wrap="square" lIns="0" tIns="0" rIns="0" bIns="0" rtlCol="0"/>
            <a:lstStyle/>
            <a:p>
              <a:endParaRPr sz="649"/>
            </a:p>
          </p:txBody>
        </p:sp>
        <p:sp>
          <p:nvSpPr>
            <p:cNvPr id="31" name="object 31"/>
            <p:cNvSpPr/>
            <p:nvPr/>
          </p:nvSpPr>
          <p:spPr>
            <a:xfrm>
              <a:off x="2954147" y="7971612"/>
              <a:ext cx="210820" cy="41275"/>
            </a:xfrm>
            <a:custGeom>
              <a:avLst/>
              <a:gdLst/>
              <a:ahLst/>
              <a:cxnLst/>
              <a:rect l="l" t="t" r="r" b="b"/>
              <a:pathLst>
                <a:path w="210819" h="41275">
                  <a:moveTo>
                    <a:pt x="210235" y="0"/>
                  </a:moveTo>
                  <a:lnTo>
                    <a:pt x="0" y="0"/>
                  </a:lnTo>
                  <a:lnTo>
                    <a:pt x="0" y="41198"/>
                  </a:lnTo>
                  <a:lnTo>
                    <a:pt x="210235" y="41198"/>
                  </a:lnTo>
                  <a:lnTo>
                    <a:pt x="210235" y="0"/>
                  </a:lnTo>
                  <a:close/>
                </a:path>
              </a:pathLst>
            </a:custGeom>
            <a:solidFill>
              <a:srgbClr val="E3873E"/>
            </a:solidFill>
          </p:spPr>
          <p:txBody>
            <a:bodyPr wrap="square" lIns="0" tIns="0" rIns="0" bIns="0" rtlCol="0"/>
            <a:lstStyle/>
            <a:p>
              <a:endParaRPr sz="649"/>
            </a:p>
          </p:txBody>
        </p:sp>
        <p:pic>
          <p:nvPicPr>
            <p:cNvPr id="32" name="object 32"/>
            <p:cNvPicPr/>
            <p:nvPr/>
          </p:nvPicPr>
          <p:blipFill>
            <a:blip r:embed="rId4" cstate="print"/>
            <a:stretch>
              <a:fillRect/>
            </a:stretch>
          </p:blipFill>
          <p:spPr>
            <a:xfrm>
              <a:off x="1675815" y="7435189"/>
              <a:ext cx="858215" cy="558698"/>
            </a:xfrm>
            <a:prstGeom prst="rect">
              <a:avLst/>
            </a:prstGeom>
          </p:spPr>
        </p:pic>
        <p:sp>
          <p:nvSpPr>
            <p:cNvPr id="33" name="object 33"/>
            <p:cNvSpPr/>
            <p:nvPr/>
          </p:nvSpPr>
          <p:spPr>
            <a:xfrm>
              <a:off x="1675815" y="7435187"/>
              <a:ext cx="858519" cy="558800"/>
            </a:xfrm>
            <a:custGeom>
              <a:avLst/>
              <a:gdLst/>
              <a:ahLst/>
              <a:cxnLst/>
              <a:rect l="l" t="t" r="r" b="b"/>
              <a:pathLst>
                <a:path w="858519" h="558800">
                  <a:moveTo>
                    <a:pt x="429107" y="82600"/>
                  </a:moveTo>
                  <a:lnTo>
                    <a:pt x="544080" y="0"/>
                  </a:lnTo>
                  <a:lnTo>
                    <a:pt x="580212" y="108953"/>
                  </a:lnTo>
                  <a:lnTo>
                    <a:pt x="743229" y="74853"/>
                  </a:lnTo>
                  <a:lnTo>
                    <a:pt x="690841" y="180974"/>
                  </a:lnTo>
                  <a:lnTo>
                    <a:pt x="858215" y="204508"/>
                  </a:lnTo>
                  <a:lnTo>
                    <a:pt x="731329" y="279349"/>
                  </a:lnTo>
                  <a:lnTo>
                    <a:pt x="858215" y="354202"/>
                  </a:lnTo>
                  <a:lnTo>
                    <a:pt x="690841" y="377723"/>
                  </a:lnTo>
                  <a:lnTo>
                    <a:pt x="743229" y="483857"/>
                  </a:lnTo>
                  <a:lnTo>
                    <a:pt x="580212" y="449732"/>
                  </a:lnTo>
                  <a:lnTo>
                    <a:pt x="544080" y="558698"/>
                  </a:lnTo>
                  <a:lnTo>
                    <a:pt x="429107" y="476097"/>
                  </a:lnTo>
                  <a:lnTo>
                    <a:pt x="314134" y="558698"/>
                  </a:lnTo>
                  <a:lnTo>
                    <a:pt x="278002" y="449732"/>
                  </a:lnTo>
                  <a:lnTo>
                    <a:pt x="114985" y="483857"/>
                  </a:lnTo>
                  <a:lnTo>
                    <a:pt x="167373" y="377723"/>
                  </a:lnTo>
                  <a:lnTo>
                    <a:pt x="0" y="354202"/>
                  </a:lnTo>
                  <a:lnTo>
                    <a:pt x="126885" y="279349"/>
                  </a:lnTo>
                  <a:lnTo>
                    <a:pt x="0" y="204508"/>
                  </a:lnTo>
                  <a:lnTo>
                    <a:pt x="167373" y="180974"/>
                  </a:lnTo>
                  <a:lnTo>
                    <a:pt x="114985" y="74853"/>
                  </a:lnTo>
                  <a:lnTo>
                    <a:pt x="278002" y="108953"/>
                  </a:lnTo>
                  <a:lnTo>
                    <a:pt x="314134" y="0"/>
                  </a:lnTo>
                  <a:lnTo>
                    <a:pt x="429107" y="82600"/>
                  </a:lnTo>
                  <a:close/>
                </a:path>
              </a:pathLst>
            </a:custGeom>
            <a:ln w="7620">
              <a:solidFill>
                <a:srgbClr val="E3873E"/>
              </a:solidFill>
            </a:ln>
          </p:spPr>
          <p:txBody>
            <a:bodyPr wrap="square" lIns="0" tIns="0" rIns="0" bIns="0" rtlCol="0"/>
            <a:lstStyle/>
            <a:p>
              <a:endParaRPr sz="649"/>
            </a:p>
          </p:txBody>
        </p:sp>
        <p:pic>
          <p:nvPicPr>
            <p:cNvPr id="34" name="object 34"/>
            <p:cNvPicPr/>
            <p:nvPr/>
          </p:nvPicPr>
          <p:blipFill>
            <a:blip r:embed="rId5" cstate="print"/>
            <a:stretch>
              <a:fillRect/>
            </a:stretch>
          </p:blipFill>
          <p:spPr>
            <a:xfrm>
              <a:off x="1267726" y="7754784"/>
              <a:ext cx="858202" cy="558723"/>
            </a:xfrm>
            <a:prstGeom prst="rect">
              <a:avLst/>
            </a:prstGeom>
          </p:spPr>
        </p:pic>
        <p:sp>
          <p:nvSpPr>
            <p:cNvPr id="35" name="object 35"/>
            <p:cNvSpPr/>
            <p:nvPr/>
          </p:nvSpPr>
          <p:spPr>
            <a:xfrm>
              <a:off x="1267716" y="7754795"/>
              <a:ext cx="858519" cy="558800"/>
            </a:xfrm>
            <a:custGeom>
              <a:avLst/>
              <a:gdLst/>
              <a:ahLst/>
              <a:cxnLst/>
              <a:rect l="l" t="t" r="r" b="b"/>
              <a:pathLst>
                <a:path w="858519" h="558800">
                  <a:moveTo>
                    <a:pt x="429107" y="82600"/>
                  </a:moveTo>
                  <a:lnTo>
                    <a:pt x="544080" y="0"/>
                  </a:lnTo>
                  <a:lnTo>
                    <a:pt x="580212" y="108966"/>
                  </a:lnTo>
                  <a:lnTo>
                    <a:pt x="743229" y="74866"/>
                  </a:lnTo>
                  <a:lnTo>
                    <a:pt x="690841" y="180975"/>
                  </a:lnTo>
                  <a:lnTo>
                    <a:pt x="858215" y="204508"/>
                  </a:lnTo>
                  <a:lnTo>
                    <a:pt x="731329" y="279349"/>
                  </a:lnTo>
                  <a:lnTo>
                    <a:pt x="858215" y="354215"/>
                  </a:lnTo>
                  <a:lnTo>
                    <a:pt x="690841" y="377723"/>
                  </a:lnTo>
                  <a:lnTo>
                    <a:pt x="743229" y="483857"/>
                  </a:lnTo>
                  <a:lnTo>
                    <a:pt x="580212" y="449745"/>
                  </a:lnTo>
                  <a:lnTo>
                    <a:pt x="544080" y="558711"/>
                  </a:lnTo>
                  <a:lnTo>
                    <a:pt x="429107" y="476097"/>
                  </a:lnTo>
                  <a:lnTo>
                    <a:pt x="314121" y="558711"/>
                  </a:lnTo>
                  <a:lnTo>
                    <a:pt x="277990" y="449745"/>
                  </a:lnTo>
                  <a:lnTo>
                    <a:pt x="114985" y="483857"/>
                  </a:lnTo>
                  <a:lnTo>
                    <a:pt x="167373" y="377723"/>
                  </a:lnTo>
                  <a:lnTo>
                    <a:pt x="0" y="354215"/>
                  </a:lnTo>
                  <a:lnTo>
                    <a:pt x="126885" y="279349"/>
                  </a:lnTo>
                  <a:lnTo>
                    <a:pt x="0" y="204508"/>
                  </a:lnTo>
                  <a:lnTo>
                    <a:pt x="167373" y="180975"/>
                  </a:lnTo>
                  <a:lnTo>
                    <a:pt x="114985" y="74866"/>
                  </a:lnTo>
                  <a:lnTo>
                    <a:pt x="277990" y="108966"/>
                  </a:lnTo>
                  <a:lnTo>
                    <a:pt x="314121" y="0"/>
                  </a:lnTo>
                  <a:lnTo>
                    <a:pt x="429107" y="82600"/>
                  </a:lnTo>
                  <a:close/>
                </a:path>
              </a:pathLst>
            </a:custGeom>
            <a:ln w="7620">
              <a:solidFill>
                <a:srgbClr val="E3873E"/>
              </a:solidFill>
            </a:ln>
          </p:spPr>
          <p:txBody>
            <a:bodyPr wrap="square" lIns="0" tIns="0" rIns="0" bIns="0" rtlCol="0"/>
            <a:lstStyle/>
            <a:p>
              <a:endParaRPr sz="649"/>
            </a:p>
          </p:txBody>
        </p:sp>
      </p:grpSp>
      <p:sp>
        <p:nvSpPr>
          <p:cNvPr id="36" name="object 36"/>
          <p:cNvSpPr txBox="1"/>
          <p:nvPr/>
        </p:nvSpPr>
        <p:spPr>
          <a:xfrm>
            <a:off x="2978013" y="2254820"/>
            <a:ext cx="3197653" cy="1669418"/>
          </a:xfrm>
          <a:prstGeom prst="rect">
            <a:avLst/>
          </a:prstGeom>
          <a:ln w="12700">
            <a:solidFill>
              <a:srgbClr val="231F20"/>
            </a:solidFill>
          </a:ln>
        </p:spPr>
        <p:txBody>
          <a:bodyPr vert="horz" wrap="square" lIns="0" tIns="63550" rIns="0" bIns="0" rtlCol="0">
            <a:spAutoFit/>
          </a:bodyPr>
          <a:lstStyle/>
          <a:p>
            <a:pPr marL="103869">
              <a:spcBef>
                <a:spcPts val="500"/>
              </a:spcBef>
            </a:pPr>
            <a:r>
              <a:rPr sz="577" spc="12" dirty="0">
                <a:solidFill>
                  <a:srgbClr val="231F20"/>
                </a:solidFill>
                <a:latin typeface="Tahoma"/>
                <a:cs typeface="Tahoma"/>
              </a:rPr>
              <a:t>Battery</a:t>
            </a:r>
            <a:r>
              <a:rPr sz="577" spc="-70" dirty="0">
                <a:solidFill>
                  <a:srgbClr val="231F20"/>
                </a:solidFill>
                <a:latin typeface="Tahoma"/>
                <a:cs typeface="Tahoma"/>
              </a:rPr>
              <a:t> </a:t>
            </a:r>
            <a:r>
              <a:rPr sz="577" spc="-2" dirty="0">
                <a:solidFill>
                  <a:srgbClr val="231F20"/>
                </a:solidFill>
                <a:latin typeface="Tahoma"/>
                <a:cs typeface="Tahoma"/>
              </a:rPr>
              <a:t>charging</a:t>
            </a:r>
            <a:endParaRPr sz="577">
              <a:latin typeface="Tahoma"/>
              <a:cs typeface="Tahoma"/>
            </a:endParaRPr>
          </a:p>
          <a:p>
            <a:pPr>
              <a:lnSpc>
                <a:spcPct val="100000"/>
              </a:lnSpc>
            </a:pPr>
            <a:endParaRPr sz="674">
              <a:latin typeface="Tahoma"/>
              <a:cs typeface="Tahoma"/>
            </a:endParaRPr>
          </a:p>
          <a:p>
            <a:pPr>
              <a:lnSpc>
                <a:spcPct val="100000"/>
              </a:lnSpc>
            </a:pPr>
            <a:endParaRPr sz="674">
              <a:latin typeface="Tahoma"/>
              <a:cs typeface="Tahoma"/>
            </a:endParaRPr>
          </a:p>
          <a:p>
            <a:pPr>
              <a:lnSpc>
                <a:spcPct val="100000"/>
              </a:lnSpc>
            </a:pPr>
            <a:endParaRPr sz="674">
              <a:latin typeface="Tahoma"/>
              <a:cs typeface="Tahoma"/>
            </a:endParaRPr>
          </a:p>
          <a:p>
            <a:pPr>
              <a:lnSpc>
                <a:spcPct val="100000"/>
              </a:lnSpc>
            </a:pPr>
            <a:endParaRPr sz="674">
              <a:latin typeface="Tahoma"/>
              <a:cs typeface="Tahoma"/>
            </a:endParaRPr>
          </a:p>
          <a:p>
            <a:pPr>
              <a:lnSpc>
                <a:spcPct val="100000"/>
              </a:lnSpc>
            </a:pPr>
            <a:endParaRPr sz="674">
              <a:latin typeface="Tahoma"/>
              <a:cs typeface="Tahoma"/>
            </a:endParaRPr>
          </a:p>
          <a:p>
            <a:pPr>
              <a:lnSpc>
                <a:spcPct val="100000"/>
              </a:lnSpc>
            </a:pPr>
            <a:endParaRPr sz="674">
              <a:latin typeface="Tahoma"/>
              <a:cs typeface="Tahoma"/>
            </a:endParaRPr>
          </a:p>
          <a:p>
            <a:pPr>
              <a:lnSpc>
                <a:spcPct val="100000"/>
              </a:lnSpc>
            </a:pPr>
            <a:endParaRPr sz="674">
              <a:latin typeface="Tahoma"/>
              <a:cs typeface="Tahoma"/>
            </a:endParaRPr>
          </a:p>
          <a:p>
            <a:pPr>
              <a:lnSpc>
                <a:spcPct val="100000"/>
              </a:lnSpc>
            </a:pPr>
            <a:endParaRPr sz="674">
              <a:latin typeface="Tahoma"/>
              <a:cs typeface="Tahoma"/>
            </a:endParaRPr>
          </a:p>
          <a:p>
            <a:pPr>
              <a:lnSpc>
                <a:spcPct val="100000"/>
              </a:lnSpc>
            </a:pPr>
            <a:endParaRPr sz="674">
              <a:latin typeface="Tahoma"/>
              <a:cs typeface="Tahoma"/>
            </a:endParaRPr>
          </a:p>
          <a:p>
            <a:pPr>
              <a:lnSpc>
                <a:spcPct val="100000"/>
              </a:lnSpc>
            </a:pPr>
            <a:endParaRPr sz="674">
              <a:latin typeface="Tahoma"/>
              <a:cs typeface="Tahoma"/>
            </a:endParaRPr>
          </a:p>
          <a:p>
            <a:pPr>
              <a:lnSpc>
                <a:spcPct val="100000"/>
              </a:lnSpc>
            </a:pPr>
            <a:endParaRPr sz="674">
              <a:latin typeface="Tahoma"/>
              <a:cs typeface="Tahoma"/>
            </a:endParaRPr>
          </a:p>
          <a:p>
            <a:pPr>
              <a:spcBef>
                <a:spcPts val="24"/>
              </a:spcBef>
            </a:pPr>
            <a:endParaRPr sz="505">
              <a:latin typeface="Tahoma"/>
              <a:cs typeface="Tahoma"/>
            </a:endParaRPr>
          </a:p>
          <a:p>
            <a:pPr marL="471690" marR="2281768" indent="196130">
              <a:lnSpc>
                <a:spcPct val="107500"/>
              </a:lnSpc>
            </a:pPr>
            <a:r>
              <a:rPr sz="938" b="1" spc="-70" dirty="0">
                <a:solidFill>
                  <a:srgbClr val="231F20"/>
                </a:solidFill>
                <a:latin typeface="Tahoma"/>
                <a:cs typeface="Tahoma"/>
              </a:rPr>
              <a:t>biiip!  </a:t>
            </a:r>
            <a:r>
              <a:rPr sz="938" b="1" spc="-77" dirty="0">
                <a:solidFill>
                  <a:srgbClr val="231F20"/>
                </a:solidFill>
                <a:latin typeface="Tahoma"/>
                <a:cs typeface="Tahoma"/>
              </a:rPr>
              <a:t>biiip!</a:t>
            </a:r>
            <a:endParaRPr sz="938">
              <a:latin typeface="Tahoma"/>
              <a:cs typeface="Tahoma"/>
            </a:endParaRPr>
          </a:p>
        </p:txBody>
      </p:sp>
      <p:pic>
        <p:nvPicPr>
          <p:cNvPr id="37" name="object 37"/>
          <p:cNvPicPr/>
          <p:nvPr/>
        </p:nvPicPr>
        <p:blipFill>
          <a:blip r:embed="rId6" cstate="print"/>
          <a:stretch>
            <a:fillRect/>
          </a:stretch>
        </p:blipFill>
        <p:spPr>
          <a:xfrm>
            <a:off x="3088401" y="2811285"/>
            <a:ext cx="3004333" cy="1930675"/>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130287" y="4919958"/>
            <a:ext cx="47662" cy="94978"/>
          </a:xfrm>
          <a:prstGeom prst="rect">
            <a:avLst/>
          </a:prstGeom>
        </p:spPr>
        <p:txBody>
          <a:bodyPr vert="horz" wrap="square" lIns="0" tIns="6111" rIns="0" bIns="0" rtlCol="0">
            <a:spAutoFit/>
          </a:bodyPr>
          <a:lstStyle/>
          <a:p>
            <a:pPr marL="6110">
              <a:spcBef>
                <a:spcPts val="48"/>
              </a:spcBef>
            </a:pPr>
            <a:r>
              <a:rPr sz="577" spc="5" dirty="0">
                <a:solidFill>
                  <a:srgbClr val="231F20"/>
                </a:solidFill>
                <a:latin typeface="Miriam"/>
                <a:cs typeface="Miriam"/>
              </a:rPr>
              <a:t>5</a:t>
            </a:r>
            <a:endParaRPr sz="577">
              <a:latin typeface="Miriam"/>
              <a:cs typeface="Miriam"/>
            </a:endParaRPr>
          </a:p>
        </p:txBody>
      </p:sp>
      <p:sp>
        <p:nvSpPr>
          <p:cNvPr id="3" name="object 3"/>
          <p:cNvSpPr txBox="1"/>
          <p:nvPr/>
        </p:nvSpPr>
        <p:spPr>
          <a:xfrm>
            <a:off x="5324491" y="4936722"/>
            <a:ext cx="661162" cy="80165"/>
          </a:xfrm>
          <a:prstGeom prst="rect">
            <a:avLst/>
          </a:prstGeom>
        </p:spPr>
        <p:txBody>
          <a:bodyPr vert="horz" wrap="square" lIns="0" tIns="6111" rIns="0" bIns="0" rtlCol="0">
            <a:spAutoFit/>
          </a:bodyPr>
          <a:lstStyle/>
          <a:p>
            <a:pPr marL="18330">
              <a:spcBef>
                <a:spcPts val="48"/>
              </a:spcBef>
            </a:pPr>
            <a:r>
              <a:rPr sz="481" dirty="0">
                <a:solidFill>
                  <a:srgbClr val="231F20"/>
                </a:solidFill>
                <a:latin typeface="Tahoma"/>
                <a:cs typeface="Tahoma"/>
              </a:rPr>
              <a:t>Stressles</a:t>
            </a:r>
            <a:r>
              <a:rPr sz="481" spc="-2" dirty="0">
                <a:solidFill>
                  <a:srgbClr val="231F20"/>
                </a:solidFill>
                <a:latin typeface="Tahoma"/>
                <a:cs typeface="Tahoma"/>
              </a:rPr>
              <a:t>s</a:t>
            </a:r>
            <a:r>
              <a:rPr sz="397" spc="-36" baseline="35353" dirty="0">
                <a:solidFill>
                  <a:srgbClr val="231F20"/>
                </a:solidFill>
                <a:latin typeface="Tahoma"/>
                <a:cs typeface="Tahoma"/>
              </a:rPr>
              <a:t>®</a:t>
            </a:r>
            <a:r>
              <a:rPr sz="397" spc="14" baseline="35353" dirty="0">
                <a:solidFill>
                  <a:srgbClr val="231F20"/>
                </a:solidFill>
                <a:latin typeface="Tahoma"/>
                <a:cs typeface="Tahoma"/>
              </a:rPr>
              <a:t> </a:t>
            </a:r>
            <a:r>
              <a:rPr sz="481" spc="31" dirty="0">
                <a:solidFill>
                  <a:srgbClr val="231F20"/>
                </a:solidFill>
                <a:latin typeface="Tahoma"/>
                <a:cs typeface="Tahoma"/>
              </a:rPr>
              <a:t>Mi</a:t>
            </a:r>
            <a:r>
              <a:rPr sz="481" spc="17" dirty="0">
                <a:solidFill>
                  <a:srgbClr val="231F20"/>
                </a:solidFill>
                <a:latin typeface="Tahoma"/>
                <a:cs typeface="Tahoma"/>
              </a:rPr>
              <a:t>k</a:t>
            </a:r>
            <a:r>
              <a:rPr sz="481" spc="-2" dirty="0">
                <a:solidFill>
                  <a:srgbClr val="231F20"/>
                </a:solidFill>
                <a:latin typeface="Tahoma"/>
                <a:cs typeface="Tahoma"/>
              </a:rPr>
              <a:t>e</a:t>
            </a:r>
            <a:r>
              <a:rPr sz="481" spc="-58" dirty="0">
                <a:solidFill>
                  <a:srgbClr val="231F20"/>
                </a:solidFill>
                <a:latin typeface="Tahoma"/>
                <a:cs typeface="Tahoma"/>
              </a:rPr>
              <a:t> </a:t>
            </a:r>
            <a:r>
              <a:rPr sz="481" spc="12" dirty="0">
                <a:solidFill>
                  <a:srgbClr val="231F20"/>
                </a:solidFill>
                <a:latin typeface="Tahoma"/>
                <a:cs typeface="Tahoma"/>
              </a:rPr>
              <a:t>&amp;</a:t>
            </a:r>
            <a:r>
              <a:rPr sz="481" spc="-58" dirty="0">
                <a:solidFill>
                  <a:srgbClr val="231F20"/>
                </a:solidFill>
                <a:latin typeface="Tahoma"/>
                <a:cs typeface="Tahoma"/>
              </a:rPr>
              <a:t> </a:t>
            </a:r>
            <a:r>
              <a:rPr sz="481" spc="22" dirty="0">
                <a:solidFill>
                  <a:srgbClr val="231F20"/>
                </a:solidFill>
                <a:latin typeface="Tahoma"/>
                <a:cs typeface="Tahoma"/>
              </a:rPr>
              <a:t>Max</a:t>
            </a:r>
            <a:endParaRPr sz="481">
              <a:latin typeface="Tahoma"/>
              <a:cs typeface="Tahoma"/>
            </a:endParaRPr>
          </a:p>
        </p:txBody>
      </p:sp>
      <p:sp>
        <p:nvSpPr>
          <p:cNvPr id="4" name="object 4"/>
          <p:cNvSpPr txBox="1"/>
          <p:nvPr/>
        </p:nvSpPr>
        <p:spPr>
          <a:xfrm>
            <a:off x="5607461" y="100972"/>
            <a:ext cx="570420" cy="109917"/>
          </a:xfrm>
          <a:prstGeom prst="rect">
            <a:avLst/>
          </a:prstGeom>
        </p:spPr>
        <p:txBody>
          <a:bodyPr vert="horz" wrap="square" lIns="0" tIns="6111" rIns="0" bIns="0" rtlCol="0">
            <a:spAutoFit/>
          </a:bodyPr>
          <a:lstStyle/>
          <a:p>
            <a:pPr marL="6110">
              <a:spcBef>
                <a:spcPts val="48"/>
              </a:spcBef>
            </a:pPr>
            <a:r>
              <a:rPr sz="674" spc="26" dirty="0">
                <a:solidFill>
                  <a:srgbClr val="231F20"/>
                </a:solidFill>
                <a:latin typeface="Tahoma"/>
                <a:cs typeface="Tahoma"/>
              </a:rPr>
              <a:t>Main</a:t>
            </a:r>
            <a:r>
              <a:rPr sz="674" spc="-82" dirty="0">
                <a:solidFill>
                  <a:srgbClr val="231F20"/>
                </a:solidFill>
                <a:latin typeface="Tahoma"/>
                <a:cs typeface="Tahoma"/>
              </a:rPr>
              <a:t> </a:t>
            </a:r>
            <a:r>
              <a:rPr sz="674" spc="5" dirty="0">
                <a:solidFill>
                  <a:srgbClr val="231F20"/>
                </a:solidFill>
                <a:latin typeface="Tahoma"/>
                <a:cs typeface="Tahoma"/>
              </a:rPr>
              <a:t>functions</a:t>
            </a:r>
            <a:endParaRPr sz="674">
              <a:latin typeface="Tahoma"/>
              <a:cs typeface="Tahoma"/>
            </a:endParaRPr>
          </a:p>
        </p:txBody>
      </p:sp>
      <p:grpSp>
        <p:nvGrpSpPr>
          <p:cNvPr id="5" name="object 5"/>
          <p:cNvGrpSpPr/>
          <p:nvPr/>
        </p:nvGrpSpPr>
        <p:grpSpPr>
          <a:xfrm>
            <a:off x="3038158" y="586571"/>
            <a:ext cx="1487004" cy="318971"/>
            <a:chOff x="590358" y="1219112"/>
            <a:chExt cx="3090545" cy="662940"/>
          </a:xfrm>
        </p:grpSpPr>
        <p:sp>
          <p:nvSpPr>
            <p:cNvPr id="6" name="object 6"/>
            <p:cNvSpPr/>
            <p:nvPr/>
          </p:nvSpPr>
          <p:spPr>
            <a:xfrm>
              <a:off x="590358" y="1219112"/>
              <a:ext cx="3090545" cy="662940"/>
            </a:xfrm>
            <a:custGeom>
              <a:avLst/>
              <a:gdLst/>
              <a:ahLst/>
              <a:cxnLst/>
              <a:rect l="l" t="t" r="r" b="b"/>
              <a:pathLst>
                <a:path w="3090545" h="662939">
                  <a:moveTo>
                    <a:pt x="2960522" y="0"/>
                  </a:moveTo>
                  <a:lnTo>
                    <a:pt x="129590" y="0"/>
                  </a:lnTo>
                  <a:lnTo>
                    <a:pt x="79274" y="10225"/>
                  </a:lnTo>
                  <a:lnTo>
                    <a:pt x="38068" y="38068"/>
                  </a:lnTo>
                  <a:lnTo>
                    <a:pt x="10225" y="79274"/>
                  </a:lnTo>
                  <a:lnTo>
                    <a:pt x="0" y="129590"/>
                  </a:lnTo>
                  <a:lnTo>
                    <a:pt x="0" y="532803"/>
                  </a:lnTo>
                  <a:lnTo>
                    <a:pt x="10225" y="583127"/>
                  </a:lnTo>
                  <a:lnTo>
                    <a:pt x="38068" y="624336"/>
                  </a:lnTo>
                  <a:lnTo>
                    <a:pt x="79274" y="652180"/>
                  </a:lnTo>
                  <a:lnTo>
                    <a:pt x="129590" y="662406"/>
                  </a:lnTo>
                  <a:lnTo>
                    <a:pt x="2960522" y="662406"/>
                  </a:lnTo>
                  <a:lnTo>
                    <a:pt x="3010840" y="652180"/>
                  </a:lnTo>
                  <a:lnTo>
                    <a:pt x="3052051" y="624336"/>
                  </a:lnTo>
                  <a:lnTo>
                    <a:pt x="3079898" y="583127"/>
                  </a:lnTo>
                  <a:lnTo>
                    <a:pt x="3090125" y="532803"/>
                  </a:lnTo>
                  <a:lnTo>
                    <a:pt x="3090125" y="129590"/>
                  </a:lnTo>
                  <a:lnTo>
                    <a:pt x="3079898" y="79274"/>
                  </a:lnTo>
                  <a:lnTo>
                    <a:pt x="3052051" y="38068"/>
                  </a:lnTo>
                  <a:lnTo>
                    <a:pt x="3010840" y="10225"/>
                  </a:lnTo>
                  <a:lnTo>
                    <a:pt x="2960522" y="0"/>
                  </a:lnTo>
                  <a:close/>
                </a:path>
              </a:pathLst>
            </a:custGeom>
            <a:solidFill>
              <a:srgbClr val="E2E3E4"/>
            </a:solidFill>
          </p:spPr>
          <p:txBody>
            <a:bodyPr wrap="square" lIns="0" tIns="0" rIns="0" bIns="0" rtlCol="0"/>
            <a:lstStyle/>
            <a:p>
              <a:endParaRPr sz="649"/>
            </a:p>
          </p:txBody>
        </p:sp>
        <p:pic>
          <p:nvPicPr>
            <p:cNvPr id="7" name="object 7"/>
            <p:cNvPicPr/>
            <p:nvPr/>
          </p:nvPicPr>
          <p:blipFill>
            <a:blip r:embed="rId2" cstate="print"/>
            <a:stretch>
              <a:fillRect/>
            </a:stretch>
          </p:blipFill>
          <p:spPr>
            <a:xfrm>
              <a:off x="1834650" y="1503694"/>
              <a:ext cx="89014" cy="84251"/>
            </a:xfrm>
            <a:prstGeom prst="rect">
              <a:avLst/>
            </a:prstGeom>
          </p:spPr>
        </p:pic>
        <p:pic>
          <p:nvPicPr>
            <p:cNvPr id="8" name="object 8"/>
            <p:cNvPicPr/>
            <p:nvPr/>
          </p:nvPicPr>
          <p:blipFill>
            <a:blip r:embed="rId3" cstate="print"/>
            <a:stretch>
              <a:fillRect/>
            </a:stretch>
          </p:blipFill>
          <p:spPr>
            <a:xfrm>
              <a:off x="1517342" y="1503717"/>
              <a:ext cx="88709" cy="84823"/>
            </a:xfrm>
            <a:prstGeom prst="rect">
              <a:avLst/>
            </a:prstGeom>
          </p:spPr>
        </p:pic>
        <p:sp>
          <p:nvSpPr>
            <p:cNvPr id="9" name="object 9"/>
            <p:cNvSpPr/>
            <p:nvPr/>
          </p:nvSpPr>
          <p:spPr>
            <a:xfrm>
              <a:off x="1402194" y="1388592"/>
              <a:ext cx="636905" cy="314325"/>
            </a:xfrm>
            <a:custGeom>
              <a:avLst/>
              <a:gdLst/>
              <a:ahLst/>
              <a:cxnLst/>
              <a:rect l="l" t="t" r="r" b="b"/>
              <a:pathLst>
                <a:path w="636905" h="314325">
                  <a:moveTo>
                    <a:pt x="593090" y="72491"/>
                  </a:moveTo>
                  <a:lnTo>
                    <a:pt x="590740" y="61226"/>
                  </a:lnTo>
                  <a:lnTo>
                    <a:pt x="585470" y="53479"/>
                  </a:lnTo>
                  <a:lnTo>
                    <a:pt x="585470" y="72491"/>
                  </a:lnTo>
                  <a:lnTo>
                    <a:pt x="585470" y="241439"/>
                  </a:lnTo>
                  <a:lnTo>
                    <a:pt x="583730" y="249796"/>
                  </a:lnTo>
                  <a:lnTo>
                    <a:pt x="579031" y="256692"/>
                  </a:lnTo>
                  <a:lnTo>
                    <a:pt x="572122" y="261391"/>
                  </a:lnTo>
                  <a:lnTo>
                    <a:pt x="563778" y="263118"/>
                  </a:lnTo>
                  <a:lnTo>
                    <a:pt x="72491" y="263118"/>
                  </a:lnTo>
                  <a:lnTo>
                    <a:pt x="64147" y="261391"/>
                  </a:lnTo>
                  <a:lnTo>
                    <a:pt x="57238" y="256692"/>
                  </a:lnTo>
                  <a:lnTo>
                    <a:pt x="52539" y="249796"/>
                  </a:lnTo>
                  <a:lnTo>
                    <a:pt x="50800" y="241439"/>
                  </a:lnTo>
                  <a:lnTo>
                    <a:pt x="50800" y="72491"/>
                  </a:lnTo>
                  <a:lnTo>
                    <a:pt x="52539" y="64160"/>
                  </a:lnTo>
                  <a:lnTo>
                    <a:pt x="57238" y="57251"/>
                  </a:lnTo>
                  <a:lnTo>
                    <a:pt x="64147" y="52552"/>
                  </a:lnTo>
                  <a:lnTo>
                    <a:pt x="72491" y="50812"/>
                  </a:lnTo>
                  <a:lnTo>
                    <a:pt x="563778" y="50812"/>
                  </a:lnTo>
                  <a:lnTo>
                    <a:pt x="572122" y="52552"/>
                  </a:lnTo>
                  <a:lnTo>
                    <a:pt x="579031" y="57251"/>
                  </a:lnTo>
                  <a:lnTo>
                    <a:pt x="583730" y="64160"/>
                  </a:lnTo>
                  <a:lnTo>
                    <a:pt x="585470" y="72491"/>
                  </a:lnTo>
                  <a:lnTo>
                    <a:pt x="585470" y="53479"/>
                  </a:lnTo>
                  <a:lnTo>
                    <a:pt x="584390" y="51892"/>
                  </a:lnTo>
                  <a:lnTo>
                    <a:pt x="582815" y="50812"/>
                  </a:lnTo>
                  <a:lnTo>
                    <a:pt x="575056" y="45542"/>
                  </a:lnTo>
                  <a:lnTo>
                    <a:pt x="563778" y="43192"/>
                  </a:lnTo>
                  <a:lnTo>
                    <a:pt x="72491" y="43192"/>
                  </a:lnTo>
                  <a:lnTo>
                    <a:pt x="61214" y="45542"/>
                  </a:lnTo>
                  <a:lnTo>
                    <a:pt x="51892" y="51892"/>
                  </a:lnTo>
                  <a:lnTo>
                    <a:pt x="45542" y="61226"/>
                  </a:lnTo>
                  <a:lnTo>
                    <a:pt x="43192" y="72491"/>
                  </a:lnTo>
                  <a:lnTo>
                    <a:pt x="43192" y="241439"/>
                  </a:lnTo>
                  <a:lnTo>
                    <a:pt x="45542" y="252730"/>
                  </a:lnTo>
                  <a:lnTo>
                    <a:pt x="51892" y="262051"/>
                  </a:lnTo>
                  <a:lnTo>
                    <a:pt x="61214" y="268401"/>
                  </a:lnTo>
                  <a:lnTo>
                    <a:pt x="72491" y="270738"/>
                  </a:lnTo>
                  <a:lnTo>
                    <a:pt x="563778" y="270738"/>
                  </a:lnTo>
                  <a:lnTo>
                    <a:pt x="575056" y="268401"/>
                  </a:lnTo>
                  <a:lnTo>
                    <a:pt x="582815" y="263118"/>
                  </a:lnTo>
                  <a:lnTo>
                    <a:pt x="584390" y="262051"/>
                  </a:lnTo>
                  <a:lnTo>
                    <a:pt x="590740" y="252730"/>
                  </a:lnTo>
                  <a:lnTo>
                    <a:pt x="593090" y="241439"/>
                  </a:lnTo>
                  <a:lnTo>
                    <a:pt x="593090" y="72491"/>
                  </a:lnTo>
                  <a:close/>
                </a:path>
                <a:path w="636905" h="314325">
                  <a:moveTo>
                    <a:pt x="636282" y="72491"/>
                  </a:moveTo>
                  <a:lnTo>
                    <a:pt x="630580" y="44297"/>
                  </a:lnTo>
                  <a:lnTo>
                    <a:pt x="628662" y="41465"/>
                  </a:lnTo>
                  <a:lnTo>
                    <a:pt x="628662" y="72491"/>
                  </a:lnTo>
                  <a:lnTo>
                    <a:pt x="628662" y="241452"/>
                  </a:lnTo>
                  <a:lnTo>
                    <a:pt x="623557" y="266687"/>
                  </a:lnTo>
                  <a:lnTo>
                    <a:pt x="609638" y="287312"/>
                  </a:lnTo>
                  <a:lnTo>
                    <a:pt x="589013" y="301218"/>
                  </a:lnTo>
                  <a:lnTo>
                    <a:pt x="563778" y="306324"/>
                  </a:lnTo>
                  <a:lnTo>
                    <a:pt x="72491" y="306324"/>
                  </a:lnTo>
                  <a:lnTo>
                    <a:pt x="47256" y="301218"/>
                  </a:lnTo>
                  <a:lnTo>
                    <a:pt x="26631" y="287312"/>
                  </a:lnTo>
                  <a:lnTo>
                    <a:pt x="12712" y="266687"/>
                  </a:lnTo>
                  <a:lnTo>
                    <a:pt x="7607" y="241452"/>
                  </a:lnTo>
                  <a:lnTo>
                    <a:pt x="7607" y="72491"/>
                  </a:lnTo>
                  <a:lnTo>
                    <a:pt x="12712" y="47269"/>
                  </a:lnTo>
                  <a:lnTo>
                    <a:pt x="26631" y="26644"/>
                  </a:lnTo>
                  <a:lnTo>
                    <a:pt x="47256" y="12725"/>
                  </a:lnTo>
                  <a:lnTo>
                    <a:pt x="72491" y="7620"/>
                  </a:lnTo>
                  <a:lnTo>
                    <a:pt x="563778" y="7620"/>
                  </a:lnTo>
                  <a:lnTo>
                    <a:pt x="589013" y="12725"/>
                  </a:lnTo>
                  <a:lnTo>
                    <a:pt x="609638" y="26644"/>
                  </a:lnTo>
                  <a:lnTo>
                    <a:pt x="623557" y="47269"/>
                  </a:lnTo>
                  <a:lnTo>
                    <a:pt x="628662" y="72491"/>
                  </a:lnTo>
                  <a:lnTo>
                    <a:pt x="628662" y="41465"/>
                  </a:lnTo>
                  <a:lnTo>
                    <a:pt x="615022" y="21259"/>
                  </a:lnTo>
                  <a:lnTo>
                    <a:pt x="594817" y="7620"/>
                  </a:lnTo>
                  <a:lnTo>
                    <a:pt x="591972" y="5702"/>
                  </a:lnTo>
                  <a:lnTo>
                    <a:pt x="563778" y="0"/>
                  </a:lnTo>
                  <a:lnTo>
                    <a:pt x="72491" y="0"/>
                  </a:lnTo>
                  <a:lnTo>
                    <a:pt x="44297" y="5702"/>
                  </a:lnTo>
                  <a:lnTo>
                    <a:pt x="21247" y="21259"/>
                  </a:lnTo>
                  <a:lnTo>
                    <a:pt x="5702" y="44297"/>
                  </a:lnTo>
                  <a:lnTo>
                    <a:pt x="0" y="72491"/>
                  </a:lnTo>
                  <a:lnTo>
                    <a:pt x="0" y="241452"/>
                  </a:lnTo>
                  <a:lnTo>
                    <a:pt x="5702" y="269646"/>
                  </a:lnTo>
                  <a:lnTo>
                    <a:pt x="21247" y="292696"/>
                  </a:lnTo>
                  <a:lnTo>
                    <a:pt x="44297" y="308241"/>
                  </a:lnTo>
                  <a:lnTo>
                    <a:pt x="72491" y="313944"/>
                  </a:lnTo>
                  <a:lnTo>
                    <a:pt x="563778" y="313944"/>
                  </a:lnTo>
                  <a:lnTo>
                    <a:pt x="615022" y="292696"/>
                  </a:lnTo>
                  <a:lnTo>
                    <a:pt x="636282" y="241452"/>
                  </a:lnTo>
                  <a:lnTo>
                    <a:pt x="636282" y="72491"/>
                  </a:lnTo>
                  <a:close/>
                </a:path>
              </a:pathLst>
            </a:custGeom>
            <a:solidFill>
              <a:srgbClr val="020303"/>
            </a:solidFill>
          </p:spPr>
          <p:txBody>
            <a:bodyPr wrap="square" lIns="0" tIns="0" rIns="0" bIns="0" rtlCol="0"/>
            <a:lstStyle/>
            <a:p>
              <a:endParaRPr sz="649"/>
            </a:p>
          </p:txBody>
        </p:sp>
        <p:pic>
          <p:nvPicPr>
            <p:cNvPr id="10" name="object 10"/>
            <p:cNvPicPr/>
            <p:nvPr/>
          </p:nvPicPr>
          <p:blipFill>
            <a:blip r:embed="rId4" cstate="print"/>
            <a:stretch>
              <a:fillRect/>
            </a:stretch>
          </p:blipFill>
          <p:spPr>
            <a:xfrm>
              <a:off x="2537355" y="1503694"/>
              <a:ext cx="89014" cy="84251"/>
            </a:xfrm>
            <a:prstGeom prst="rect">
              <a:avLst/>
            </a:prstGeom>
          </p:spPr>
        </p:pic>
        <p:pic>
          <p:nvPicPr>
            <p:cNvPr id="11" name="object 11"/>
            <p:cNvPicPr/>
            <p:nvPr/>
          </p:nvPicPr>
          <p:blipFill>
            <a:blip r:embed="rId5" cstate="print"/>
            <a:stretch>
              <a:fillRect/>
            </a:stretch>
          </p:blipFill>
          <p:spPr>
            <a:xfrm>
              <a:off x="2220034" y="1503717"/>
              <a:ext cx="88722" cy="84823"/>
            </a:xfrm>
            <a:prstGeom prst="rect">
              <a:avLst/>
            </a:prstGeom>
          </p:spPr>
        </p:pic>
        <p:sp>
          <p:nvSpPr>
            <p:cNvPr id="12" name="object 12"/>
            <p:cNvSpPr/>
            <p:nvPr/>
          </p:nvSpPr>
          <p:spPr>
            <a:xfrm>
              <a:off x="2104885" y="1388592"/>
              <a:ext cx="636905" cy="314325"/>
            </a:xfrm>
            <a:custGeom>
              <a:avLst/>
              <a:gdLst/>
              <a:ahLst/>
              <a:cxnLst/>
              <a:rect l="l" t="t" r="r" b="b"/>
              <a:pathLst>
                <a:path w="636905" h="314325">
                  <a:moveTo>
                    <a:pt x="593102" y="72491"/>
                  </a:moveTo>
                  <a:lnTo>
                    <a:pt x="590753" y="61226"/>
                  </a:lnTo>
                  <a:lnTo>
                    <a:pt x="585482" y="53479"/>
                  </a:lnTo>
                  <a:lnTo>
                    <a:pt x="585482" y="72491"/>
                  </a:lnTo>
                  <a:lnTo>
                    <a:pt x="585482" y="241439"/>
                  </a:lnTo>
                  <a:lnTo>
                    <a:pt x="583742" y="249796"/>
                  </a:lnTo>
                  <a:lnTo>
                    <a:pt x="579043" y="256692"/>
                  </a:lnTo>
                  <a:lnTo>
                    <a:pt x="572135" y="261391"/>
                  </a:lnTo>
                  <a:lnTo>
                    <a:pt x="563791" y="263118"/>
                  </a:lnTo>
                  <a:lnTo>
                    <a:pt x="72504" y="263118"/>
                  </a:lnTo>
                  <a:lnTo>
                    <a:pt x="64160" y="261391"/>
                  </a:lnTo>
                  <a:lnTo>
                    <a:pt x="57251" y="256692"/>
                  </a:lnTo>
                  <a:lnTo>
                    <a:pt x="52552" y="249796"/>
                  </a:lnTo>
                  <a:lnTo>
                    <a:pt x="50812" y="241439"/>
                  </a:lnTo>
                  <a:lnTo>
                    <a:pt x="50812" y="72491"/>
                  </a:lnTo>
                  <a:lnTo>
                    <a:pt x="52552" y="64160"/>
                  </a:lnTo>
                  <a:lnTo>
                    <a:pt x="57251" y="57251"/>
                  </a:lnTo>
                  <a:lnTo>
                    <a:pt x="64160" y="52552"/>
                  </a:lnTo>
                  <a:lnTo>
                    <a:pt x="72504" y="50812"/>
                  </a:lnTo>
                  <a:lnTo>
                    <a:pt x="563791" y="50812"/>
                  </a:lnTo>
                  <a:lnTo>
                    <a:pt x="572135" y="52552"/>
                  </a:lnTo>
                  <a:lnTo>
                    <a:pt x="579043" y="57251"/>
                  </a:lnTo>
                  <a:lnTo>
                    <a:pt x="583742" y="64160"/>
                  </a:lnTo>
                  <a:lnTo>
                    <a:pt x="585482" y="72491"/>
                  </a:lnTo>
                  <a:lnTo>
                    <a:pt x="585482" y="53479"/>
                  </a:lnTo>
                  <a:lnTo>
                    <a:pt x="584403" y="51892"/>
                  </a:lnTo>
                  <a:lnTo>
                    <a:pt x="582828" y="50812"/>
                  </a:lnTo>
                  <a:lnTo>
                    <a:pt x="575068" y="45542"/>
                  </a:lnTo>
                  <a:lnTo>
                    <a:pt x="563791" y="43192"/>
                  </a:lnTo>
                  <a:lnTo>
                    <a:pt x="72504" y="43192"/>
                  </a:lnTo>
                  <a:lnTo>
                    <a:pt x="61226" y="45542"/>
                  </a:lnTo>
                  <a:lnTo>
                    <a:pt x="51892" y="51892"/>
                  </a:lnTo>
                  <a:lnTo>
                    <a:pt x="45542" y="61226"/>
                  </a:lnTo>
                  <a:lnTo>
                    <a:pt x="43192" y="72491"/>
                  </a:lnTo>
                  <a:lnTo>
                    <a:pt x="43192" y="241439"/>
                  </a:lnTo>
                  <a:lnTo>
                    <a:pt x="45542" y="252730"/>
                  </a:lnTo>
                  <a:lnTo>
                    <a:pt x="51892" y="262051"/>
                  </a:lnTo>
                  <a:lnTo>
                    <a:pt x="61226" y="268401"/>
                  </a:lnTo>
                  <a:lnTo>
                    <a:pt x="72504" y="270738"/>
                  </a:lnTo>
                  <a:lnTo>
                    <a:pt x="563791" y="270738"/>
                  </a:lnTo>
                  <a:lnTo>
                    <a:pt x="575068" y="268401"/>
                  </a:lnTo>
                  <a:lnTo>
                    <a:pt x="582828" y="263118"/>
                  </a:lnTo>
                  <a:lnTo>
                    <a:pt x="584403" y="262051"/>
                  </a:lnTo>
                  <a:lnTo>
                    <a:pt x="590753" y="252730"/>
                  </a:lnTo>
                  <a:lnTo>
                    <a:pt x="593102" y="241439"/>
                  </a:lnTo>
                  <a:lnTo>
                    <a:pt x="593102" y="72491"/>
                  </a:lnTo>
                  <a:close/>
                </a:path>
                <a:path w="636905" h="314325">
                  <a:moveTo>
                    <a:pt x="636295" y="72491"/>
                  </a:moveTo>
                  <a:lnTo>
                    <a:pt x="630593" y="44297"/>
                  </a:lnTo>
                  <a:lnTo>
                    <a:pt x="628662" y="41440"/>
                  </a:lnTo>
                  <a:lnTo>
                    <a:pt x="628662" y="72491"/>
                  </a:lnTo>
                  <a:lnTo>
                    <a:pt x="628662" y="241452"/>
                  </a:lnTo>
                  <a:lnTo>
                    <a:pt x="623557" y="266687"/>
                  </a:lnTo>
                  <a:lnTo>
                    <a:pt x="609638" y="287312"/>
                  </a:lnTo>
                  <a:lnTo>
                    <a:pt x="589013" y="301218"/>
                  </a:lnTo>
                  <a:lnTo>
                    <a:pt x="563791" y="306324"/>
                  </a:lnTo>
                  <a:lnTo>
                    <a:pt x="72504" y="306324"/>
                  </a:lnTo>
                  <a:lnTo>
                    <a:pt x="47269" y="301218"/>
                  </a:lnTo>
                  <a:lnTo>
                    <a:pt x="26644" y="287312"/>
                  </a:lnTo>
                  <a:lnTo>
                    <a:pt x="12725" y="266687"/>
                  </a:lnTo>
                  <a:lnTo>
                    <a:pt x="7620" y="241452"/>
                  </a:lnTo>
                  <a:lnTo>
                    <a:pt x="7620" y="72491"/>
                  </a:lnTo>
                  <a:lnTo>
                    <a:pt x="12725" y="47269"/>
                  </a:lnTo>
                  <a:lnTo>
                    <a:pt x="26644" y="26644"/>
                  </a:lnTo>
                  <a:lnTo>
                    <a:pt x="47269" y="12725"/>
                  </a:lnTo>
                  <a:lnTo>
                    <a:pt x="72504" y="7620"/>
                  </a:lnTo>
                  <a:lnTo>
                    <a:pt x="563791" y="7620"/>
                  </a:lnTo>
                  <a:lnTo>
                    <a:pt x="589013" y="12725"/>
                  </a:lnTo>
                  <a:lnTo>
                    <a:pt x="609638" y="26644"/>
                  </a:lnTo>
                  <a:lnTo>
                    <a:pt x="623557" y="47269"/>
                  </a:lnTo>
                  <a:lnTo>
                    <a:pt x="628662" y="72491"/>
                  </a:lnTo>
                  <a:lnTo>
                    <a:pt x="628662" y="41440"/>
                  </a:lnTo>
                  <a:lnTo>
                    <a:pt x="615035" y="21259"/>
                  </a:lnTo>
                  <a:lnTo>
                    <a:pt x="594829" y="7620"/>
                  </a:lnTo>
                  <a:lnTo>
                    <a:pt x="591985" y="5702"/>
                  </a:lnTo>
                  <a:lnTo>
                    <a:pt x="563791" y="0"/>
                  </a:lnTo>
                  <a:lnTo>
                    <a:pt x="72504" y="0"/>
                  </a:lnTo>
                  <a:lnTo>
                    <a:pt x="44310" y="5702"/>
                  </a:lnTo>
                  <a:lnTo>
                    <a:pt x="21259" y="21259"/>
                  </a:lnTo>
                  <a:lnTo>
                    <a:pt x="5702" y="44297"/>
                  </a:lnTo>
                  <a:lnTo>
                    <a:pt x="0" y="72491"/>
                  </a:lnTo>
                  <a:lnTo>
                    <a:pt x="0" y="241452"/>
                  </a:lnTo>
                  <a:lnTo>
                    <a:pt x="5702" y="269646"/>
                  </a:lnTo>
                  <a:lnTo>
                    <a:pt x="21259" y="292696"/>
                  </a:lnTo>
                  <a:lnTo>
                    <a:pt x="44310" y="308241"/>
                  </a:lnTo>
                  <a:lnTo>
                    <a:pt x="72504" y="313944"/>
                  </a:lnTo>
                  <a:lnTo>
                    <a:pt x="563791" y="313944"/>
                  </a:lnTo>
                  <a:lnTo>
                    <a:pt x="615035" y="292696"/>
                  </a:lnTo>
                  <a:lnTo>
                    <a:pt x="636295" y="241452"/>
                  </a:lnTo>
                  <a:lnTo>
                    <a:pt x="636295" y="72491"/>
                  </a:lnTo>
                  <a:close/>
                </a:path>
              </a:pathLst>
            </a:custGeom>
            <a:solidFill>
              <a:srgbClr val="020303"/>
            </a:solidFill>
          </p:spPr>
          <p:txBody>
            <a:bodyPr wrap="square" lIns="0" tIns="0" rIns="0" bIns="0" rtlCol="0"/>
            <a:lstStyle/>
            <a:p>
              <a:endParaRPr sz="649"/>
            </a:p>
          </p:txBody>
        </p:sp>
        <p:pic>
          <p:nvPicPr>
            <p:cNvPr id="13" name="object 13"/>
            <p:cNvPicPr/>
            <p:nvPr/>
          </p:nvPicPr>
          <p:blipFill>
            <a:blip r:embed="rId6" cstate="print"/>
            <a:stretch>
              <a:fillRect/>
            </a:stretch>
          </p:blipFill>
          <p:spPr>
            <a:xfrm>
              <a:off x="3240053" y="1503694"/>
              <a:ext cx="89014" cy="84251"/>
            </a:xfrm>
            <a:prstGeom prst="rect">
              <a:avLst/>
            </a:prstGeom>
          </p:spPr>
        </p:pic>
        <p:pic>
          <p:nvPicPr>
            <p:cNvPr id="14" name="object 14"/>
            <p:cNvPicPr/>
            <p:nvPr/>
          </p:nvPicPr>
          <p:blipFill>
            <a:blip r:embed="rId3" cstate="print"/>
            <a:stretch>
              <a:fillRect/>
            </a:stretch>
          </p:blipFill>
          <p:spPr>
            <a:xfrm>
              <a:off x="2922746" y="1503717"/>
              <a:ext cx="88709" cy="84823"/>
            </a:xfrm>
            <a:prstGeom prst="rect">
              <a:avLst/>
            </a:prstGeom>
          </p:spPr>
        </p:pic>
        <p:sp>
          <p:nvSpPr>
            <p:cNvPr id="15" name="object 15"/>
            <p:cNvSpPr/>
            <p:nvPr/>
          </p:nvSpPr>
          <p:spPr>
            <a:xfrm>
              <a:off x="2807601" y="1388592"/>
              <a:ext cx="636905" cy="314325"/>
            </a:xfrm>
            <a:custGeom>
              <a:avLst/>
              <a:gdLst/>
              <a:ahLst/>
              <a:cxnLst/>
              <a:rect l="l" t="t" r="r" b="b"/>
              <a:pathLst>
                <a:path w="636904" h="314325">
                  <a:moveTo>
                    <a:pt x="593090" y="72491"/>
                  </a:moveTo>
                  <a:lnTo>
                    <a:pt x="590740" y="61226"/>
                  </a:lnTo>
                  <a:lnTo>
                    <a:pt x="585470" y="53479"/>
                  </a:lnTo>
                  <a:lnTo>
                    <a:pt x="585470" y="72491"/>
                  </a:lnTo>
                  <a:lnTo>
                    <a:pt x="585470" y="241439"/>
                  </a:lnTo>
                  <a:lnTo>
                    <a:pt x="583730" y="249796"/>
                  </a:lnTo>
                  <a:lnTo>
                    <a:pt x="579031" y="256692"/>
                  </a:lnTo>
                  <a:lnTo>
                    <a:pt x="572122" y="261391"/>
                  </a:lnTo>
                  <a:lnTo>
                    <a:pt x="563778" y="263118"/>
                  </a:lnTo>
                  <a:lnTo>
                    <a:pt x="72491" y="263118"/>
                  </a:lnTo>
                  <a:lnTo>
                    <a:pt x="64135" y="261391"/>
                  </a:lnTo>
                  <a:lnTo>
                    <a:pt x="57238" y="256692"/>
                  </a:lnTo>
                  <a:lnTo>
                    <a:pt x="52527" y="249796"/>
                  </a:lnTo>
                  <a:lnTo>
                    <a:pt x="50800" y="241439"/>
                  </a:lnTo>
                  <a:lnTo>
                    <a:pt x="50800" y="72491"/>
                  </a:lnTo>
                  <a:lnTo>
                    <a:pt x="52527" y="64160"/>
                  </a:lnTo>
                  <a:lnTo>
                    <a:pt x="57238" y="57251"/>
                  </a:lnTo>
                  <a:lnTo>
                    <a:pt x="64135" y="52552"/>
                  </a:lnTo>
                  <a:lnTo>
                    <a:pt x="72491" y="50812"/>
                  </a:lnTo>
                  <a:lnTo>
                    <a:pt x="563778" y="50812"/>
                  </a:lnTo>
                  <a:lnTo>
                    <a:pt x="572122" y="52552"/>
                  </a:lnTo>
                  <a:lnTo>
                    <a:pt x="579031" y="57251"/>
                  </a:lnTo>
                  <a:lnTo>
                    <a:pt x="583730" y="64160"/>
                  </a:lnTo>
                  <a:lnTo>
                    <a:pt x="585470" y="72491"/>
                  </a:lnTo>
                  <a:lnTo>
                    <a:pt x="585470" y="53479"/>
                  </a:lnTo>
                  <a:lnTo>
                    <a:pt x="584390" y="51892"/>
                  </a:lnTo>
                  <a:lnTo>
                    <a:pt x="582803" y="50812"/>
                  </a:lnTo>
                  <a:lnTo>
                    <a:pt x="575056" y="45542"/>
                  </a:lnTo>
                  <a:lnTo>
                    <a:pt x="563778" y="43192"/>
                  </a:lnTo>
                  <a:lnTo>
                    <a:pt x="72491" y="43192"/>
                  </a:lnTo>
                  <a:lnTo>
                    <a:pt x="61214" y="45542"/>
                  </a:lnTo>
                  <a:lnTo>
                    <a:pt x="51879" y="51892"/>
                  </a:lnTo>
                  <a:lnTo>
                    <a:pt x="45529" y="61226"/>
                  </a:lnTo>
                  <a:lnTo>
                    <a:pt x="43192" y="72491"/>
                  </a:lnTo>
                  <a:lnTo>
                    <a:pt x="43192" y="241439"/>
                  </a:lnTo>
                  <a:lnTo>
                    <a:pt x="45529" y="252730"/>
                  </a:lnTo>
                  <a:lnTo>
                    <a:pt x="51879" y="262051"/>
                  </a:lnTo>
                  <a:lnTo>
                    <a:pt x="61214" y="268401"/>
                  </a:lnTo>
                  <a:lnTo>
                    <a:pt x="72491" y="270738"/>
                  </a:lnTo>
                  <a:lnTo>
                    <a:pt x="563778" y="270738"/>
                  </a:lnTo>
                  <a:lnTo>
                    <a:pt x="575056" y="268401"/>
                  </a:lnTo>
                  <a:lnTo>
                    <a:pt x="582815" y="263118"/>
                  </a:lnTo>
                  <a:lnTo>
                    <a:pt x="584390" y="262051"/>
                  </a:lnTo>
                  <a:lnTo>
                    <a:pt x="590740" y="252730"/>
                  </a:lnTo>
                  <a:lnTo>
                    <a:pt x="593090" y="241439"/>
                  </a:lnTo>
                  <a:lnTo>
                    <a:pt x="593090" y="72491"/>
                  </a:lnTo>
                  <a:close/>
                </a:path>
                <a:path w="636904" h="314325">
                  <a:moveTo>
                    <a:pt x="636282" y="72491"/>
                  </a:moveTo>
                  <a:lnTo>
                    <a:pt x="630567" y="44297"/>
                  </a:lnTo>
                  <a:lnTo>
                    <a:pt x="628662" y="41478"/>
                  </a:lnTo>
                  <a:lnTo>
                    <a:pt x="628662" y="72491"/>
                  </a:lnTo>
                  <a:lnTo>
                    <a:pt x="628662" y="241452"/>
                  </a:lnTo>
                  <a:lnTo>
                    <a:pt x="623544" y="266687"/>
                  </a:lnTo>
                  <a:lnTo>
                    <a:pt x="609625" y="287312"/>
                  </a:lnTo>
                  <a:lnTo>
                    <a:pt x="589000" y="301218"/>
                  </a:lnTo>
                  <a:lnTo>
                    <a:pt x="563778" y="306324"/>
                  </a:lnTo>
                  <a:lnTo>
                    <a:pt x="72491" y="306324"/>
                  </a:lnTo>
                  <a:lnTo>
                    <a:pt x="47256" y="301218"/>
                  </a:lnTo>
                  <a:lnTo>
                    <a:pt x="26631" y="287312"/>
                  </a:lnTo>
                  <a:lnTo>
                    <a:pt x="12712" y="266687"/>
                  </a:lnTo>
                  <a:lnTo>
                    <a:pt x="7620" y="241452"/>
                  </a:lnTo>
                  <a:lnTo>
                    <a:pt x="7620" y="72491"/>
                  </a:lnTo>
                  <a:lnTo>
                    <a:pt x="12712" y="47269"/>
                  </a:lnTo>
                  <a:lnTo>
                    <a:pt x="26631" y="26644"/>
                  </a:lnTo>
                  <a:lnTo>
                    <a:pt x="47256" y="12725"/>
                  </a:lnTo>
                  <a:lnTo>
                    <a:pt x="72491" y="7620"/>
                  </a:lnTo>
                  <a:lnTo>
                    <a:pt x="563778" y="7620"/>
                  </a:lnTo>
                  <a:lnTo>
                    <a:pt x="589000" y="12725"/>
                  </a:lnTo>
                  <a:lnTo>
                    <a:pt x="609625" y="26644"/>
                  </a:lnTo>
                  <a:lnTo>
                    <a:pt x="623544" y="47269"/>
                  </a:lnTo>
                  <a:lnTo>
                    <a:pt x="628662" y="72491"/>
                  </a:lnTo>
                  <a:lnTo>
                    <a:pt x="628662" y="41478"/>
                  </a:lnTo>
                  <a:lnTo>
                    <a:pt x="615022" y="21259"/>
                  </a:lnTo>
                  <a:lnTo>
                    <a:pt x="594804" y="7620"/>
                  </a:lnTo>
                  <a:lnTo>
                    <a:pt x="591972" y="5702"/>
                  </a:lnTo>
                  <a:lnTo>
                    <a:pt x="563778" y="0"/>
                  </a:lnTo>
                  <a:lnTo>
                    <a:pt x="72491" y="0"/>
                  </a:lnTo>
                  <a:lnTo>
                    <a:pt x="44297" y="5702"/>
                  </a:lnTo>
                  <a:lnTo>
                    <a:pt x="21247" y="21259"/>
                  </a:lnTo>
                  <a:lnTo>
                    <a:pt x="5702" y="44297"/>
                  </a:lnTo>
                  <a:lnTo>
                    <a:pt x="0" y="72491"/>
                  </a:lnTo>
                  <a:lnTo>
                    <a:pt x="0" y="241452"/>
                  </a:lnTo>
                  <a:lnTo>
                    <a:pt x="5702" y="269646"/>
                  </a:lnTo>
                  <a:lnTo>
                    <a:pt x="21247" y="292696"/>
                  </a:lnTo>
                  <a:lnTo>
                    <a:pt x="44297" y="308241"/>
                  </a:lnTo>
                  <a:lnTo>
                    <a:pt x="72491" y="313944"/>
                  </a:lnTo>
                  <a:lnTo>
                    <a:pt x="563778" y="313944"/>
                  </a:lnTo>
                  <a:lnTo>
                    <a:pt x="591972" y="308241"/>
                  </a:lnTo>
                  <a:lnTo>
                    <a:pt x="594804" y="306324"/>
                  </a:lnTo>
                  <a:lnTo>
                    <a:pt x="615022" y="292696"/>
                  </a:lnTo>
                  <a:lnTo>
                    <a:pt x="630567" y="269646"/>
                  </a:lnTo>
                  <a:lnTo>
                    <a:pt x="636282" y="241452"/>
                  </a:lnTo>
                  <a:lnTo>
                    <a:pt x="636282" y="72491"/>
                  </a:lnTo>
                  <a:close/>
                </a:path>
              </a:pathLst>
            </a:custGeom>
            <a:solidFill>
              <a:srgbClr val="020303"/>
            </a:solidFill>
          </p:spPr>
          <p:txBody>
            <a:bodyPr wrap="square" lIns="0" tIns="0" rIns="0" bIns="0" rtlCol="0"/>
            <a:lstStyle/>
            <a:p>
              <a:endParaRPr sz="649"/>
            </a:p>
          </p:txBody>
        </p:sp>
        <p:sp>
          <p:nvSpPr>
            <p:cNvPr id="16" name="object 16"/>
            <p:cNvSpPr/>
            <p:nvPr/>
          </p:nvSpPr>
          <p:spPr>
            <a:xfrm>
              <a:off x="971025" y="1388589"/>
              <a:ext cx="311785" cy="314325"/>
            </a:xfrm>
            <a:custGeom>
              <a:avLst/>
              <a:gdLst/>
              <a:ahLst/>
              <a:cxnLst/>
              <a:rect l="l" t="t" r="r" b="b"/>
              <a:pathLst>
                <a:path w="311784" h="314325">
                  <a:moveTo>
                    <a:pt x="238810" y="0"/>
                  </a:moveTo>
                  <a:lnTo>
                    <a:pt x="72491" y="0"/>
                  </a:lnTo>
                  <a:lnTo>
                    <a:pt x="44298" y="5704"/>
                  </a:lnTo>
                  <a:lnTo>
                    <a:pt x="21253" y="21253"/>
                  </a:lnTo>
                  <a:lnTo>
                    <a:pt x="5704" y="44298"/>
                  </a:lnTo>
                  <a:lnTo>
                    <a:pt x="0" y="72491"/>
                  </a:lnTo>
                  <a:lnTo>
                    <a:pt x="0" y="241452"/>
                  </a:lnTo>
                  <a:lnTo>
                    <a:pt x="5704" y="269645"/>
                  </a:lnTo>
                  <a:lnTo>
                    <a:pt x="21253" y="292690"/>
                  </a:lnTo>
                  <a:lnTo>
                    <a:pt x="44298" y="308239"/>
                  </a:lnTo>
                  <a:lnTo>
                    <a:pt x="72491" y="313944"/>
                  </a:lnTo>
                  <a:lnTo>
                    <a:pt x="238810" y="313944"/>
                  </a:lnTo>
                  <a:lnTo>
                    <a:pt x="267004" y="308239"/>
                  </a:lnTo>
                  <a:lnTo>
                    <a:pt x="269842" y="306324"/>
                  </a:lnTo>
                  <a:lnTo>
                    <a:pt x="72491" y="306324"/>
                  </a:lnTo>
                  <a:lnTo>
                    <a:pt x="47260" y="301218"/>
                  </a:lnTo>
                  <a:lnTo>
                    <a:pt x="26633" y="287304"/>
                  </a:lnTo>
                  <a:lnTo>
                    <a:pt x="12714" y="266681"/>
                  </a:lnTo>
                  <a:lnTo>
                    <a:pt x="7607" y="241452"/>
                  </a:lnTo>
                  <a:lnTo>
                    <a:pt x="7607" y="72491"/>
                  </a:lnTo>
                  <a:lnTo>
                    <a:pt x="12714" y="47267"/>
                  </a:lnTo>
                  <a:lnTo>
                    <a:pt x="26633" y="26644"/>
                  </a:lnTo>
                  <a:lnTo>
                    <a:pt x="47260" y="12726"/>
                  </a:lnTo>
                  <a:lnTo>
                    <a:pt x="72491" y="7620"/>
                  </a:lnTo>
                  <a:lnTo>
                    <a:pt x="269842" y="7620"/>
                  </a:lnTo>
                  <a:lnTo>
                    <a:pt x="267004" y="5704"/>
                  </a:lnTo>
                  <a:lnTo>
                    <a:pt x="238810" y="0"/>
                  </a:lnTo>
                  <a:close/>
                </a:path>
                <a:path w="311784" h="314325">
                  <a:moveTo>
                    <a:pt x="269842" y="7620"/>
                  </a:moveTo>
                  <a:lnTo>
                    <a:pt x="238810" y="7620"/>
                  </a:lnTo>
                  <a:lnTo>
                    <a:pt x="264039" y="12726"/>
                  </a:lnTo>
                  <a:lnTo>
                    <a:pt x="284662" y="26644"/>
                  </a:lnTo>
                  <a:lnTo>
                    <a:pt x="298577" y="47267"/>
                  </a:lnTo>
                  <a:lnTo>
                    <a:pt x="303682" y="72491"/>
                  </a:lnTo>
                  <a:lnTo>
                    <a:pt x="303682" y="241452"/>
                  </a:lnTo>
                  <a:lnTo>
                    <a:pt x="298577" y="266681"/>
                  </a:lnTo>
                  <a:lnTo>
                    <a:pt x="284662" y="287304"/>
                  </a:lnTo>
                  <a:lnTo>
                    <a:pt x="264039" y="301218"/>
                  </a:lnTo>
                  <a:lnTo>
                    <a:pt x="238810" y="306324"/>
                  </a:lnTo>
                  <a:lnTo>
                    <a:pt x="269842" y="306324"/>
                  </a:lnTo>
                  <a:lnTo>
                    <a:pt x="290048" y="292690"/>
                  </a:lnTo>
                  <a:lnTo>
                    <a:pt x="305597" y="269645"/>
                  </a:lnTo>
                  <a:lnTo>
                    <a:pt x="311302" y="241452"/>
                  </a:lnTo>
                  <a:lnTo>
                    <a:pt x="311302" y="72491"/>
                  </a:lnTo>
                  <a:lnTo>
                    <a:pt x="305597" y="44298"/>
                  </a:lnTo>
                  <a:lnTo>
                    <a:pt x="290048" y="21253"/>
                  </a:lnTo>
                  <a:lnTo>
                    <a:pt x="269842" y="7620"/>
                  </a:lnTo>
                  <a:close/>
                </a:path>
              </a:pathLst>
            </a:custGeom>
            <a:solidFill>
              <a:srgbClr val="231F20"/>
            </a:solidFill>
          </p:spPr>
          <p:txBody>
            <a:bodyPr wrap="square" lIns="0" tIns="0" rIns="0" bIns="0" rtlCol="0"/>
            <a:lstStyle/>
            <a:p>
              <a:endParaRPr sz="649"/>
            </a:p>
          </p:txBody>
        </p:sp>
        <p:pic>
          <p:nvPicPr>
            <p:cNvPr id="17" name="object 17"/>
            <p:cNvPicPr/>
            <p:nvPr/>
          </p:nvPicPr>
          <p:blipFill>
            <a:blip r:embed="rId7" cstate="print"/>
            <a:stretch>
              <a:fillRect/>
            </a:stretch>
          </p:blipFill>
          <p:spPr>
            <a:xfrm>
              <a:off x="1015960" y="1431785"/>
              <a:ext cx="221424" cy="227545"/>
            </a:xfrm>
            <a:prstGeom prst="rect">
              <a:avLst/>
            </a:prstGeom>
          </p:spPr>
        </p:pic>
        <p:sp>
          <p:nvSpPr>
            <p:cNvPr id="18" name="object 18"/>
            <p:cNvSpPr/>
            <p:nvPr/>
          </p:nvSpPr>
          <p:spPr>
            <a:xfrm>
              <a:off x="2064056" y="1342289"/>
              <a:ext cx="409575" cy="409575"/>
            </a:xfrm>
            <a:custGeom>
              <a:avLst/>
              <a:gdLst/>
              <a:ahLst/>
              <a:cxnLst/>
              <a:rect l="l" t="t" r="r" b="b"/>
              <a:pathLst>
                <a:path w="409575" h="409575">
                  <a:moveTo>
                    <a:pt x="409575" y="204787"/>
                  </a:moveTo>
                  <a:lnTo>
                    <a:pt x="404166" y="251741"/>
                  </a:lnTo>
                  <a:lnTo>
                    <a:pt x="388761" y="294844"/>
                  </a:lnTo>
                  <a:lnTo>
                    <a:pt x="364587" y="332868"/>
                  </a:lnTo>
                  <a:lnTo>
                    <a:pt x="332873" y="364583"/>
                  </a:lnTo>
                  <a:lnTo>
                    <a:pt x="294850" y="388758"/>
                  </a:lnTo>
                  <a:lnTo>
                    <a:pt x="251745" y="404166"/>
                  </a:lnTo>
                  <a:lnTo>
                    <a:pt x="204787" y="409575"/>
                  </a:lnTo>
                  <a:lnTo>
                    <a:pt x="157833" y="404166"/>
                  </a:lnTo>
                  <a:lnTo>
                    <a:pt x="114730" y="388758"/>
                  </a:lnTo>
                  <a:lnTo>
                    <a:pt x="76706" y="364583"/>
                  </a:lnTo>
                  <a:lnTo>
                    <a:pt x="44991" y="332868"/>
                  </a:lnTo>
                  <a:lnTo>
                    <a:pt x="20816" y="294844"/>
                  </a:lnTo>
                  <a:lnTo>
                    <a:pt x="5408" y="251741"/>
                  </a:lnTo>
                  <a:lnTo>
                    <a:pt x="0" y="204787"/>
                  </a:lnTo>
                  <a:lnTo>
                    <a:pt x="5408" y="157829"/>
                  </a:lnTo>
                  <a:lnTo>
                    <a:pt x="20816" y="114724"/>
                  </a:lnTo>
                  <a:lnTo>
                    <a:pt x="44991" y="76701"/>
                  </a:lnTo>
                  <a:lnTo>
                    <a:pt x="76706" y="44987"/>
                  </a:lnTo>
                  <a:lnTo>
                    <a:pt x="114730" y="20813"/>
                  </a:lnTo>
                  <a:lnTo>
                    <a:pt x="157833" y="5408"/>
                  </a:lnTo>
                  <a:lnTo>
                    <a:pt x="204787" y="0"/>
                  </a:lnTo>
                  <a:lnTo>
                    <a:pt x="251745" y="5408"/>
                  </a:lnTo>
                  <a:lnTo>
                    <a:pt x="294850" y="20813"/>
                  </a:lnTo>
                  <a:lnTo>
                    <a:pt x="332873" y="44987"/>
                  </a:lnTo>
                  <a:lnTo>
                    <a:pt x="364587" y="76701"/>
                  </a:lnTo>
                  <a:lnTo>
                    <a:pt x="388761" y="114724"/>
                  </a:lnTo>
                  <a:lnTo>
                    <a:pt x="404166" y="157829"/>
                  </a:lnTo>
                  <a:lnTo>
                    <a:pt x="409575" y="204787"/>
                  </a:lnTo>
                  <a:close/>
                </a:path>
              </a:pathLst>
            </a:custGeom>
            <a:ln w="38100">
              <a:solidFill>
                <a:srgbClr val="E3873E"/>
              </a:solidFill>
            </a:ln>
          </p:spPr>
          <p:txBody>
            <a:bodyPr wrap="square" lIns="0" tIns="0" rIns="0" bIns="0" rtlCol="0"/>
            <a:lstStyle/>
            <a:p>
              <a:endParaRPr sz="649"/>
            </a:p>
          </p:txBody>
        </p:sp>
      </p:grpSp>
      <p:grpSp>
        <p:nvGrpSpPr>
          <p:cNvPr id="19" name="object 19"/>
          <p:cNvGrpSpPr/>
          <p:nvPr/>
        </p:nvGrpSpPr>
        <p:grpSpPr>
          <a:xfrm>
            <a:off x="4637717" y="292574"/>
            <a:ext cx="1429870" cy="809954"/>
            <a:chOff x="3914834" y="608077"/>
            <a:chExt cx="2971800" cy="1683385"/>
          </a:xfrm>
        </p:grpSpPr>
        <p:sp>
          <p:nvSpPr>
            <p:cNvPr id="20" name="object 20"/>
            <p:cNvSpPr/>
            <p:nvPr/>
          </p:nvSpPr>
          <p:spPr>
            <a:xfrm>
              <a:off x="4383524" y="1636167"/>
              <a:ext cx="1116330" cy="466090"/>
            </a:xfrm>
            <a:custGeom>
              <a:avLst/>
              <a:gdLst/>
              <a:ahLst/>
              <a:cxnLst/>
              <a:rect l="l" t="t" r="r" b="b"/>
              <a:pathLst>
                <a:path w="1116329" h="466089">
                  <a:moveTo>
                    <a:pt x="188442" y="0"/>
                  </a:moveTo>
                  <a:lnTo>
                    <a:pt x="147711" y="5174"/>
                  </a:lnTo>
                  <a:lnTo>
                    <a:pt x="105046" y="17252"/>
                  </a:lnTo>
                  <a:lnTo>
                    <a:pt x="57759" y="35039"/>
                  </a:lnTo>
                  <a:lnTo>
                    <a:pt x="0" y="168008"/>
                  </a:lnTo>
                  <a:lnTo>
                    <a:pt x="16135" y="173796"/>
                  </a:lnTo>
                  <a:lnTo>
                    <a:pt x="78166" y="193528"/>
                  </a:lnTo>
                  <a:lnTo>
                    <a:pt x="172454" y="222033"/>
                  </a:lnTo>
                  <a:lnTo>
                    <a:pt x="290089" y="256790"/>
                  </a:lnTo>
                  <a:lnTo>
                    <a:pt x="490832" y="315132"/>
                  </a:lnTo>
                  <a:lnTo>
                    <a:pt x="757063" y="391264"/>
                  </a:lnTo>
                  <a:lnTo>
                    <a:pt x="916694" y="436089"/>
                  </a:lnTo>
                  <a:lnTo>
                    <a:pt x="987344" y="455399"/>
                  </a:lnTo>
                  <a:lnTo>
                    <a:pt x="1042620" y="465763"/>
                  </a:lnTo>
                  <a:lnTo>
                    <a:pt x="1065310" y="460468"/>
                  </a:lnTo>
                  <a:lnTo>
                    <a:pt x="1086910" y="439207"/>
                  </a:lnTo>
                  <a:lnTo>
                    <a:pt x="1107274" y="393763"/>
                  </a:lnTo>
                  <a:lnTo>
                    <a:pt x="1112597" y="375909"/>
                  </a:lnTo>
                  <a:lnTo>
                    <a:pt x="1115739" y="354676"/>
                  </a:lnTo>
                  <a:lnTo>
                    <a:pt x="1112004" y="333952"/>
                  </a:lnTo>
                  <a:lnTo>
                    <a:pt x="1096695" y="317627"/>
                  </a:lnTo>
                  <a:lnTo>
                    <a:pt x="1076874" y="305658"/>
                  </a:lnTo>
                  <a:lnTo>
                    <a:pt x="997108" y="256121"/>
                  </a:lnTo>
                  <a:lnTo>
                    <a:pt x="944231" y="223659"/>
                  </a:lnTo>
                  <a:lnTo>
                    <a:pt x="887403" y="189470"/>
                  </a:lnTo>
                  <a:lnTo>
                    <a:pt x="830158" y="156107"/>
                  </a:lnTo>
                  <a:lnTo>
                    <a:pt x="776030" y="126123"/>
                  </a:lnTo>
                  <a:lnTo>
                    <a:pt x="728553" y="102069"/>
                  </a:lnTo>
                  <a:lnTo>
                    <a:pt x="691261" y="86499"/>
                  </a:lnTo>
                  <a:lnTo>
                    <a:pt x="607857" y="65501"/>
                  </a:lnTo>
                  <a:lnTo>
                    <a:pt x="550715" y="54088"/>
                  </a:lnTo>
                  <a:lnTo>
                    <a:pt x="487936" y="42677"/>
                  </a:lnTo>
                  <a:lnTo>
                    <a:pt x="423011" y="31729"/>
                  </a:lnTo>
                  <a:lnTo>
                    <a:pt x="359434" y="21702"/>
                  </a:lnTo>
                  <a:lnTo>
                    <a:pt x="300696" y="13056"/>
                  </a:lnTo>
                  <a:lnTo>
                    <a:pt x="250290" y="6251"/>
                  </a:lnTo>
                  <a:lnTo>
                    <a:pt x="211708" y="1746"/>
                  </a:lnTo>
                  <a:lnTo>
                    <a:pt x="188442" y="0"/>
                  </a:lnTo>
                  <a:close/>
                </a:path>
              </a:pathLst>
            </a:custGeom>
            <a:solidFill>
              <a:srgbClr val="D1D3D4"/>
            </a:solidFill>
          </p:spPr>
          <p:txBody>
            <a:bodyPr wrap="square" lIns="0" tIns="0" rIns="0" bIns="0" rtlCol="0"/>
            <a:lstStyle/>
            <a:p>
              <a:endParaRPr sz="649"/>
            </a:p>
          </p:txBody>
        </p:sp>
        <p:sp>
          <p:nvSpPr>
            <p:cNvPr id="21" name="object 21"/>
            <p:cNvSpPr/>
            <p:nvPr/>
          </p:nvSpPr>
          <p:spPr>
            <a:xfrm>
              <a:off x="4383524" y="1636167"/>
              <a:ext cx="1116330" cy="466090"/>
            </a:xfrm>
            <a:custGeom>
              <a:avLst/>
              <a:gdLst/>
              <a:ahLst/>
              <a:cxnLst/>
              <a:rect l="l" t="t" r="r" b="b"/>
              <a:pathLst>
                <a:path w="1116329" h="466089">
                  <a:moveTo>
                    <a:pt x="0" y="168008"/>
                  </a:moveTo>
                  <a:lnTo>
                    <a:pt x="42562" y="182407"/>
                  </a:lnTo>
                  <a:lnTo>
                    <a:pt x="121835" y="206841"/>
                  </a:lnTo>
                  <a:lnTo>
                    <a:pt x="172454" y="222033"/>
                  </a:lnTo>
                  <a:lnTo>
                    <a:pt x="228909" y="238788"/>
                  </a:lnTo>
                  <a:lnTo>
                    <a:pt x="290089" y="256790"/>
                  </a:lnTo>
                  <a:lnTo>
                    <a:pt x="354878" y="275725"/>
                  </a:lnTo>
                  <a:lnTo>
                    <a:pt x="422163" y="295277"/>
                  </a:lnTo>
                  <a:lnTo>
                    <a:pt x="490832" y="315132"/>
                  </a:lnTo>
                  <a:lnTo>
                    <a:pt x="559770" y="334973"/>
                  </a:lnTo>
                  <a:lnTo>
                    <a:pt x="627863" y="354485"/>
                  </a:lnTo>
                  <a:lnTo>
                    <a:pt x="693999" y="373354"/>
                  </a:lnTo>
                  <a:lnTo>
                    <a:pt x="757063" y="391264"/>
                  </a:lnTo>
                  <a:lnTo>
                    <a:pt x="815943" y="407900"/>
                  </a:lnTo>
                  <a:lnTo>
                    <a:pt x="869525" y="422947"/>
                  </a:lnTo>
                  <a:lnTo>
                    <a:pt x="916694" y="436089"/>
                  </a:lnTo>
                  <a:lnTo>
                    <a:pt x="956339" y="447012"/>
                  </a:lnTo>
                  <a:lnTo>
                    <a:pt x="1008597" y="460936"/>
                  </a:lnTo>
                  <a:lnTo>
                    <a:pt x="1042620" y="465763"/>
                  </a:lnTo>
                  <a:lnTo>
                    <a:pt x="1065310" y="460468"/>
                  </a:lnTo>
                  <a:lnTo>
                    <a:pt x="1086910" y="439207"/>
                  </a:lnTo>
                  <a:lnTo>
                    <a:pt x="1107274" y="393763"/>
                  </a:lnTo>
                  <a:lnTo>
                    <a:pt x="1112597" y="375909"/>
                  </a:lnTo>
                  <a:lnTo>
                    <a:pt x="1115739" y="354676"/>
                  </a:lnTo>
                  <a:lnTo>
                    <a:pt x="1112004" y="333952"/>
                  </a:lnTo>
                  <a:lnTo>
                    <a:pt x="1096695" y="317627"/>
                  </a:lnTo>
                  <a:lnTo>
                    <a:pt x="1076874" y="305658"/>
                  </a:lnTo>
                  <a:lnTo>
                    <a:pt x="1042501" y="284305"/>
                  </a:lnTo>
                  <a:lnTo>
                    <a:pt x="997108" y="256121"/>
                  </a:lnTo>
                  <a:lnTo>
                    <a:pt x="944231" y="223659"/>
                  </a:lnTo>
                  <a:lnTo>
                    <a:pt x="887403" y="189470"/>
                  </a:lnTo>
                  <a:lnTo>
                    <a:pt x="830158" y="156107"/>
                  </a:lnTo>
                  <a:lnTo>
                    <a:pt x="776030" y="126123"/>
                  </a:lnTo>
                  <a:lnTo>
                    <a:pt x="728553" y="102069"/>
                  </a:lnTo>
                  <a:lnTo>
                    <a:pt x="691261" y="86499"/>
                  </a:lnTo>
                  <a:lnTo>
                    <a:pt x="607857" y="65501"/>
                  </a:lnTo>
                  <a:lnTo>
                    <a:pt x="550715" y="54088"/>
                  </a:lnTo>
                  <a:lnTo>
                    <a:pt x="487936" y="42677"/>
                  </a:lnTo>
                  <a:lnTo>
                    <a:pt x="423011" y="31729"/>
                  </a:lnTo>
                  <a:lnTo>
                    <a:pt x="359434" y="21702"/>
                  </a:lnTo>
                  <a:lnTo>
                    <a:pt x="300696" y="13056"/>
                  </a:lnTo>
                  <a:lnTo>
                    <a:pt x="250290" y="6251"/>
                  </a:lnTo>
                  <a:lnTo>
                    <a:pt x="211708" y="1746"/>
                  </a:lnTo>
                  <a:lnTo>
                    <a:pt x="188442" y="0"/>
                  </a:lnTo>
                  <a:lnTo>
                    <a:pt x="147711" y="5174"/>
                  </a:lnTo>
                  <a:lnTo>
                    <a:pt x="105046" y="17252"/>
                  </a:lnTo>
                  <a:lnTo>
                    <a:pt x="71408" y="29464"/>
                  </a:lnTo>
                  <a:lnTo>
                    <a:pt x="57759" y="35039"/>
                  </a:lnTo>
                </a:path>
              </a:pathLst>
            </a:custGeom>
            <a:ln w="25400">
              <a:solidFill>
                <a:srgbClr val="231F20"/>
              </a:solidFill>
            </a:ln>
          </p:spPr>
          <p:txBody>
            <a:bodyPr wrap="square" lIns="0" tIns="0" rIns="0" bIns="0" rtlCol="0"/>
            <a:lstStyle/>
            <a:p>
              <a:endParaRPr sz="649"/>
            </a:p>
          </p:txBody>
        </p:sp>
        <p:sp>
          <p:nvSpPr>
            <p:cNvPr id="22" name="object 22"/>
            <p:cNvSpPr/>
            <p:nvPr/>
          </p:nvSpPr>
          <p:spPr>
            <a:xfrm>
              <a:off x="4151607" y="1318018"/>
              <a:ext cx="296545" cy="486409"/>
            </a:xfrm>
            <a:custGeom>
              <a:avLst/>
              <a:gdLst/>
              <a:ahLst/>
              <a:cxnLst/>
              <a:rect l="l" t="t" r="r" b="b"/>
              <a:pathLst>
                <a:path w="296545" h="486410">
                  <a:moveTo>
                    <a:pt x="158661" y="0"/>
                  </a:moveTo>
                  <a:lnTo>
                    <a:pt x="108656" y="11820"/>
                  </a:lnTo>
                  <a:lnTo>
                    <a:pt x="57861" y="34829"/>
                  </a:lnTo>
                  <a:lnTo>
                    <a:pt x="17800" y="64068"/>
                  </a:lnTo>
                  <a:lnTo>
                    <a:pt x="0" y="94576"/>
                  </a:lnTo>
                  <a:lnTo>
                    <a:pt x="4709" y="117459"/>
                  </a:lnTo>
                  <a:lnTo>
                    <a:pt x="19870" y="156688"/>
                  </a:lnTo>
                  <a:lnTo>
                    <a:pt x="43260" y="207468"/>
                  </a:lnTo>
                  <a:lnTo>
                    <a:pt x="72655" y="265003"/>
                  </a:lnTo>
                  <a:lnTo>
                    <a:pt x="105834" y="324497"/>
                  </a:lnTo>
                  <a:lnTo>
                    <a:pt x="140572" y="381155"/>
                  </a:lnTo>
                  <a:lnTo>
                    <a:pt x="174646" y="430181"/>
                  </a:lnTo>
                  <a:lnTo>
                    <a:pt x="205835" y="466780"/>
                  </a:lnTo>
                  <a:lnTo>
                    <a:pt x="231914" y="486155"/>
                  </a:lnTo>
                  <a:lnTo>
                    <a:pt x="289674" y="353186"/>
                  </a:lnTo>
                  <a:lnTo>
                    <a:pt x="294182" y="311649"/>
                  </a:lnTo>
                  <a:lnTo>
                    <a:pt x="296216" y="285678"/>
                  </a:lnTo>
                  <a:lnTo>
                    <a:pt x="296251" y="264363"/>
                  </a:lnTo>
                  <a:lnTo>
                    <a:pt x="294767" y="236791"/>
                  </a:lnTo>
                  <a:lnTo>
                    <a:pt x="291058" y="196260"/>
                  </a:lnTo>
                  <a:lnTo>
                    <a:pt x="283718" y="150711"/>
                  </a:lnTo>
                  <a:lnTo>
                    <a:pt x="271778" y="104494"/>
                  </a:lnTo>
                  <a:lnTo>
                    <a:pt x="254270" y="61962"/>
                  </a:lnTo>
                  <a:lnTo>
                    <a:pt x="230226" y="27468"/>
                  </a:lnTo>
                  <a:lnTo>
                    <a:pt x="198679" y="5363"/>
                  </a:lnTo>
                  <a:lnTo>
                    <a:pt x="158661" y="0"/>
                  </a:lnTo>
                  <a:close/>
                </a:path>
              </a:pathLst>
            </a:custGeom>
            <a:solidFill>
              <a:srgbClr val="F1F2F2"/>
            </a:solidFill>
          </p:spPr>
          <p:txBody>
            <a:bodyPr wrap="square" lIns="0" tIns="0" rIns="0" bIns="0" rtlCol="0"/>
            <a:lstStyle/>
            <a:p>
              <a:endParaRPr sz="649"/>
            </a:p>
          </p:txBody>
        </p:sp>
        <p:sp>
          <p:nvSpPr>
            <p:cNvPr id="23" name="object 23"/>
            <p:cNvSpPr/>
            <p:nvPr/>
          </p:nvSpPr>
          <p:spPr>
            <a:xfrm>
              <a:off x="4151607" y="1318018"/>
              <a:ext cx="296545" cy="486409"/>
            </a:xfrm>
            <a:custGeom>
              <a:avLst/>
              <a:gdLst/>
              <a:ahLst/>
              <a:cxnLst/>
              <a:rect l="l" t="t" r="r" b="b"/>
              <a:pathLst>
                <a:path w="296545" h="486410">
                  <a:moveTo>
                    <a:pt x="289674" y="353186"/>
                  </a:moveTo>
                  <a:lnTo>
                    <a:pt x="294182" y="311649"/>
                  </a:lnTo>
                  <a:lnTo>
                    <a:pt x="296216" y="285678"/>
                  </a:lnTo>
                  <a:lnTo>
                    <a:pt x="296251" y="264363"/>
                  </a:lnTo>
                  <a:lnTo>
                    <a:pt x="294767" y="236791"/>
                  </a:lnTo>
                  <a:lnTo>
                    <a:pt x="291058" y="196260"/>
                  </a:lnTo>
                  <a:lnTo>
                    <a:pt x="283718" y="150711"/>
                  </a:lnTo>
                  <a:lnTo>
                    <a:pt x="271778" y="104494"/>
                  </a:lnTo>
                  <a:lnTo>
                    <a:pt x="254270" y="61962"/>
                  </a:lnTo>
                  <a:lnTo>
                    <a:pt x="230226" y="27468"/>
                  </a:lnTo>
                  <a:lnTo>
                    <a:pt x="198679" y="5363"/>
                  </a:lnTo>
                  <a:lnTo>
                    <a:pt x="158661" y="0"/>
                  </a:lnTo>
                  <a:lnTo>
                    <a:pt x="108656" y="11820"/>
                  </a:lnTo>
                  <a:lnTo>
                    <a:pt x="57861" y="34829"/>
                  </a:lnTo>
                  <a:lnTo>
                    <a:pt x="17800" y="64068"/>
                  </a:lnTo>
                  <a:lnTo>
                    <a:pt x="0" y="94576"/>
                  </a:lnTo>
                  <a:lnTo>
                    <a:pt x="4709" y="117459"/>
                  </a:lnTo>
                  <a:lnTo>
                    <a:pt x="19870" y="156688"/>
                  </a:lnTo>
                  <a:lnTo>
                    <a:pt x="43260" y="207468"/>
                  </a:lnTo>
                  <a:lnTo>
                    <a:pt x="72655" y="265003"/>
                  </a:lnTo>
                  <a:lnTo>
                    <a:pt x="105834" y="324497"/>
                  </a:lnTo>
                  <a:lnTo>
                    <a:pt x="140572" y="381155"/>
                  </a:lnTo>
                  <a:lnTo>
                    <a:pt x="174646" y="430181"/>
                  </a:lnTo>
                  <a:lnTo>
                    <a:pt x="205835" y="466780"/>
                  </a:lnTo>
                  <a:lnTo>
                    <a:pt x="231914" y="486155"/>
                  </a:lnTo>
                </a:path>
              </a:pathLst>
            </a:custGeom>
            <a:ln w="25399">
              <a:solidFill>
                <a:srgbClr val="231F20"/>
              </a:solidFill>
            </a:ln>
          </p:spPr>
          <p:txBody>
            <a:bodyPr wrap="square" lIns="0" tIns="0" rIns="0" bIns="0" rtlCol="0"/>
            <a:lstStyle/>
            <a:p>
              <a:endParaRPr sz="649"/>
            </a:p>
          </p:txBody>
        </p:sp>
        <p:pic>
          <p:nvPicPr>
            <p:cNvPr id="24" name="object 24"/>
            <p:cNvPicPr/>
            <p:nvPr/>
          </p:nvPicPr>
          <p:blipFill>
            <a:blip r:embed="rId8" cstate="print"/>
            <a:stretch>
              <a:fillRect/>
            </a:stretch>
          </p:blipFill>
          <p:spPr>
            <a:xfrm>
              <a:off x="4528388" y="1099083"/>
              <a:ext cx="382358" cy="471601"/>
            </a:xfrm>
            <a:prstGeom prst="rect">
              <a:avLst/>
            </a:prstGeom>
          </p:spPr>
        </p:pic>
        <p:sp>
          <p:nvSpPr>
            <p:cNvPr id="25" name="object 25"/>
            <p:cNvSpPr/>
            <p:nvPr/>
          </p:nvSpPr>
          <p:spPr>
            <a:xfrm>
              <a:off x="4528389" y="1099072"/>
              <a:ext cx="382905" cy="471805"/>
            </a:xfrm>
            <a:custGeom>
              <a:avLst/>
              <a:gdLst/>
              <a:ahLst/>
              <a:cxnLst/>
              <a:rect l="l" t="t" r="r" b="b"/>
              <a:pathLst>
                <a:path w="382904" h="471805">
                  <a:moveTo>
                    <a:pt x="382358" y="78905"/>
                  </a:moveTo>
                  <a:lnTo>
                    <a:pt x="338210" y="87666"/>
                  </a:lnTo>
                  <a:lnTo>
                    <a:pt x="297487" y="103671"/>
                  </a:lnTo>
                  <a:lnTo>
                    <a:pt x="260816" y="126144"/>
                  </a:lnTo>
                  <a:lnTo>
                    <a:pt x="228821" y="154310"/>
                  </a:lnTo>
                  <a:lnTo>
                    <a:pt x="202128" y="187394"/>
                  </a:lnTo>
                  <a:lnTo>
                    <a:pt x="181363" y="224621"/>
                  </a:lnTo>
                  <a:lnTo>
                    <a:pt x="167153" y="265214"/>
                  </a:lnTo>
                  <a:lnTo>
                    <a:pt x="160122" y="308400"/>
                  </a:lnTo>
                  <a:lnTo>
                    <a:pt x="160896" y="353402"/>
                  </a:lnTo>
                  <a:lnTo>
                    <a:pt x="252539" y="346392"/>
                  </a:lnTo>
                  <a:lnTo>
                    <a:pt x="129387" y="471601"/>
                  </a:lnTo>
                  <a:lnTo>
                    <a:pt x="0" y="367207"/>
                  </a:lnTo>
                  <a:lnTo>
                    <a:pt x="81991" y="361835"/>
                  </a:lnTo>
                  <a:lnTo>
                    <a:pt x="80367" y="313152"/>
                  </a:lnTo>
                  <a:lnTo>
                    <a:pt x="85731" y="265948"/>
                  </a:lnTo>
                  <a:lnTo>
                    <a:pt x="97630" y="220782"/>
                  </a:lnTo>
                  <a:lnTo>
                    <a:pt x="115614" y="178214"/>
                  </a:lnTo>
                  <a:lnTo>
                    <a:pt x="139231" y="138803"/>
                  </a:lnTo>
                  <a:lnTo>
                    <a:pt x="168029" y="103111"/>
                  </a:lnTo>
                  <a:lnTo>
                    <a:pt x="201556" y="71695"/>
                  </a:lnTo>
                  <a:lnTo>
                    <a:pt x="239361" y="45116"/>
                  </a:lnTo>
                  <a:lnTo>
                    <a:pt x="280992" y="23934"/>
                  </a:lnTo>
                  <a:lnTo>
                    <a:pt x="325997" y="8709"/>
                  </a:lnTo>
                  <a:lnTo>
                    <a:pt x="373926" y="0"/>
                  </a:lnTo>
                  <a:lnTo>
                    <a:pt x="382358" y="78905"/>
                  </a:lnTo>
                  <a:close/>
                </a:path>
              </a:pathLst>
            </a:custGeom>
            <a:ln w="7620">
              <a:solidFill>
                <a:srgbClr val="E3873E"/>
              </a:solidFill>
            </a:ln>
          </p:spPr>
          <p:txBody>
            <a:bodyPr wrap="square" lIns="0" tIns="0" rIns="0" bIns="0" rtlCol="0"/>
            <a:lstStyle/>
            <a:p>
              <a:endParaRPr sz="649"/>
            </a:p>
          </p:txBody>
        </p:sp>
        <p:pic>
          <p:nvPicPr>
            <p:cNvPr id="26" name="object 26"/>
            <p:cNvPicPr/>
            <p:nvPr/>
          </p:nvPicPr>
          <p:blipFill>
            <a:blip r:embed="rId9" cstate="print"/>
            <a:stretch>
              <a:fillRect/>
            </a:stretch>
          </p:blipFill>
          <p:spPr>
            <a:xfrm>
              <a:off x="3918648" y="1325080"/>
              <a:ext cx="204355" cy="239318"/>
            </a:xfrm>
            <a:prstGeom prst="rect">
              <a:avLst/>
            </a:prstGeom>
          </p:spPr>
        </p:pic>
        <p:pic>
          <p:nvPicPr>
            <p:cNvPr id="27" name="object 27"/>
            <p:cNvPicPr/>
            <p:nvPr/>
          </p:nvPicPr>
          <p:blipFill>
            <a:blip r:embed="rId10" cstate="print"/>
            <a:stretch>
              <a:fillRect/>
            </a:stretch>
          </p:blipFill>
          <p:spPr>
            <a:xfrm>
              <a:off x="3914834" y="1321280"/>
              <a:ext cx="211975" cy="246926"/>
            </a:xfrm>
            <a:prstGeom prst="rect">
              <a:avLst/>
            </a:prstGeom>
          </p:spPr>
        </p:pic>
        <p:sp>
          <p:nvSpPr>
            <p:cNvPr id="28" name="object 28"/>
            <p:cNvSpPr/>
            <p:nvPr/>
          </p:nvSpPr>
          <p:spPr>
            <a:xfrm>
              <a:off x="3994529" y="1516367"/>
              <a:ext cx="447040" cy="290195"/>
            </a:xfrm>
            <a:custGeom>
              <a:avLst/>
              <a:gdLst/>
              <a:ahLst/>
              <a:cxnLst/>
              <a:rect l="l" t="t" r="r" b="b"/>
              <a:pathLst>
                <a:path w="447039" h="290194">
                  <a:moveTo>
                    <a:pt x="202390" y="0"/>
                  </a:moveTo>
                  <a:lnTo>
                    <a:pt x="153451" y="6205"/>
                  </a:lnTo>
                  <a:lnTo>
                    <a:pt x="106083" y="24543"/>
                  </a:lnTo>
                  <a:lnTo>
                    <a:pt x="73387" y="50810"/>
                  </a:lnTo>
                  <a:lnTo>
                    <a:pt x="38096" y="91952"/>
                  </a:lnTo>
                  <a:lnTo>
                    <a:pt x="10278" y="136718"/>
                  </a:lnTo>
                  <a:lnTo>
                    <a:pt x="0" y="173857"/>
                  </a:lnTo>
                  <a:lnTo>
                    <a:pt x="4781" y="185998"/>
                  </a:lnTo>
                  <a:lnTo>
                    <a:pt x="40062" y="206447"/>
                  </a:lnTo>
                  <a:lnTo>
                    <a:pt x="113935" y="226657"/>
                  </a:lnTo>
                  <a:lnTo>
                    <a:pt x="166956" y="238498"/>
                  </a:lnTo>
                  <a:lnTo>
                    <a:pt x="308390" y="269305"/>
                  </a:lnTo>
                  <a:lnTo>
                    <a:pt x="398094" y="289732"/>
                  </a:lnTo>
                  <a:lnTo>
                    <a:pt x="446913" y="154795"/>
                  </a:lnTo>
                  <a:lnTo>
                    <a:pt x="427211" y="127190"/>
                  </a:lnTo>
                  <a:lnTo>
                    <a:pt x="413792" y="109741"/>
                  </a:lnTo>
                  <a:lnTo>
                    <a:pt x="381139" y="75623"/>
                  </a:lnTo>
                  <a:lnTo>
                    <a:pt x="342275" y="43738"/>
                  </a:lnTo>
                  <a:lnTo>
                    <a:pt x="298438" y="19810"/>
                  </a:lnTo>
                  <a:lnTo>
                    <a:pt x="251264" y="4882"/>
                  </a:lnTo>
                  <a:lnTo>
                    <a:pt x="202390" y="0"/>
                  </a:lnTo>
                  <a:close/>
                </a:path>
              </a:pathLst>
            </a:custGeom>
            <a:solidFill>
              <a:srgbClr val="D1D3D4"/>
            </a:solidFill>
          </p:spPr>
          <p:txBody>
            <a:bodyPr wrap="square" lIns="0" tIns="0" rIns="0" bIns="0" rtlCol="0"/>
            <a:lstStyle/>
            <a:p>
              <a:endParaRPr sz="649"/>
            </a:p>
          </p:txBody>
        </p:sp>
        <p:sp>
          <p:nvSpPr>
            <p:cNvPr id="29" name="object 29"/>
            <p:cNvSpPr/>
            <p:nvPr/>
          </p:nvSpPr>
          <p:spPr>
            <a:xfrm>
              <a:off x="3994529" y="1516367"/>
              <a:ext cx="447040" cy="290195"/>
            </a:xfrm>
            <a:custGeom>
              <a:avLst/>
              <a:gdLst/>
              <a:ahLst/>
              <a:cxnLst/>
              <a:rect l="l" t="t" r="r" b="b"/>
              <a:pathLst>
                <a:path w="447039" h="290194">
                  <a:moveTo>
                    <a:pt x="446913" y="154795"/>
                  </a:moveTo>
                  <a:lnTo>
                    <a:pt x="413792" y="109741"/>
                  </a:lnTo>
                  <a:lnTo>
                    <a:pt x="381139" y="75623"/>
                  </a:lnTo>
                  <a:lnTo>
                    <a:pt x="342275" y="43738"/>
                  </a:lnTo>
                  <a:lnTo>
                    <a:pt x="298438" y="19810"/>
                  </a:lnTo>
                  <a:lnTo>
                    <a:pt x="251264" y="4882"/>
                  </a:lnTo>
                  <a:lnTo>
                    <a:pt x="202390" y="0"/>
                  </a:lnTo>
                  <a:lnTo>
                    <a:pt x="153451" y="6205"/>
                  </a:lnTo>
                  <a:lnTo>
                    <a:pt x="106083" y="24543"/>
                  </a:lnTo>
                  <a:lnTo>
                    <a:pt x="73387" y="50810"/>
                  </a:lnTo>
                  <a:lnTo>
                    <a:pt x="38096" y="91952"/>
                  </a:lnTo>
                  <a:lnTo>
                    <a:pt x="10278" y="136718"/>
                  </a:lnTo>
                  <a:lnTo>
                    <a:pt x="0" y="173857"/>
                  </a:lnTo>
                  <a:lnTo>
                    <a:pt x="4781" y="185998"/>
                  </a:lnTo>
                  <a:lnTo>
                    <a:pt x="40062" y="206447"/>
                  </a:lnTo>
                  <a:lnTo>
                    <a:pt x="113935" y="226657"/>
                  </a:lnTo>
                  <a:lnTo>
                    <a:pt x="166956" y="238498"/>
                  </a:lnTo>
                  <a:lnTo>
                    <a:pt x="231559" y="252471"/>
                  </a:lnTo>
                  <a:lnTo>
                    <a:pt x="308390" y="269305"/>
                  </a:lnTo>
                  <a:lnTo>
                    <a:pt x="398094" y="289732"/>
                  </a:lnTo>
                </a:path>
              </a:pathLst>
            </a:custGeom>
            <a:ln w="25400">
              <a:solidFill>
                <a:srgbClr val="231F20"/>
              </a:solidFill>
            </a:ln>
          </p:spPr>
          <p:txBody>
            <a:bodyPr wrap="square" lIns="0" tIns="0" rIns="0" bIns="0" rtlCol="0"/>
            <a:lstStyle/>
            <a:p>
              <a:endParaRPr sz="649"/>
            </a:p>
          </p:txBody>
        </p:sp>
        <p:pic>
          <p:nvPicPr>
            <p:cNvPr id="30" name="object 30"/>
            <p:cNvPicPr/>
            <p:nvPr/>
          </p:nvPicPr>
          <p:blipFill>
            <a:blip r:embed="rId11" cstate="print"/>
            <a:stretch>
              <a:fillRect/>
            </a:stretch>
          </p:blipFill>
          <p:spPr>
            <a:xfrm>
              <a:off x="6190119" y="1850352"/>
              <a:ext cx="504583" cy="303249"/>
            </a:xfrm>
            <a:prstGeom prst="rect">
              <a:avLst/>
            </a:prstGeom>
          </p:spPr>
        </p:pic>
        <p:sp>
          <p:nvSpPr>
            <p:cNvPr id="31" name="object 31"/>
            <p:cNvSpPr/>
            <p:nvPr/>
          </p:nvSpPr>
          <p:spPr>
            <a:xfrm>
              <a:off x="6190123" y="1850336"/>
              <a:ext cx="504825" cy="303530"/>
            </a:xfrm>
            <a:custGeom>
              <a:avLst/>
              <a:gdLst/>
              <a:ahLst/>
              <a:cxnLst/>
              <a:rect l="l" t="t" r="r" b="b"/>
              <a:pathLst>
                <a:path w="504825" h="303530">
                  <a:moveTo>
                    <a:pt x="0" y="271576"/>
                  </a:moveTo>
                  <a:lnTo>
                    <a:pt x="45434" y="289145"/>
                  </a:lnTo>
                  <a:lnTo>
                    <a:pt x="91774" y="299629"/>
                  </a:lnTo>
                  <a:lnTo>
                    <a:pt x="138340" y="303273"/>
                  </a:lnTo>
                  <a:lnTo>
                    <a:pt x="184457" y="300316"/>
                  </a:lnTo>
                  <a:lnTo>
                    <a:pt x="229448" y="291002"/>
                  </a:lnTo>
                  <a:lnTo>
                    <a:pt x="272634" y="275572"/>
                  </a:lnTo>
                  <a:lnTo>
                    <a:pt x="313340" y="254268"/>
                  </a:lnTo>
                  <a:lnTo>
                    <a:pt x="350889" y="227332"/>
                  </a:lnTo>
                  <a:lnTo>
                    <a:pt x="384603" y="195006"/>
                  </a:lnTo>
                  <a:lnTo>
                    <a:pt x="413805" y="157531"/>
                  </a:lnTo>
                  <a:lnTo>
                    <a:pt x="437819" y="115150"/>
                  </a:lnTo>
                  <a:lnTo>
                    <a:pt x="504570" y="156794"/>
                  </a:lnTo>
                  <a:lnTo>
                    <a:pt x="459270" y="0"/>
                  </a:lnTo>
                  <a:lnTo>
                    <a:pt x="296608" y="47548"/>
                  </a:lnTo>
                  <a:lnTo>
                    <a:pt x="366090" y="81178"/>
                  </a:lnTo>
                  <a:lnTo>
                    <a:pt x="343278" y="119978"/>
                  </a:lnTo>
                  <a:lnTo>
                    <a:pt x="314755" y="153156"/>
                  </a:lnTo>
                  <a:lnTo>
                    <a:pt x="281458" y="180378"/>
                  </a:lnTo>
                  <a:lnTo>
                    <a:pt x="244326" y="201307"/>
                  </a:lnTo>
                  <a:lnTo>
                    <a:pt x="204297" y="215611"/>
                  </a:lnTo>
                  <a:lnTo>
                    <a:pt x="162308" y="222952"/>
                  </a:lnTo>
                  <a:lnTo>
                    <a:pt x="119299" y="222998"/>
                  </a:lnTo>
                  <a:lnTo>
                    <a:pt x="76208" y="215412"/>
                  </a:lnTo>
                  <a:lnTo>
                    <a:pt x="33972" y="199859"/>
                  </a:lnTo>
                  <a:lnTo>
                    <a:pt x="0" y="271576"/>
                  </a:lnTo>
                  <a:close/>
                </a:path>
              </a:pathLst>
            </a:custGeom>
            <a:ln w="7619">
              <a:solidFill>
                <a:srgbClr val="E3873E"/>
              </a:solidFill>
            </a:ln>
          </p:spPr>
          <p:txBody>
            <a:bodyPr wrap="square" lIns="0" tIns="0" rIns="0" bIns="0" rtlCol="0"/>
            <a:lstStyle/>
            <a:p>
              <a:endParaRPr sz="649"/>
            </a:p>
          </p:txBody>
        </p:sp>
        <p:sp>
          <p:nvSpPr>
            <p:cNvPr id="32" name="object 32"/>
            <p:cNvSpPr/>
            <p:nvPr/>
          </p:nvSpPr>
          <p:spPr>
            <a:xfrm>
              <a:off x="6065554" y="1589002"/>
              <a:ext cx="808355" cy="256540"/>
            </a:xfrm>
            <a:custGeom>
              <a:avLst/>
              <a:gdLst/>
              <a:ahLst/>
              <a:cxnLst/>
              <a:rect l="l" t="t" r="r" b="b"/>
              <a:pathLst>
                <a:path w="808354" h="256539">
                  <a:moveTo>
                    <a:pt x="199113" y="0"/>
                  </a:moveTo>
                  <a:lnTo>
                    <a:pt x="140850" y="626"/>
                  </a:lnTo>
                  <a:lnTo>
                    <a:pt x="38889" y="3174"/>
                  </a:lnTo>
                  <a:lnTo>
                    <a:pt x="0" y="3746"/>
                  </a:lnTo>
                  <a:lnTo>
                    <a:pt x="10312" y="127088"/>
                  </a:lnTo>
                  <a:lnTo>
                    <a:pt x="28267" y="122553"/>
                  </a:lnTo>
                  <a:lnTo>
                    <a:pt x="67584" y="117761"/>
                  </a:lnTo>
                  <a:lnTo>
                    <a:pt x="121898" y="113242"/>
                  </a:lnTo>
                  <a:lnTo>
                    <a:pt x="184845" y="109531"/>
                  </a:lnTo>
                  <a:lnTo>
                    <a:pt x="250060" y="107157"/>
                  </a:lnTo>
                  <a:lnTo>
                    <a:pt x="311178" y="106654"/>
                  </a:lnTo>
                  <a:lnTo>
                    <a:pt x="361836" y="108552"/>
                  </a:lnTo>
                  <a:lnTo>
                    <a:pt x="395668" y="113385"/>
                  </a:lnTo>
                  <a:lnTo>
                    <a:pt x="427162" y="125307"/>
                  </a:lnTo>
                  <a:lnTo>
                    <a:pt x="471934" y="145822"/>
                  </a:lnTo>
                  <a:lnTo>
                    <a:pt x="582745" y="198802"/>
                  </a:lnTo>
                  <a:lnTo>
                    <a:pt x="639500" y="224351"/>
                  </a:lnTo>
                  <a:lnTo>
                    <a:pt x="690966" y="244662"/>
                  </a:lnTo>
                  <a:lnTo>
                    <a:pt x="732499" y="256278"/>
                  </a:lnTo>
                  <a:lnTo>
                    <a:pt x="759460" y="255739"/>
                  </a:lnTo>
                  <a:lnTo>
                    <a:pt x="789573" y="235347"/>
                  </a:lnTo>
                  <a:lnTo>
                    <a:pt x="806389" y="208091"/>
                  </a:lnTo>
                  <a:lnTo>
                    <a:pt x="808323" y="178246"/>
                  </a:lnTo>
                  <a:lnTo>
                    <a:pt x="793788" y="150088"/>
                  </a:lnTo>
                  <a:lnTo>
                    <a:pt x="741428" y="119008"/>
                  </a:lnTo>
                  <a:lnTo>
                    <a:pt x="697881" y="100842"/>
                  </a:lnTo>
                  <a:lnTo>
                    <a:pt x="646695" y="82053"/>
                  </a:lnTo>
                  <a:lnTo>
                    <a:pt x="590821" y="63484"/>
                  </a:lnTo>
                  <a:lnTo>
                    <a:pt x="533214" y="45980"/>
                  </a:lnTo>
                  <a:lnTo>
                    <a:pt x="476826" y="30388"/>
                  </a:lnTo>
                  <a:lnTo>
                    <a:pt x="424611" y="17551"/>
                  </a:lnTo>
                  <a:lnTo>
                    <a:pt x="374179" y="8805"/>
                  </a:lnTo>
                  <a:lnTo>
                    <a:pt x="318182" y="3414"/>
                  </a:lnTo>
                  <a:lnTo>
                    <a:pt x="259025" y="704"/>
                  </a:lnTo>
                  <a:lnTo>
                    <a:pt x="199113" y="0"/>
                  </a:lnTo>
                  <a:close/>
                </a:path>
              </a:pathLst>
            </a:custGeom>
            <a:solidFill>
              <a:srgbClr val="F1F2F2"/>
            </a:solidFill>
          </p:spPr>
          <p:txBody>
            <a:bodyPr wrap="square" lIns="0" tIns="0" rIns="0" bIns="0" rtlCol="0"/>
            <a:lstStyle/>
            <a:p>
              <a:endParaRPr sz="649"/>
            </a:p>
          </p:txBody>
        </p:sp>
        <p:sp>
          <p:nvSpPr>
            <p:cNvPr id="33" name="object 33"/>
            <p:cNvSpPr/>
            <p:nvPr/>
          </p:nvSpPr>
          <p:spPr>
            <a:xfrm>
              <a:off x="6065554" y="1589002"/>
              <a:ext cx="808355" cy="256540"/>
            </a:xfrm>
            <a:custGeom>
              <a:avLst/>
              <a:gdLst/>
              <a:ahLst/>
              <a:cxnLst/>
              <a:rect l="l" t="t" r="r" b="b"/>
              <a:pathLst>
                <a:path w="808354" h="256539">
                  <a:moveTo>
                    <a:pt x="0" y="3746"/>
                  </a:moveTo>
                  <a:lnTo>
                    <a:pt x="38889" y="3174"/>
                  </a:lnTo>
                  <a:lnTo>
                    <a:pt x="86640" y="1910"/>
                  </a:lnTo>
                  <a:lnTo>
                    <a:pt x="140850" y="626"/>
                  </a:lnTo>
                  <a:lnTo>
                    <a:pt x="199113" y="0"/>
                  </a:lnTo>
                  <a:lnTo>
                    <a:pt x="259025" y="704"/>
                  </a:lnTo>
                  <a:lnTo>
                    <a:pt x="318182" y="3414"/>
                  </a:lnTo>
                  <a:lnTo>
                    <a:pt x="374179" y="8805"/>
                  </a:lnTo>
                  <a:lnTo>
                    <a:pt x="424611" y="17551"/>
                  </a:lnTo>
                  <a:lnTo>
                    <a:pt x="476826" y="30388"/>
                  </a:lnTo>
                  <a:lnTo>
                    <a:pt x="533214" y="45980"/>
                  </a:lnTo>
                  <a:lnTo>
                    <a:pt x="590821" y="63484"/>
                  </a:lnTo>
                  <a:lnTo>
                    <a:pt x="646695" y="82053"/>
                  </a:lnTo>
                  <a:lnTo>
                    <a:pt x="697881" y="100842"/>
                  </a:lnTo>
                  <a:lnTo>
                    <a:pt x="741428" y="119008"/>
                  </a:lnTo>
                  <a:lnTo>
                    <a:pt x="793788" y="150088"/>
                  </a:lnTo>
                  <a:lnTo>
                    <a:pt x="808323" y="178246"/>
                  </a:lnTo>
                  <a:lnTo>
                    <a:pt x="806389" y="208091"/>
                  </a:lnTo>
                  <a:lnTo>
                    <a:pt x="789573" y="235347"/>
                  </a:lnTo>
                  <a:lnTo>
                    <a:pt x="759460" y="255739"/>
                  </a:lnTo>
                  <a:lnTo>
                    <a:pt x="732499" y="256278"/>
                  </a:lnTo>
                  <a:lnTo>
                    <a:pt x="690966" y="244662"/>
                  </a:lnTo>
                  <a:lnTo>
                    <a:pt x="639500" y="224351"/>
                  </a:lnTo>
                  <a:lnTo>
                    <a:pt x="582745" y="198802"/>
                  </a:lnTo>
                  <a:lnTo>
                    <a:pt x="525343" y="171473"/>
                  </a:lnTo>
                  <a:lnTo>
                    <a:pt x="471934" y="145822"/>
                  </a:lnTo>
                  <a:lnTo>
                    <a:pt x="427162" y="125307"/>
                  </a:lnTo>
                  <a:lnTo>
                    <a:pt x="395668" y="113385"/>
                  </a:lnTo>
                  <a:lnTo>
                    <a:pt x="361836" y="108552"/>
                  </a:lnTo>
                  <a:lnTo>
                    <a:pt x="311178" y="106654"/>
                  </a:lnTo>
                  <a:lnTo>
                    <a:pt x="250060" y="107157"/>
                  </a:lnTo>
                  <a:lnTo>
                    <a:pt x="184845" y="109531"/>
                  </a:lnTo>
                  <a:lnTo>
                    <a:pt x="121898" y="113242"/>
                  </a:lnTo>
                  <a:lnTo>
                    <a:pt x="67584" y="117761"/>
                  </a:lnTo>
                  <a:lnTo>
                    <a:pt x="28267" y="122553"/>
                  </a:lnTo>
                  <a:lnTo>
                    <a:pt x="10312" y="127088"/>
                  </a:lnTo>
                </a:path>
              </a:pathLst>
            </a:custGeom>
            <a:ln w="25400">
              <a:solidFill>
                <a:srgbClr val="231F20"/>
              </a:solidFill>
            </a:ln>
          </p:spPr>
          <p:txBody>
            <a:bodyPr wrap="square" lIns="0" tIns="0" rIns="0" bIns="0" rtlCol="0"/>
            <a:lstStyle/>
            <a:p>
              <a:endParaRPr sz="649"/>
            </a:p>
          </p:txBody>
        </p:sp>
        <p:sp>
          <p:nvSpPr>
            <p:cNvPr id="34" name="object 34"/>
            <p:cNvSpPr/>
            <p:nvPr/>
          </p:nvSpPr>
          <p:spPr>
            <a:xfrm>
              <a:off x="5138400" y="1976991"/>
              <a:ext cx="935355" cy="307975"/>
            </a:xfrm>
            <a:custGeom>
              <a:avLst/>
              <a:gdLst/>
              <a:ahLst/>
              <a:cxnLst/>
              <a:rect l="l" t="t" r="r" b="b"/>
              <a:pathLst>
                <a:path w="935354" h="307975">
                  <a:moveTo>
                    <a:pt x="504940" y="0"/>
                  </a:moveTo>
                  <a:lnTo>
                    <a:pt x="429642" y="0"/>
                  </a:lnTo>
                  <a:lnTo>
                    <a:pt x="429642" y="228295"/>
                  </a:lnTo>
                  <a:lnTo>
                    <a:pt x="429426" y="229311"/>
                  </a:lnTo>
                  <a:lnTo>
                    <a:pt x="104" y="268721"/>
                  </a:lnTo>
                  <a:lnTo>
                    <a:pt x="0" y="272799"/>
                  </a:lnTo>
                  <a:lnTo>
                    <a:pt x="2135" y="307962"/>
                  </a:lnTo>
                  <a:lnTo>
                    <a:pt x="934937" y="307962"/>
                  </a:lnTo>
                  <a:lnTo>
                    <a:pt x="934937" y="268744"/>
                  </a:lnTo>
                  <a:lnTo>
                    <a:pt x="506591" y="228650"/>
                  </a:lnTo>
                  <a:lnTo>
                    <a:pt x="505652" y="226212"/>
                  </a:lnTo>
                  <a:lnTo>
                    <a:pt x="504940" y="0"/>
                  </a:lnTo>
                  <a:close/>
                </a:path>
              </a:pathLst>
            </a:custGeom>
            <a:solidFill>
              <a:srgbClr val="FFFFFF"/>
            </a:solidFill>
          </p:spPr>
          <p:txBody>
            <a:bodyPr wrap="square" lIns="0" tIns="0" rIns="0" bIns="0" rtlCol="0"/>
            <a:lstStyle/>
            <a:p>
              <a:endParaRPr sz="649"/>
            </a:p>
          </p:txBody>
        </p:sp>
        <p:sp>
          <p:nvSpPr>
            <p:cNvPr id="35" name="object 35"/>
            <p:cNvSpPr/>
            <p:nvPr/>
          </p:nvSpPr>
          <p:spPr>
            <a:xfrm>
              <a:off x="5138400" y="1976991"/>
              <a:ext cx="935355" cy="307975"/>
            </a:xfrm>
            <a:custGeom>
              <a:avLst/>
              <a:gdLst/>
              <a:ahLst/>
              <a:cxnLst/>
              <a:rect l="l" t="t" r="r" b="b"/>
              <a:pathLst>
                <a:path w="935354" h="307975">
                  <a:moveTo>
                    <a:pt x="504940" y="0"/>
                  </a:moveTo>
                  <a:lnTo>
                    <a:pt x="505652" y="226212"/>
                  </a:lnTo>
                  <a:lnTo>
                    <a:pt x="506591" y="228650"/>
                  </a:lnTo>
                  <a:lnTo>
                    <a:pt x="934937" y="268744"/>
                  </a:lnTo>
                  <a:lnTo>
                    <a:pt x="934937" y="307962"/>
                  </a:lnTo>
                  <a:lnTo>
                    <a:pt x="2135" y="307962"/>
                  </a:lnTo>
                  <a:lnTo>
                    <a:pt x="635" y="284653"/>
                  </a:lnTo>
                  <a:lnTo>
                    <a:pt x="0" y="272799"/>
                  </a:lnTo>
                  <a:lnTo>
                    <a:pt x="104" y="268721"/>
                  </a:lnTo>
                  <a:lnTo>
                    <a:pt x="827" y="268744"/>
                  </a:lnTo>
                  <a:lnTo>
                    <a:pt x="429426" y="229311"/>
                  </a:lnTo>
                  <a:lnTo>
                    <a:pt x="429642" y="228295"/>
                  </a:lnTo>
                  <a:lnTo>
                    <a:pt x="429642" y="0"/>
                  </a:lnTo>
                </a:path>
              </a:pathLst>
            </a:custGeom>
            <a:ln w="12700">
              <a:solidFill>
                <a:srgbClr val="231F20"/>
              </a:solidFill>
            </a:ln>
          </p:spPr>
          <p:txBody>
            <a:bodyPr wrap="square" lIns="0" tIns="0" rIns="0" bIns="0" rtlCol="0"/>
            <a:lstStyle/>
            <a:p>
              <a:endParaRPr sz="649"/>
            </a:p>
          </p:txBody>
        </p:sp>
        <p:sp>
          <p:nvSpPr>
            <p:cNvPr id="36" name="object 36"/>
            <p:cNvSpPr/>
            <p:nvPr/>
          </p:nvSpPr>
          <p:spPr>
            <a:xfrm>
              <a:off x="5340922" y="1603246"/>
              <a:ext cx="918844" cy="498475"/>
            </a:xfrm>
            <a:custGeom>
              <a:avLst/>
              <a:gdLst/>
              <a:ahLst/>
              <a:cxnLst/>
              <a:rect l="l" t="t" r="r" b="b"/>
              <a:pathLst>
                <a:path w="918845" h="498475">
                  <a:moveTo>
                    <a:pt x="715357" y="0"/>
                  </a:moveTo>
                  <a:lnTo>
                    <a:pt x="666000" y="3342"/>
                  </a:lnTo>
                  <a:lnTo>
                    <a:pt x="599508" y="15433"/>
                  </a:lnTo>
                  <a:lnTo>
                    <a:pt x="507969" y="40104"/>
                  </a:lnTo>
                  <a:lnTo>
                    <a:pt x="328946" y="95934"/>
                  </a:lnTo>
                  <a:lnTo>
                    <a:pt x="0" y="201500"/>
                  </a:lnTo>
                  <a:lnTo>
                    <a:pt x="74129" y="474093"/>
                  </a:lnTo>
                  <a:lnTo>
                    <a:pt x="374359" y="402908"/>
                  </a:lnTo>
                  <a:lnTo>
                    <a:pt x="588388" y="351726"/>
                  </a:lnTo>
                  <a:lnTo>
                    <a:pt x="701687" y="323751"/>
                  </a:lnTo>
                  <a:lnTo>
                    <a:pt x="719075" y="249128"/>
                  </a:lnTo>
                  <a:lnTo>
                    <a:pt x="718488" y="191254"/>
                  </a:lnTo>
                  <a:lnTo>
                    <a:pt x="720787" y="142636"/>
                  </a:lnTo>
                  <a:lnTo>
                    <a:pt x="732777" y="120500"/>
                  </a:lnTo>
                  <a:lnTo>
                    <a:pt x="765823" y="132336"/>
                  </a:lnTo>
                  <a:lnTo>
                    <a:pt x="790813" y="171033"/>
                  </a:lnTo>
                  <a:lnTo>
                    <a:pt x="805882" y="223313"/>
                  </a:lnTo>
                  <a:lnTo>
                    <a:pt x="809167" y="275897"/>
                  </a:lnTo>
                  <a:lnTo>
                    <a:pt x="793896" y="313066"/>
                  </a:lnTo>
                  <a:lnTo>
                    <a:pt x="759266" y="340053"/>
                  </a:lnTo>
                  <a:lnTo>
                    <a:pt x="713456" y="359216"/>
                  </a:lnTo>
                  <a:lnTo>
                    <a:pt x="664647" y="372914"/>
                  </a:lnTo>
                  <a:lnTo>
                    <a:pt x="621017" y="383504"/>
                  </a:lnTo>
                  <a:lnTo>
                    <a:pt x="583806" y="391955"/>
                  </a:lnTo>
                  <a:lnTo>
                    <a:pt x="549000" y="398685"/>
                  </a:lnTo>
                  <a:lnTo>
                    <a:pt x="516305" y="405394"/>
                  </a:lnTo>
                  <a:lnTo>
                    <a:pt x="485432" y="413781"/>
                  </a:lnTo>
                  <a:lnTo>
                    <a:pt x="454992" y="434881"/>
                  </a:lnTo>
                  <a:lnTo>
                    <a:pt x="451246" y="461773"/>
                  </a:lnTo>
                  <a:lnTo>
                    <a:pt x="465479" y="485510"/>
                  </a:lnTo>
                  <a:lnTo>
                    <a:pt x="488975" y="497144"/>
                  </a:lnTo>
                  <a:lnTo>
                    <a:pt x="529199" y="497916"/>
                  </a:lnTo>
                  <a:lnTo>
                    <a:pt x="578201" y="493410"/>
                  </a:lnTo>
                  <a:lnTo>
                    <a:pt x="632488" y="484172"/>
                  </a:lnTo>
                  <a:lnTo>
                    <a:pt x="688568" y="470748"/>
                  </a:lnTo>
                  <a:lnTo>
                    <a:pt x="742948" y="453685"/>
                  </a:lnTo>
                  <a:lnTo>
                    <a:pt x="792137" y="433529"/>
                  </a:lnTo>
                  <a:lnTo>
                    <a:pt x="827672" y="413501"/>
                  </a:lnTo>
                  <a:lnTo>
                    <a:pt x="859057" y="388523"/>
                  </a:lnTo>
                  <a:lnTo>
                    <a:pt x="885052" y="358403"/>
                  </a:lnTo>
                  <a:lnTo>
                    <a:pt x="904416" y="322947"/>
                  </a:lnTo>
                  <a:lnTo>
                    <a:pt x="915909" y="281962"/>
                  </a:lnTo>
                  <a:lnTo>
                    <a:pt x="918292" y="235253"/>
                  </a:lnTo>
                  <a:lnTo>
                    <a:pt x="910323" y="182628"/>
                  </a:lnTo>
                  <a:lnTo>
                    <a:pt x="892457" y="128205"/>
                  </a:lnTo>
                  <a:lnTo>
                    <a:pt x="868051" y="83338"/>
                  </a:lnTo>
                  <a:lnTo>
                    <a:pt x="837621" y="48054"/>
                  </a:lnTo>
                  <a:lnTo>
                    <a:pt x="801684" y="22384"/>
                  </a:lnTo>
                  <a:lnTo>
                    <a:pt x="760757" y="6356"/>
                  </a:lnTo>
                  <a:lnTo>
                    <a:pt x="715357" y="0"/>
                  </a:lnTo>
                  <a:close/>
                </a:path>
              </a:pathLst>
            </a:custGeom>
            <a:solidFill>
              <a:srgbClr val="D1D3D4"/>
            </a:solidFill>
          </p:spPr>
          <p:txBody>
            <a:bodyPr wrap="square" lIns="0" tIns="0" rIns="0" bIns="0" rtlCol="0"/>
            <a:lstStyle/>
            <a:p>
              <a:endParaRPr sz="649"/>
            </a:p>
          </p:txBody>
        </p:sp>
        <p:sp>
          <p:nvSpPr>
            <p:cNvPr id="37" name="object 37"/>
            <p:cNvSpPr/>
            <p:nvPr/>
          </p:nvSpPr>
          <p:spPr>
            <a:xfrm>
              <a:off x="5340922" y="1603246"/>
              <a:ext cx="918844" cy="498475"/>
            </a:xfrm>
            <a:custGeom>
              <a:avLst/>
              <a:gdLst/>
              <a:ahLst/>
              <a:cxnLst/>
              <a:rect l="l" t="t" r="r" b="b"/>
              <a:pathLst>
                <a:path w="918845" h="498475">
                  <a:moveTo>
                    <a:pt x="0" y="201500"/>
                  </a:moveTo>
                  <a:lnTo>
                    <a:pt x="328946" y="95934"/>
                  </a:lnTo>
                  <a:lnTo>
                    <a:pt x="507969" y="40104"/>
                  </a:lnTo>
                  <a:lnTo>
                    <a:pt x="599508" y="15433"/>
                  </a:lnTo>
                  <a:lnTo>
                    <a:pt x="666000" y="3342"/>
                  </a:lnTo>
                  <a:lnTo>
                    <a:pt x="715357" y="0"/>
                  </a:lnTo>
                  <a:lnTo>
                    <a:pt x="760757" y="6356"/>
                  </a:lnTo>
                  <a:lnTo>
                    <a:pt x="801684" y="22384"/>
                  </a:lnTo>
                  <a:lnTo>
                    <a:pt x="837621" y="48054"/>
                  </a:lnTo>
                  <a:lnTo>
                    <a:pt x="868051" y="83338"/>
                  </a:lnTo>
                  <a:lnTo>
                    <a:pt x="892457" y="128205"/>
                  </a:lnTo>
                  <a:lnTo>
                    <a:pt x="910323" y="182628"/>
                  </a:lnTo>
                  <a:lnTo>
                    <a:pt x="918292" y="235253"/>
                  </a:lnTo>
                  <a:lnTo>
                    <a:pt x="915909" y="281962"/>
                  </a:lnTo>
                  <a:lnTo>
                    <a:pt x="904416" y="322947"/>
                  </a:lnTo>
                  <a:lnTo>
                    <a:pt x="885052" y="358403"/>
                  </a:lnTo>
                  <a:lnTo>
                    <a:pt x="859057" y="388523"/>
                  </a:lnTo>
                  <a:lnTo>
                    <a:pt x="827672" y="413501"/>
                  </a:lnTo>
                  <a:lnTo>
                    <a:pt x="792137" y="433529"/>
                  </a:lnTo>
                  <a:lnTo>
                    <a:pt x="742948" y="453685"/>
                  </a:lnTo>
                  <a:lnTo>
                    <a:pt x="688568" y="470748"/>
                  </a:lnTo>
                  <a:lnTo>
                    <a:pt x="632488" y="484172"/>
                  </a:lnTo>
                  <a:lnTo>
                    <a:pt x="578201" y="493410"/>
                  </a:lnTo>
                  <a:lnTo>
                    <a:pt x="529199" y="497916"/>
                  </a:lnTo>
                  <a:lnTo>
                    <a:pt x="488975" y="497144"/>
                  </a:lnTo>
                  <a:lnTo>
                    <a:pt x="451246" y="461773"/>
                  </a:lnTo>
                  <a:lnTo>
                    <a:pt x="485432" y="413781"/>
                  </a:lnTo>
                  <a:lnTo>
                    <a:pt x="549000" y="398685"/>
                  </a:lnTo>
                  <a:lnTo>
                    <a:pt x="583806" y="391955"/>
                  </a:lnTo>
                  <a:lnTo>
                    <a:pt x="621017" y="383504"/>
                  </a:lnTo>
                  <a:lnTo>
                    <a:pt x="664647" y="372914"/>
                  </a:lnTo>
                  <a:lnTo>
                    <a:pt x="713456" y="359216"/>
                  </a:lnTo>
                  <a:lnTo>
                    <a:pt x="759266" y="340053"/>
                  </a:lnTo>
                  <a:lnTo>
                    <a:pt x="793896" y="313066"/>
                  </a:lnTo>
                  <a:lnTo>
                    <a:pt x="809167" y="275897"/>
                  </a:lnTo>
                  <a:lnTo>
                    <a:pt x="805882" y="223313"/>
                  </a:lnTo>
                  <a:lnTo>
                    <a:pt x="790813" y="171033"/>
                  </a:lnTo>
                  <a:lnTo>
                    <a:pt x="765823" y="132336"/>
                  </a:lnTo>
                  <a:lnTo>
                    <a:pt x="732777" y="120500"/>
                  </a:lnTo>
                  <a:lnTo>
                    <a:pt x="720787" y="142636"/>
                  </a:lnTo>
                  <a:lnTo>
                    <a:pt x="718488" y="191254"/>
                  </a:lnTo>
                  <a:lnTo>
                    <a:pt x="719075" y="249128"/>
                  </a:lnTo>
                  <a:lnTo>
                    <a:pt x="715743" y="299035"/>
                  </a:lnTo>
                  <a:lnTo>
                    <a:pt x="701687" y="323751"/>
                  </a:lnTo>
                  <a:lnTo>
                    <a:pt x="588388" y="351726"/>
                  </a:lnTo>
                  <a:lnTo>
                    <a:pt x="374359" y="402908"/>
                  </a:lnTo>
                  <a:lnTo>
                    <a:pt x="167104" y="452097"/>
                  </a:lnTo>
                  <a:lnTo>
                    <a:pt x="74129" y="474093"/>
                  </a:lnTo>
                </a:path>
              </a:pathLst>
            </a:custGeom>
            <a:ln w="25399">
              <a:solidFill>
                <a:srgbClr val="231F20"/>
              </a:solidFill>
            </a:ln>
          </p:spPr>
          <p:txBody>
            <a:bodyPr wrap="square" lIns="0" tIns="0" rIns="0" bIns="0" rtlCol="0"/>
            <a:lstStyle/>
            <a:p>
              <a:endParaRPr sz="649"/>
            </a:p>
          </p:txBody>
        </p:sp>
        <p:sp>
          <p:nvSpPr>
            <p:cNvPr id="38" name="object 38"/>
            <p:cNvSpPr/>
            <p:nvPr/>
          </p:nvSpPr>
          <p:spPr>
            <a:xfrm>
              <a:off x="4826809" y="620777"/>
              <a:ext cx="653415" cy="1459230"/>
            </a:xfrm>
            <a:custGeom>
              <a:avLst/>
              <a:gdLst/>
              <a:ahLst/>
              <a:cxnLst/>
              <a:rect l="l" t="t" r="r" b="b"/>
              <a:pathLst>
                <a:path w="653414" h="1459230">
                  <a:moveTo>
                    <a:pt x="95518" y="0"/>
                  </a:moveTo>
                  <a:lnTo>
                    <a:pt x="43363" y="3439"/>
                  </a:lnTo>
                  <a:lnTo>
                    <a:pt x="5945" y="14979"/>
                  </a:lnTo>
                  <a:lnTo>
                    <a:pt x="0" y="32262"/>
                  </a:lnTo>
                  <a:lnTo>
                    <a:pt x="3251" y="67279"/>
                  </a:lnTo>
                  <a:lnTo>
                    <a:pt x="13673" y="115484"/>
                  </a:lnTo>
                  <a:lnTo>
                    <a:pt x="29242" y="172330"/>
                  </a:lnTo>
                  <a:lnTo>
                    <a:pt x="47932" y="233271"/>
                  </a:lnTo>
                  <a:lnTo>
                    <a:pt x="67719" y="293760"/>
                  </a:lnTo>
                  <a:lnTo>
                    <a:pt x="86578" y="349252"/>
                  </a:lnTo>
                  <a:lnTo>
                    <a:pt x="118811" y="442462"/>
                  </a:lnTo>
                  <a:lnTo>
                    <a:pt x="156543" y="544995"/>
                  </a:lnTo>
                  <a:lnTo>
                    <a:pt x="266477" y="837928"/>
                  </a:lnTo>
                  <a:lnTo>
                    <a:pt x="390552" y="1164857"/>
                  </a:lnTo>
                  <a:lnTo>
                    <a:pt x="450343" y="1320425"/>
                  </a:lnTo>
                  <a:lnTo>
                    <a:pt x="477226" y="1388983"/>
                  </a:lnTo>
                  <a:lnTo>
                    <a:pt x="502178" y="1439539"/>
                  </a:lnTo>
                  <a:lnTo>
                    <a:pt x="550071" y="1458850"/>
                  </a:lnTo>
                  <a:lnTo>
                    <a:pt x="598590" y="1447679"/>
                  </a:lnTo>
                  <a:lnTo>
                    <a:pt x="616049" y="1441159"/>
                  </a:lnTo>
                  <a:lnTo>
                    <a:pt x="634884" y="1430859"/>
                  </a:lnTo>
                  <a:lnTo>
                    <a:pt x="649161" y="1415380"/>
                  </a:lnTo>
                  <a:lnTo>
                    <a:pt x="652946" y="1393323"/>
                  </a:lnTo>
                  <a:lnTo>
                    <a:pt x="650544" y="1370291"/>
                  </a:lnTo>
                  <a:lnTo>
                    <a:pt x="641952" y="1276787"/>
                  </a:lnTo>
                  <a:lnTo>
                    <a:pt x="635955" y="1215030"/>
                  </a:lnTo>
                  <a:lnTo>
                    <a:pt x="628950" y="1149082"/>
                  </a:lnTo>
                  <a:lnTo>
                    <a:pt x="621035" y="1083300"/>
                  </a:lnTo>
                  <a:lnTo>
                    <a:pt x="612306" y="1022043"/>
                  </a:lnTo>
                  <a:lnTo>
                    <a:pt x="602857" y="969668"/>
                  </a:lnTo>
                  <a:lnTo>
                    <a:pt x="592786" y="930535"/>
                  </a:lnTo>
                  <a:lnTo>
                    <a:pt x="559220" y="851344"/>
                  </a:lnTo>
                  <a:lnTo>
                    <a:pt x="533857" y="798881"/>
                  </a:lnTo>
                  <a:lnTo>
                    <a:pt x="505092" y="741922"/>
                  </a:lnTo>
                  <a:lnTo>
                    <a:pt x="474667" y="683531"/>
                  </a:lnTo>
                  <a:lnTo>
                    <a:pt x="444320" y="626770"/>
                  </a:lnTo>
                  <a:lnTo>
                    <a:pt x="415791" y="574703"/>
                  </a:lnTo>
                  <a:lnTo>
                    <a:pt x="390820" y="530391"/>
                  </a:lnTo>
                  <a:lnTo>
                    <a:pt x="371146" y="496897"/>
                  </a:lnTo>
                  <a:lnTo>
                    <a:pt x="329815" y="447922"/>
                  </a:lnTo>
                  <a:lnTo>
                    <a:pt x="294447" y="421178"/>
                  </a:lnTo>
                  <a:lnTo>
                    <a:pt x="251741" y="394188"/>
                  </a:lnTo>
                  <a:lnTo>
                    <a:pt x="286602" y="369148"/>
                  </a:lnTo>
                  <a:lnTo>
                    <a:pt x="305839" y="351837"/>
                  </a:lnTo>
                  <a:lnTo>
                    <a:pt x="316309" y="334188"/>
                  </a:lnTo>
                  <a:lnTo>
                    <a:pt x="324867" y="308133"/>
                  </a:lnTo>
                  <a:lnTo>
                    <a:pt x="330887" y="264684"/>
                  </a:lnTo>
                  <a:lnTo>
                    <a:pt x="325299" y="218531"/>
                  </a:lnTo>
                  <a:lnTo>
                    <a:pt x="309905" y="171701"/>
                  </a:lnTo>
                  <a:lnTo>
                    <a:pt x="286509" y="126225"/>
                  </a:lnTo>
                  <a:lnTo>
                    <a:pt x="256915" y="84131"/>
                  </a:lnTo>
                  <a:lnTo>
                    <a:pt x="222927" y="47448"/>
                  </a:lnTo>
                  <a:lnTo>
                    <a:pt x="186348" y="18205"/>
                  </a:lnTo>
                  <a:lnTo>
                    <a:pt x="147987" y="4856"/>
                  </a:lnTo>
                  <a:lnTo>
                    <a:pt x="95518" y="0"/>
                  </a:lnTo>
                  <a:close/>
                </a:path>
              </a:pathLst>
            </a:custGeom>
            <a:solidFill>
              <a:srgbClr val="D1D3D4"/>
            </a:solidFill>
          </p:spPr>
          <p:txBody>
            <a:bodyPr wrap="square" lIns="0" tIns="0" rIns="0" bIns="0" rtlCol="0"/>
            <a:lstStyle/>
            <a:p>
              <a:endParaRPr sz="649"/>
            </a:p>
          </p:txBody>
        </p:sp>
        <p:sp>
          <p:nvSpPr>
            <p:cNvPr id="39" name="object 39"/>
            <p:cNvSpPr/>
            <p:nvPr/>
          </p:nvSpPr>
          <p:spPr>
            <a:xfrm>
              <a:off x="4826809" y="620777"/>
              <a:ext cx="653415" cy="1459230"/>
            </a:xfrm>
            <a:custGeom>
              <a:avLst/>
              <a:gdLst/>
              <a:ahLst/>
              <a:cxnLst/>
              <a:rect l="l" t="t" r="r" b="b"/>
              <a:pathLst>
                <a:path w="653414" h="1459230">
                  <a:moveTo>
                    <a:pt x="251741" y="394188"/>
                  </a:moveTo>
                  <a:lnTo>
                    <a:pt x="286602" y="369148"/>
                  </a:lnTo>
                  <a:lnTo>
                    <a:pt x="316309" y="334188"/>
                  </a:lnTo>
                  <a:lnTo>
                    <a:pt x="330887" y="264684"/>
                  </a:lnTo>
                  <a:lnTo>
                    <a:pt x="325299" y="218531"/>
                  </a:lnTo>
                  <a:lnTo>
                    <a:pt x="309905" y="171701"/>
                  </a:lnTo>
                  <a:lnTo>
                    <a:pt x="286509" y="126225"/>
                  </a:lnTo>
                  <a:lnTo>
                    <a:pt x="256915" y="84131"/>
                  </a:lnTo>
                  <a:lnTo>
                    <a:pt x="222927" y="47448"/>
                  </a:lnTo>
                  <a:lnTo>
                    <a:pt x="186348" y="18205"/>
                  </a:lnTo>
                  <a:lnTo>
                    <a:pt x="147987" y="4856"/>
                  </a:lnTo>
                  <a:lnTo>
                    <a:pt x="95518" y="0"/>
                  </a:lnTo>
                  <a:lnTo>
                    <a:pt x="43363" y="3439"/>
                  </a:lnTo>
                  <a:lnTo>
                    <a:pt x="5945" y="14979"/>
                  </a:lnTo>
                  <a:lnTo>
                    <a:pt x="0" y="32262"/>
                  </a:lnTo>
                  <a:lnTo>
                    <a:pt x="3251" y="67279"/>
                  </a:lnTo>
                  <a:lnTo>
                    <a:pt x="13673" y="115484"/>
                  </a:lnTo>
                  <a:lnTo>
                    <a:pt x="29242" y="172330"/>
                  </a:lnTo>
                  <a:lnTo>
                    <a:pt x="47932" y="233271"/>
                  </a:lnTo>
                  <a:lnTo>
                    <a:pt x="67719" y="293760"/>
                  </a:lnTo>
                  <a:lnTo>
                    <a:pt x="86578" y="349252"/>
                  </a:lnTo>
                  <a:lnTo>
                    <a:pt x="102484" y="395199"/>
                  </a:lnTo>
                  <a:lnTo>
                    <a:pt x="113412" y="427056"/>
                  </a:lnTo>
                  <a:lnTo>
                    <a:pt x="128074" y="467984"/>
                  </a:lnTo>
                  <a:lnTo>
                    <a:pt x="156543" y="544995"/>
                  </a:lnTo>
                  <a:lnTo>
                    <a:pt x="174925" y="594295"/>
                  </a:lnTo>
                  <a:lnTo>
                    <a:pt x="195521" y="649333"/>
                  </a:lnTo>
                  <a:lnTo>
                    <a:pt x="217920" y="709014"/>
                  </a:lnTo>
                  <a:lnTo>
                    <a:pt x="241710" y="772244"/>
                  </a:lnTo>
                  <a:lnTo>
                    <a:pt x="266477" y="837928"/>
                  </a:lnTo>
                  <a:lnTo>
                    <a:pt x="291810" y="904971"/>
                  </a:lnTo>
                  <a:lnTo>
                    <a:pt x="317296" y="972281"/>
                  </a:lnTo>
                  <a:lnTo>
                    <a:pt x="342524" y="1038761"/>
                  </a:lnTo>
                  <a:lnTo>
                    <a:pt x="367079" y="1103318"/>
                  </a:lnTo>
                  <a:lnTo>
                    <a:pt x="390552" y="1164857"/>
                  </a:lnTo>
                  <a:lnTo>
                    <a:pt x="412528" y="1222285"/>
                  </a:lnTo>
                  <a:lnTo>
                    <a:pt x="432595" y="1274505"/>
                  </a:lnTo>
                  <a:lnTo>
                    <a:pt x="450343" y="1320425"/>
                  </a:lnTo>
                  <a:lnTo>
                    <a:pt x="465357" y="1358949"/>
                  </a:lnTo>
                  <a:lnTo>
                    <a:pt x="485537" y="1409434"/>
                  </a:lnTo>
                  <a:lnTo>
                    <a:pt x="520088" y="1454445"/>
                  </a:lnTo>
                  <a:lnTo>
                    <a:pt x="550071" y="1458850"/>
                  </a:lnTo>
                  <a:lnTo>
                    <a:pt x="598590" y="1447679"/>
                  </a:lnTo>
                  <a:lnTo>
                    <a:pt x="616049" y="1441159"/>
                  </a:lnTo>
                  <a:lnTo>
                    <a:pt x="634884" y="1430859"/>
                  </a:lnTo>
                  <a:lnTo>
                    <a:pt x="649161" y="1415380"/>
                  </a:lnTo>
                  <a:lnTo>
                    <a:pt x="652946" y="1393323"/>
                  </a:lnTo>
                  <a:lnTo>
                    <a:pt x="650544" y="1370291"/>
                  </a:lnTo>
                  <a:lnTo>
                    <a:pt x="646847" y="1329993"/>
                  </a:lnTo>
                  <a:lnTo>
                    <a:pt x="641952" y="1276787"/>
                  </a:lnTo>
                  <a:lnTo>
                    <a:pt x="635955" y="1215030"/>
                  </a:lnTo>
                  <a:lnTo>
                    <a:pt x="628950" y="1149082"/>
                  </a:lnTo>
                  <a:lnTo>
                    <a:pt x="621035" y="1083300"/>
                  </a:lnTo>
                  <a:lnTo>
                    <a:pt x="612306" y="1022043"/>
                  </a:lnTo>
                  <a:lnTo>
                    <a:pt x="602857" y="969668"/>
                  </a:lnTo>
                  <a:lnTo>
                    <a:pt x="592786" y="930535"/>
                  </a:lnTo>
                  <a:lnTo>
                    <a:pt x="559220" y="851344"/>
                  </a:lnTo>
                  <a:lnTo>
                    <a:pt x="533857" y="798881"/>
                  </a:lnTo>
                  <a:lnTo>
                    <a:pt x="505092" y="741922"/>
                  </a:lnTo>
                  <a:lnTo>
                    <a:pt x="474667" y="683531"/>
                  </a:lnTo>
                  <a:lnTo>
                    <a:pt x="444320" y="626770"/>
                  </a:lnTo>
                  <a:lnTo>
                    <a:pt x="415791" y="574703"/>
                  </a:lnTo>
                  <a:lnTo>
                    <a:pt x="390820" y="530391"/>
                  </a:lnTo>
                  <a:lnTo>
                    <a:pt x="371146" y="496897"/>
                  </a:lnTo>
                  <a:lnTo>
                    <a:pt x="329815" y="447922"/>
                  </a:lnTo>
                  <a:lnTo>
                    <a:pt x="294447" y="421178"/>
                  </a:lnTo>
                  <a:lnTo>
                    <a:pt x="264419" y="401713"/>
                  </a:lnTo>
                  <a:lnTo>
                    <a:pt x="251741" y="394188"/>
                  </a:lnTo>
                  <a:close/>
                </a:path>
              </a:pathLst>
            </a:custGeom>
            <a:ln w="25400">
              <a:solidFill>
                <a:srgbClr val="231F20"/>
              </a:solidFill>
            </a:ln>
          </p:spPr>
          <p:txBody>
            <a:bodyPr wrap="square" lIns="0" tIns="0" rIns="0" bIns="0" rtlCol="0"/>
            <a:lstStyle/>
            <a:p>
              <a:endParaRPr sz="649"/>
            </a:p>
          </p:txBody>
        </p:sp>
        <p:sp>
          <p:nvSpPr>
            <p:cNvPr id="40" name="object 40"/>
            <p:cNvSpPr/>
            <p:nvPr/>
          </p:nvSpPr>
          <p:spPr>
            <a:xfrm>
              <a:off x="5121518" y="1446341"/>
              <a:ext cx="1107440" cy="673735"/>
            </a:xfrm>
            <a:custGeom>
              <a:avLst/>
              <a:gdLst/>
              <a:ahLst/>
              <a:cxnLst/>
              <a:rect l="l" t="t" r="r" b="b"/>
              <a:pathLst>
                <a:path w="1107439" h="673735">
                  <a:moveTo>
                    <a:pt x="691200" y="0"/>
                  </a:moveTo>
                  <a:lnTo>
                    <a:pt x="625476" y="423"/>
                  </a:lnTo>
                  <a:lnTo>
                    <a:pt x="556631" y="1495"/>
                  </a:lnTo>
                  <a:lnTo>
                    <a:pt x="486087" y="3176"/>
                  </a:lnTo>
                  <a:lnTo>
                    <a:pt x="415266" y="5424"/>
                  </a:lnTo>
                  <a:lnTo>
                    <a:pt x="345589" y="8200"/>
                  </a:lnTo>
                  <a:lnTo>
                    <a:pt x="278479" y="11463"/>
                  </a:lnTo>
                  <a:lnTo>
                    <a:pt x="215357" y="15173"/>
                  </a:lnTo>
                  <a:lnTo>
                    <a:pt x="157645" y="19291"/>
                  </a:lnTo>
                  <a:lnTo>
                    <a:pt x="106765" y="23774"/>
                  </a:lnTo>
                  <a:lnTo>
                    <a:pt x="64138" y="28584"/>
                  </a:lnTo>
                  <a:lnTo>
                    <a:pt x="9334" y="39022"/>
                  </a:lnTo>
                  <a:lnTo>
                    <a:pt x="0" y="44570"/>
                  </a:lnTo>
                  <a:lnTo>
                    <a:pt x="37" y="60220"/>
                  </a:lnTo>
                  <a:lnTo>
                    <a:pt x="18628" y="132119"/>
                  </a:lnTo>
                  <a:lnTo>
                    <a:pt x="35255" y="183444"/>
                  </a:lnTo>
                  <a:lnTo>
                    <a:pt x="55486" y="241734"/>
                  </a:lnTo>
                  <a:lnTo>
                    <a:pt x="78357" y="304529"/>
                  </a:lnTo>
                  <a:lnTo>
                    <a:pt x="102906" y="369366"/>
                  </a:lnTo>
                  <a:lnTo>
                    <a:pt x="128169" y="433782"/>
                  </a:lnTo>
                  <a:lnTo>
                    <a:pt x="153183" y="495315"/>
                  </a:lnTo>
                  <a:lnTo>
                    <a:pt x="176986" y="551502"/>
                  </a:lnTo>
                  <a:lnTo>
                    <a:pt x="198614" y="599882"/>
                  </a:lnTo>
                  <a:lnTo>
                    <a:pt x="217104" y="637991"/>
                  </a:lnTo>
                  <a:lnTo>
                    <a:pt x="240817" y="673550"/>
                  </a:lnTo>
                  <a:lnTo>
                    <a:pt x="252895" y="673290"/>
                  </a:lnTo>
                  <a:lnTo>
                    <a:pt x="314382" y="663952"/>
                  </a:lnTo>
                  <a:lnTo>
                    <a:pt x="360504" y="655527"/>
                  </a:lnTo>
                  <a:lnTo>
                    <a:pt x="414688" y="645034"/>
                  </a:lnTo>
                  <a:lnTo>
                    <a:pt x="475291" y="632801"/>
                  </a:lnTo>
                  <a:lnTo>
                    <a:pt x="540671" y="619154"/>
                  </a:lnTo>
                  <a:lnTo>
                    <a:pt x="609183" y="604421"/>
                  </a:lnTo>
                  <a:lnTo>
                    <a:pt x="679186" y="588928"/>
                  </a:lnTo>
                  <a:lnTo>
                    <a:pt x="749036" y="573003"/>
                  </a:lnTo>
                  <a:lnTo>
                    <a:pt x="817091" y="556973"/>
                  </a:lnTo>
                  <a:lnTo>
                    <a:pt x="881707" y="541164"/>
                  </a:lnTo>
                  <a:lnTo>
                    <a:pt x="941242" y="525904"/>
                  </a:lnTo>
                  <a:lnTo>
                    <a:pt x="994052" y="511520"/>
                  </a:lnTo>
                  <a:lnTo>
                    <a:pt x="1038495" y="498339"/>
                  </a:lnTo>
                  <a:lnTo>
                    <a:pt x="1095708" y="476894"/>
                  </a:lnTo>
                  <a:lnTo>
                    <a:pt x="1107119" y="444207"/>
                  </a:lnTo>
                  <a:lnTo>
                    <a:pt x="1102053" y="404025"/>
                  </a:lnTo>
                  <a:lnTo>
                    <a:pt x="1091081" y="352690"/>
                  </a:lnTo>
                  <a:lnTo>
                    <a:pt x="1075293" y="294158"/>
                  </a:lnTo>
                  <a:lnTo>
                    <a:pt x="1055777" y="232385"/>
                  </a:lnTo>
                  <a:lnTo>
                    <a:pt x="1033622" y="171326"/>
                  </a:lnTo>
                  <a:lnTo>
                    <a:pt x="1009917" y="114935"/>
                  </a:lnTo>
                  <a:lnTo>
                    <a:pt x="985749" y="67169"/>
                  </a:lnTo>
                  <a:lnTo>
                    <a:pt x="962209" y="31981"/>
                  </a:lnTo>
                  <a:lnTo>
                    <a:pt x="923243" y="9016"/>
                  </a:lnTo>
                  <a:lnTo>
                    <a:pt x="855429" y="3021"/>
                  </a:lnTo>
                  <a:lnTo>
                    <a:pt x="807599" y="1258"/>
                  </a:lnTo>
                  <a:lnTo>
                    <a:pt x="752382" y="264"/>
                  </a:lnTo>
                  <a:lnTo>
                    <a:pt x="691200" y="0"/>
                  </a:lnTo>
                  <a:close/>
                </a:path>
              </a:pathLst>
            </a:custGeom>
            <a:solidFill>
              <a:srgbClr val="D1D3D4"/>
            </a:solidFill>
          </p:spPr>
          <p:txBody>
            <a:bodyPr wrap="square" lIns="0" tIns="0" rIns="0" bIns="0" rtlCol="0"/>
            <a:lstStyle/>
            <a:p>
              <a:endParaRPr sz="649"/>
            </a:p>
          </p:txBody>
        </p:sp>
        <p:sp>
          <p:nvSpPr>
            <p:cNvPr id="41" name="object 41"/>
            <p:cNvSpPr/>
            <p:nvPr/>
          </p:nvSpPr>
          <p:spPr>
            <a:xfrm>
              <a:off x="5121518" y="1446341"/>
              <a:ext cx="1107440" cy="673735"/>
            </a:xfrm>
            <a:custGeom>
              <a:avLst/>
              <a:gdLst/>
              <a:ahLst/>
              <a:cxnLst/>
              <a:rect l="l" t="t" r="r" b="b"/>
              <a:pathLst>
                <a:path w="1107439" h="673735">
                  <a:moveTo>
                    <a:pt x="1105192" y="469283"/>
                  </a:moveTo>
                  <a:lnTo>
                    <a:pt x="1102053" y="404025"/>
                  </a:lnTo>
                  <a:lnTo>
                    <a:pt x="1091081" y="352690"/>
                  </a:lnTo>
                  <a:lnTo>
                    <a:pt x="1075293" y="294158"/>
                  </a:lnTo>
                  <a:lnTo>
                    <a:pt x="1055777" y="232385"/>
                  </a:lnTo>
                  <a:lnTo>
                    <a:pt x="1033622" y="171326"/>
                  </a:lnTo>
                  <a:lnTo>
                    <a:pt x="1009917" y="114935"/>
                  </a:lnTo>
                  <a:lnTo>
                    <a:pt x="985749" y="67169"/>
                  </a:lnTo>
                  <a:lnTo>
                    <a:pt x="962209" y="31981"/>
                  </a:lnTo>
                  <a:lnTo>
                    <a:pt x="923243" y="9016"/>
                  </a:lnTo>
                  <a:lnTo>
                    <a:pt x="855429" y="3021"/>
                  </a:lnTo>
                  <a:lnTo>
                    <a:pt x="807599" y="1258"/>
                  </a:lnTo>
                  <a:lnTo>
                    <a:pt x="752382" y="264"/>
                  </a:lnTo>
                  <a:lnTo>
                    <a:pt x="691200" y="0"/>
                  </a:lnTo>
                  <a:lnTo>
                    <a:pt x="625476" y="423"/>
                  </a:lnTo>
                  <a:lnTo>
                    <a:pt x="556631" y="1495"/>
                  </a:lnTo>
                  <a:lnTo>
                    <a:pt x="486087" y="3176"/>
                  </a:lnTo>
                  <a:lnTo>
                    <a:pt x="415266" y="5424"/>
                  </a:lnTo>
                  <a:lnTo>
                    <a:pt x="345589" y="8200"/>
                  </a:lnTo>
                  <a:lnTo>
                    <a:pt x="278479" y="11463"/>
                  </a:lnTo>
                  <a:lnTo>
                    <a:pt x="215357" y="15173"/>
                  </a:lnTo>
                  <a:lnTo>
                    <a:pt x="157645" y="19291"/>
                  </a:lnTo>
                  <a:lnTo>
                    <a:pt x="106765" y="23774"/>
                  </a:lnTo>
                  <a:lnTo>
                    <a:pt x="64138" y="28584"/>
                  </a:lnTo>
                  <a:lnTo>
                    <a:pt x="9334" y="39022"/>
                  </a:lnTo>
                  <a:lnTo>
                    <a:pt x="0" y="44570"/>
                  </a:lnTo>
                  <a:lnTo>
                    <a:pt x="37" y="60220"/>
                  </a:lnTo>
                  <a:lnTo>
                    <a:pt x="18628" y="132119"/>
                  </a:lnTo>
                  <a:lnTo>
                    <a:pt x="35255" y="183444"/>
                  </a:lnTo>
                  <a:lnTo>
                    <a:pt x="55486" y="241734"/>
                  </a:lnTo>
                  <a:lnTo>
                    <a:pt x="78357" y="304529"/>
                  </a:lnTo>
                  <a:lnTo>
                    <a:pt x="102906" y="369366"/>
                  </a:lnTo>
                  <a:lnTo>
                    <a:pt x="128169" y="433782"/>
                  </a:lnTo>
                  <a:lnTo>
                    <a:pt x="153183" y="495315"/>
                  </a:lnTo>
                  <a:lnTo>
                    <a:pt x="176986" y="551502"/>
                  </a:lnTo>
                  <a:lnTo>
                    <a:pt x="198614" y="599882"/>
                  </a:lnTo>
                  <a:lnTo>
                    <a:pt x="217104" y="637991"/>
                  </a:lnTo>
                  <a:lnTo>
                    <a:pt x="240817" y="673550"/>
                  </a:lnTo>
                  <a:lnTo>
                    <a:pt x="252895" y="673290"/>
                  </a:lnTo>
                  <a:lnTo>
                    <a:pt x="314382" y="663952"/>
                  </a:lnTo>
                  <a:lnTo>
                    <a:pt x="360504" y="655527"/>
                  </a:lnTo>
                  <a:lnTo>
                    <a:pt x="414688" y="645034"/>
                  </a:lnTo>
                  <a:lnTo>
                    <a:pt x="475291" y="632801"/>
                  </a:lnTo>
                  <a:lnTo>
                    <a:pt x="540671" y="619154"/>
                  </a:lnTo>
                  <a:lnTo>
                    <a:pt x="609183" y="604421"/>
                  </a:lnTo>
                  <a:lnTo>
                    <a:pt x="679186" y="588928"/>
                  </a:lnTo>
                  <a:lnTo>
                    <a:pt x="749036" y="573003"/>
                  </a:lnTo>
                  <a:lnTo>
                    <a:pt x="817091" y="556973"/>
                  </a:lnTo>
                  <a:lnTo>
                    <a:pt x="881707" y="541164"/>
                  </a:lnTo>
                  <a:lnTo>
                    <a:pt x="941242" y="525904"/>
                  </a:lnTo>
                  <a:lnTo>
                    <a:pt x="994052" y="511520"/>
                  </a:lnTo>
                  <a:lnTo>
                    <a:pt x="1038495" y="498339"/>
                  </a:lnTo>
                  <a:lnTo>
                    <a:pt x="1095708" y="476894"/>
                  </a:lnTo>
                  <a:lnTo>
                    <a:pt x="1105192" y="469283"/>
                  </a:lnTo>
                  <a:close/>
                </a:path>
              </a:pathLst>
            </a:custGeom>
            <a:ln w="25400">
              <a:solidFill>
                <a:srgbClr val="231F20"/>
              </a:solidFill>
            </a:ln>
          </p:spPr>
          <p:txBody>
            <a:bodyPr wrap="square" lIns="0" tIns="0" rIns="0" bIns="0" rtlCol="0"/>
            <a:lstStyle/>
            <a:p>
              <a:endParaRPr sz="649"/>
            </a:p>
          </p:txBody>
        </p:sp>
      </p:grpSp>
      <p:grpSp>
        <p:nvGrpSpPr>
          <p:cNvPr id="42" name="object 42"/>
          <p:cNvGrpSpPr/>
          <p:nvPr/>
        </p:nvGrpSpPr>
        <p:grpSpPr>
          <a:xfrm>
            <a:off x="3038159" y="2417436"/>
            <a:ext cx="1476310" cy="380382"/>
            <a:chOff x="590359" y="5024327"/>
            <a:chExt cx="3068320" cy="790575"/>
          </a:xfrm>
        </p:grpSpPr>
        <p:sp>
          <p:nvSpPr>
            <p:cNvPr id="43" name="object 43"/>
            <p:cNvSpPr/>
            <p:nvPr/>
          </p:nvSpPr>
          <p:spPr>
            <a:xfrm>
              <a:off x="590359" y="5094512"/>
              <a:ext cx="3068320" cy="662940"/>
            </a:xfrm>
            <a:custGeom>
              <a:avLst/>
              <a:gdLst/>
              <a:ahLst/>
              <a:cxnLst/>
              <a:rect l="l" t="t" r="r" b="b"/>
              <a:pathLst>
                <a:path w="3068320" h="662939">
                  <a:moveTo>
                    <a:pt x="2938109" y="0"/>
                  </a:moveTo>
                  <a:lnTo>
                    <a:pt x="107178" y="0"/>
                  </a:lnTo>
                  <a:lnTo>
                    <a:pt x="56856" y="10225"/>
                  </a:lnTo>
                  <a:lnTo>
                    <a:pt x="15650" y="38068"/>
                  </a:lnTo>
                  <a:lnTo>
                    <a:pt x="0" y="61233"/>
                  </a:lnTo>
                  <a:lnTo>
                    <a:pt x="0" y="601169"/>
                  </a:lnTo>
                  <a:lnTo>
                    <a:pt x="15650" y="624336"/>
                  </a:lnTo>
                  <a:lnTo>
                    <a:pt x="56856" y="652180"/>
                  </a:lnTo>
                  <a:lnTo>
                    <a:pt x="107178" y="662406"/>
                  </a:lnTo>
                  <a:lnTo>
                    <a:pt x="2938109" y="662406"/>
                  </a:lnTo>
                  <a:lnTo>
                    <a:pt x="2988426" y="652180"/>
                  </a:lnTo>
                  <a:lnTo>
                    <a:pt x="3029632" y="624336"/>
                  </a:lnTo>
                  <a:lnTo>
                    <a:pt x="3057474" y="583127"/>
                  </a:lnTo>
                  <a:lnTo>
                    <a:pt x="3067700" y="532803"/>
                  </a:lnTo>
                  <a:lnTo>
                    <a:pt x="3067700" y="129590"/>
                  </a:lnTo>
                  <a:lnTo>
                    <a:pt x="3057474" y="79274"/>
                  </a:lnTo>
                  <a:lnTo>
                    <a:pt x="3029632" y="38068"/>
                  </a:lnTo>
                  <a:lnTo>
                    <a:pt x="2988426" y="10225"/>
                  </a:lnTo>
                  <a:lnTo>
                    <a:pt x="2938109" y="0"/>
                  </a:lnTo>
                  <a:close/>
                </a:path>
              </a:pathLst>
            </a:custGeom>
            <a:solidFill>
              <a:srgbClr val="E2E3E4"/>
            </a:solidFill>
          </p:spPr>
          <p:txBody>
            <a:bodyPr wrap="square" lIns="0" tIns="0" rIns="0" bIns="0" rtlCol="0"/>
            <a:lstStyle/>
            <a:p>
              <a:endParaRPr sz="649"/>
            </a:p>
          </p:txBody>
        </p:sp>
        <p:pic>
          <p:nvPicPr>
            <p:cNvPr id="44" name="object 44"/>
            <p:cNvPicPr/>
            <p:nvPr/>
          </p:nvPicPr>
          <p:blipFill>
            <a:blip r:embed="rId12" cstate="print"/>
            <a:stretch>
              <a:fillRect/>
            </a:stretch>
          </p:blipFill>
          <p:spPr>
            <a:xfrm>
              <a:off x="1812239" y="5379087"/>
              <a:ext cx="89014" cy="84264"/>
            </a:xfrm>
            <a:prstGeom prst="rect">
              <a:avLst/>
            </a:prstGeom>
          </p:spPr>
        </p:pic>
        <p:pic>
          <p:nvPicPr>
            <p:cNvPr id="45" name="object 45"/>
            <p:cNvPicPr/>
            <p:nvPr/>
          </p:nvPicPr>
          <p:blipFill>
            <a:blip r:embed="rId13" cstate="print"/>
            <a:stretch>
              <a:fillRect/>
            </a:stretch>
          </p:blipFill>
          <p:spPr>
            <a:xfrm>
              <a:off x="1494918" y="5379123"/>
              <a:ext cx="88722" cy="84810"/>
            </a:xfrm>
            <a:prstGeom prst="rect">
              <a:avLst/>
            </a:prstGeom>
          </p:spPr>
        </p:pic>
        <p:sp>
          <p:nvSpPr>
            <p:cNvPr id="46" name="object 46"/>
            <p:cNvSpPr/>
            <p:nvPr/>
          </p:nvSpPr>
          <p:spPr>
            <a:xfrm>
              <a:off x="1379766" y="5263984"/>
              <a:ext cx="636905" cy="314325"/>
            </a:xfrm>
            <a:custGeom>
              <a:avLst/>
              <a:gdLst/>
              <a:ahLst/>
              <a:cxnLst/>
              <a:rect l="l" t="t" r="r" b="b"/>
              <a:pathLst>
                <a:path w="636905" h="314325">
                  <a:moveTo>
                    <a:pt x="593102" y="72504"/>
                  </a:moveTo>
                  <a:lnTo>
                    <a:pt x="590753" y="61226"/>
                  </a:lnTo>
                  <a:lnTo>
                    <a:pt x="585482" y="53492"/>
                  </a:lnTo>
                  <a:lnTo>
                    <a:pt x="585482" y="72504"/>
                  </a:lnTo>
                  <a:lnTo>
                    <a:pt x="585482" y="241452"/>
                  </a:lnTo>
                  <a:lnTo>
                    <a:pt x="583742" y="249809"/>
                  </a:lnTo>
                  <a:lnTo>
                    <a:pt x="579043" y="256705"/>
                  </a:lnTo>
                  <a:lnTo>
                    <a:pt x="572135" y="261404"/>
                  </a:lnTo>
                  <a:lnTo>
                    <a:pt x="563791" y="263131"/>
                  </a:lnTo>
                  <a:lnTo>
                    <a:pt x="72504" y="263131"/>
                  </a:lnTo>
                  <a:lnTo>
                    <a:pt x="64160" y="261404"/>
                  </a:lnTo>
                  <a:lnTo>
                    <a:pt x="57251" y="256705"/>
                  </a:lnTo>
                  <a:lnTo>
                    <a:pt x="52552" y="249809"/>
                  </a:lnTo>
                  <a:lnTo>
                    <a:pt x="50812" y="241452"/>
                  </a:lnTo>
                  <a:lnTo>
                    <a:pt x="50812" y="72504"/>
                  </a:lnTo>
                  <a:lnTo>
                    <a:pt x="52552" y="64160"/>
                  </a:lnTo>
                  <a:lnTo>
                    <a:pt x="57251" y="57264"/>
                  </a:lnTo>
                  <a:lnTo>
                    <a:pt x="64160" y="52565"/>
                  </a:lnTo>
                  <a:lnTo>
                    <a:pt x="72504" y="50825"/>
                  </a:lnTo>
                  <a:lnTo>
                    <a:pt x="563791" y="50825"/>
                  </a:lnTo>
                  <a:lnTo>
                    <a:pt x="572135" y="52565"/>
                  </a:lnTo>
                  <a:lnTo>
                    <a:pt x="579043" y="57264"/>
                  </a:lnTo>
                  <a:lnTo>
                    <a:pt x="583742" y="64160"/>
                  </a:lnTo>
                  <a:lnTo>
                    <a:pt x="585482" y="72504"/>
                  </a:lnTo>
                  <a:lnTo>
                    <a:pt x="585482" y="53492"/>
                  </a:lnTo>
                  <a:lnTo>
                    <a:pt x="584403" y="51904"/>
                  </a:lnTo>
                  <a:lnTo>
                    <a:pt x="582828" y="50825"/>
                  </a:lnTo>
                  <a:lnTo>
                    <a:pt x="575081" y="45554"/>
                  </a:lnTo>
                  <a:lnTo>
                    <a:pt x="563791" y="43205"/>
                  </a:lnTo>
                  <a:lnTo>
                    <a:pt x="72504" y="43205"/>
                  </a:lnTo>
                  <a:lnTo>
                    <a:pt x="61226" y="45554"/>
                  </a:lnTo>
                  <a:lnTo>
                    <a:pt x="51892" y="51904"/>
                  </a:lnTo>
                  <a:lnTo>
                    <a:pt x="45542" y="61226"/>
                  </a:lnTo>
                  <a:lnTo>
                    <a:pt x="43192" y="72504"/>
                  </a:lnTo>
                  <a:lnTo>
                    <a:pt x="43192" y="241452"/>
                  </a:lnTo>
                  <a:lnTo>
                    <a:pt x="45542" y="252730"/>
                  </a:lnTo>
                  <a:lnTo>
                    <a:pt x="51892" y="262064"/>
                  </a:lnTo>
                  <a:lnTo>
                    <a:pt x="61226" y="268414"/>
                  </a:lnTo>
                  <a:lnTo>
                    <a:pt x="72504" y="270751"/>
                  </a:lnTo>
                  <a:lnTo>
                    <a:pt x="563791" y="270751"/>
                  </a:lnTo>
                  <a:lnTo>
                    <a:pt x="575081" y="268414"/>
                  </a:lnTo>
                  <a:lnTo>
                    <a:pt x="582828" y="263131"/>
                  </a:lnTo>
                  <a:lnTo>
                    <a:pt x="584403" y="262064"/>
                  </a:lnTo>
                  <a:lnTo>
                    <a:pt x="590753" y="252730"/>
                  </a:lnTo>
                  <a:lnTo>
                    <a:pt x="593102" y="241452"/>
                  </a:lnTo>
                  <a:lnTo>
                    <a:pt x="593102" y="72504"/>
                  </a:lnTo>
                  <a:close/>
                </a:path>
                <a:path w="636905" h="314325">
                  <a:moveTo>
                    <a:pt x="636295" y="72491"/>
                  </a:moveTo>
                  <a:lnTo>
                    <a:pt x="630593" y="44310"/>
                  </a:lnTo>
                  <a:lnTo>
                    <a:pt x="628662" y="41452"/>
                  </a:lnTo>
                  <a:lnTo>
                    <a:pt x="628662" y="72491"/>
                  </a:lnTo>
                  <a:lnTo>
                    <a:pt x="628662" y="241452"/>
                  </a:lnTo>
                  <a:lnTo>
                    <a:pt x="623557" y="266687"/>
                  </a:lnTo>
                  <a:lnTo>
                    <a:pt x="609638" y="287312"/>
                  </a:lnTo>
                  <a:lnTo>
                    <a:pt x="589013" y="301231"/>
                  </a:lnTo>
                  <a:lnTo>
                    <a:pt x="563791" y="306336"/>
                  </a:lnTo>
                  <a:lnTo>
                    <a:pt x="72504" y="306336"/>
                  </a:lnTo>
                  <a:lnTo>
                    <a:pt x="47269" y="301231"/>
                  </a:lnTo>
                  <a:lnTo>
                    <a:pt x="26644" y="287312"/>
                  </a:lnTo>
                  <a:lnTo>
                    <a:pt x="12725" y="266687"/>
                  </a:lnTo>
                  <a:lnTo>
                    <a:pt x="7620" y="241452"/>
                  </a:lnTo>
                  <a:lnTo>
                    <a:pt x="7620" y="72491"/>
                  </a:lnTo>
                  <a:lnTo>
                    <a:pt x="12725" y="47269"/>
                  </a:lnTo>
                  <a:lnTo>
                    <a:pt x="26644" y="26644"/>
                  </a:lnTo>
                  <a:lnTo>
                    <a:pt x="47269" y="12725"/>
                  </a:lnTo>
                  <a:lnTo>
                    <a:pt x="72504" y="7620"/>
                  </a:lnTo>
                  <a:lnTo>
                    <a:pt x="563791" y="7620"/>
                  </a:lnTo>
                  <a:lnTo>
                    <a:pt x="589013" y="12725"/>
                  </a:lnTo>
                  <a:lnTo>
                    <a:pt x="609638" y="26644"/>
                  </a:lnTo>
                  <a:lnTo>
                    <a:pt x="623557" y="47269"/>
                  </a:lnTo>
                  <a:lnTo>
                    <a:pt x="628662" y="72491"/>
                  </a:lnTo>
                  <a:lnTo>
                    <a:pt x="628662" y="41452"/>
                  </a:lnTo>
                  <a:lnTo>
                    <a:pt x="615035" y="21259"/>
                  </a:lnTo>
                  <a:lnTo>
                    <a:pt x="594829" y="7620"/>
                  </a:lnTo>
                  <a:lnTo>
                    <a:pt x="591985" y="5715"/>
                  </a:lnTo>
                  <a:lnTo>
                    <a:pt x="563791" y="0"/>
                  </a:lnTo>
                  <a:lnTo>
                    <a:pt x="72504" y="0"/>
                  </a:lnTo>
                  <a:lnTo>
                    <a:pt x="44310" y="5715"/>
                  </a:lnTo>
                  <a:lnTo>
                    <a:pt x="21259" y="21259"/>
                  </a:lnTo>
                  <a:lnTo>
                    <a:pt x="5715" y="44310"/>
                  </a:lnTo>
                  <a:lnTo>
                    <a:pt x="0" y="72491"/>
                  </a:lnTo>
                  <a:lnTo>
                    <a:pt x="0" y="241452"/>
                  </a:lnTo>
                  <a:lnTo>
                    <a:pt x="5715" y="269646"/>
                  </a:lnTo>
                  <a:lnTo>
                    <a:pt x="21259" y="292696"/>
                  </a:lnTo>
                  <a:lnTo>
                    <a:pt x="44310" y="308254"/>
                  </a:lnTo>
                  <a:lnTo>
                    <a:pt x="72504" y="313956"/>
                  </a:lnTo>
                  <a:lnTo>
                    <a:pt x="563791" y="313956"/>
                  </a:lnTo>
                  <a:lnTo>
                    <a:pt x="615035" y="292696"/>
                  </a:lnTo>
                  <a:lnTo>
                    <a:pt x="636295" y="241452"/>
                  </a:lnTo>
                  <a:lnTo>
                    <a:pt x="636295" y="72491"/>
                  </a:lnTo>
                  <a:close/>
                </a:path>
              </a:pathLst>
            </a:custGeom>
            <a:solidFill>
              <a:srgbClr val="020303"/>
            </a:solidFill>
          </p:spPr>
          <p:txBody>
            <a:bodyPr wrap="square" lIns="0" tIns="0" rIns="0" bIns="0" rtlCol="0"/>
            <a:lstStyle/>
            <a:p>
              <a:endParaRPr sz="649"/>
            </a:p>
          </p:txBody>
        </p:sp>
        <p:pic>
          <p:nvPicPr>
            <p:cNvPr id="47" name="object 47"/>
            <p:cNvPicPr/>
            <p:nvPr/>
          </p:nvPicPr>
          <p:blipFill>
            <a:blip r:embed="rId14" cstate="print"/>
            <a:stretch>
              <a:fillRect/>
            </a:stretch>
          </p:blipFill>
          <p:spPr>
            <a:xfrm>
              <a:off x="2514937" y="5379087"/>
              <a:ext cx="89014" cy="84264"/>
            </a:xfrm>
            <a:prstGeom prst="rect">
              <a:avLst/>
            </a:prstGeom>
          </p:spPr>
        </p:pic>
        <p:pic>
          <p:nvPicPr>
            <p:cNvPr id="48" name="object 48"/>
            <p:cNvPicPr/>
            <p:nvPr/>
          </p:nvPicPr>
          <p:blipFill>
            <a:blip r:embed="rId15" cstate="print"/>
            <a:stretch>
              <a:fillRect/>
            </a:stretch>
          </p:blipFill>
          <p:spPr>
            <a:xfrm>
              <a:off x="2197629" y="5379123"/>
              <a:ext cx="88709" cy="84810"/>
            </a:xfrm>
            <a:prstGeom prst="rect">
              <a:avLst/>
            </a:prstGeom>
          </p:spPr>
        </p:pic>
        <p:sp>
          <p:nvSpPr>
            <p:cNvPr id="49" name="object 49"/>
            <p:cNvSpPr/>
            <p:nvPr/>
          </p:nvSpPr>
          <p:spPr>
            <a:xfrm>
              <a:off x="2082469" y="5263984"/>
              <a:ext cx="636905" cy="314325"/>
            </a:xfrm>
            <a:custGeom>
              <a:avLst/>
              <a:gdLst/>
              <a:ahLst/>
              <a:cxnLst/>
              <a:rect l="l" t="t" r="r" b="b"/>
              <a:pathLst>
                <a:path w="636905" h="314325">
                  <a:moveTo>
                    <a:pt x="593090" y="72504"/>
                  </a:moveTo>
                  <a:lnTo>
                    <a:pt x="590753" y="61226"/>
                  </a:lnTo>
                  <a:lnTo>
                    <a:pt x="585482" y="53492"/>
                  </a:lnTo>
                  <a:lnTo>
                    <a:pt x="585482" y="72504"/>
                  </a:lnTo>
                  <a:lnTo>
                    <a:pt x="585482" y="241452"/>
                  </a:lnTo>
                  <a:lnTo>
                    <a:pt x="583742" y="249809"/>
                  </a:lnTo>
                  <a:lnTo>
                    <a:pt x="579043" y="256705"/>
                  </a:lnTo>
                  <a:lnTo>
                    <a:pt x="572135" y="261404"/>
                  </a:lnTo>
                  <a:lnTo>
                    <a:pt x="563791" y="263131"/>
                  </a:lnTo>
                  <a:lnTo>
                    <a:pt x="72504" y="263131"/>
                  </a:lnTo>
                  <a:lnTo>
                    <a:pt x="64160" y="261404"/>
                  </a:lnTo>
                  <a:lnTo>
                    <a:pt x="57251" y="256705"/>
                  </a:lnTo>
                  <a:lnTo>
                    <a:pt x="52552" y="249809"/>
                  </a:lnTo>
                  <a:lnTo>
                    <a:pt x="50812" y="241452"/>
                  </a:lnTo>
                  <a:lnTo>
                    <a:pt x="50812" y="72504"/>
                  </a:lnTo>
                  <a:lnTo>
                    <a:pt x="52552" y="64160"/>
                  </a:lnTo>
                  <a:lnTo>
                    <a:pt x="57251" y="57264"/>
                  </a:lnTo>
                  <a:lnTo>
                    <a:pt x="64160" y="52565"/>
                  </a:lnTo>
                  <a:lnTo>
                    <a:pt x="72504" y="50825"/>
                  </a:lnTo>
                  <a:lnTo>
                    <a:pt x="563791" y="50825"/>
                  </a:lnTo>
                  <a:lnTo>
                    <a:pt x="572135" y="52565"/>
                  </a:lnTo>
                  <a:lnTo>
                    <a:pt x="579043" y="57264"/>
                  </a:lnTo>
                  <a:lnTo>
                    <a:pt x="583742" y="64160"/>
                  </a:lnTo>
                  <a:lnTo>
                    <a:pt x="585482" y="72504"/>
                  </a:lnTo>
                  <a:lnTo>
                    <a:pt x="585482" y="53492"/>
                  </a:lnTo>
                  <a:lnTo>
                    <a:pt x="584403" y="51904"/>
                  </a:lnTo>
                  <a:lnTo>
                    <a:pt x="582815" y="50825"/>
                  </a:lnTo>
                  <a:lnTo>
                    <a:pt x="575068" y="45554"/>
                  </a:lnTo>
                  <a:lnTo>
                    <a:pt x="563791" y="43205"/>
                  </a:lnTo>
                  <a:lnTo>
                    <a:pt x="72504" y="43205"/>
                  </a:lnTo>
                  <a:lnTo>
                    <a:pt x="61226" y="45554"/>
                  </a:lnTo>
                  <a:lnTo>
                    <a:pt x="51892" y="51904"/>
                  </a:lnTo>
                  <a:lnTo>
                    <a:pt x="45542" y="61226"/>
                  </a:lnTo>
                  <a:lnTo>
                    <a:pt x="43192" y="72504"/>
                  </a:lnTo>
                  <a:lnTo>
                    <a:pt x="43192" y="241452"/>
                  </a:lnTo>
                  <a:lnTo>
                    <a:pt x="45542" y="252730"/>
                  </a:lnTo>
                  <a:lnTo>
                    <a:pt x="51892" y="262064"/>
                  </a:lnTo>
                  <a:lnTo>
                    <a:pt x="61226" y="268414"/>
                  </a:lnTo>
                  <a:lnTo>
                    <a:pt x="72504" y="270751"/>
                  </a:lnTo>
                  <a:lnTo>
                    <a:pt x="563791" y="270751"/>
                  </a:lnTo>
                  <a:lnTo>
                    <a:pt x="575068" y="268414"/>
                  </a:lnTo>
                  <a:lnTo>
                    <a:pt x="582828" y="263131"/>
                  </a:lnTo>
                  <a:lnTo>
                    <a:pt x="584403" y="262064"/>
                  </a:lnTo>
                  <a:lnTo>
                    <a:pt x="590753" y="252730"/>
                  </a:lnTo>
                  <a:lnTo>
                    <a:pt x="593090" y="241452"/>
                  </a:lnTo>
                  <a:lnTo>
                    <a:pt x="593090" y="72504"/>
                  </a:lnTo>
                  <a:close/>
                </a:path>
                <a:path w="636905" h="314325">
                  <a:moveTo>
                    <a:pt x="636295" y="72491"/>
                  </a:moveTo>
                  <a:lnTo>
                    <a:pt x="630593" y="44310"/>
                  </a:lnTo>
                  <a:lnTo>
                    <a:pt x="628662" y="41452"/>
                  </a:lnTo>
                  <a:lnTo>
                    <a:pt x="628662" y="72491"/>
                  </a:lnTo>
                  <a:lnTo>
                    <a:pt x="628662" y="241452"/>
                  </a:lnTo>
                  <a:lnTo>
                    <a:pt x="623557" y="266687"/>
                  </a:lnTo>
                  <a:lnTo>
                    <a:pt x="609638" y="287312"/>
                  </a:lnTo>
                  <a:lnTo>
                    <a:pt x="589013" y="301231"/>
                  </a:lnTo>
                  <a:lnTo>
                    <a:pt x="563791" y="306336"/>
                  </a:lnTo>
                  <a:lnTo>
                    <a:pt x="72504" y="306336"/>
                  </a:lnTo>
                  <a:lnTo>
                    <a:pt x="47269" y="301231"/>
                  </a:lnTo>
                  <a:lnTo>
                    <a:pt x="26644" y="287312"/>
                  </a:lnTo>
                  <a:lnTo>
                    <a:pt x="12725" y="266687"/>
                  </a:lnTo>
                  <a:lnTo>
                    <a:pt x="7620" y="241452"/>
                  </a:lnTo>
                  <a:lnTo>
                    <a:pt x="7620" y="72491"/>
                  </a:lnTo>
                  <a:lnTo>
                    <a:pt x="12725" y="47269"/>
                  </a:lnTo>
                  <a:lnTo>
                    <a:pt x="26644" y="26644"/>
                  </a:lnTo>
                  <a:lnTo>
                    <a:pt x="47269" y="12725"/>
                  </a:lnTo>
                  <a:lnTo>
                    <a:pt x="72504" y="7620"/>
                  </a:lnTo>
                  <a:lnTo>
                    <a:pt x="563791" y="7620"/>
                  </a:lnTo>
                  <a:lnTo>
                    <a:pt x="589013" y="12725"/>
                  </a:lnTo>
                  <a:lnTo>
                    <a:pt x="609638" y="26644"/>
                  </a:lnTo>
                  <a:lnTo>
                    <a:pt x="623557" y="47269"/>
                  </a:lnTo>
                  <a:lnTo>
                    <a:pt x="628662" y="72491"/>
                  </a:lnTo>
                  <a:lnTo>
                    <a:pt x="628662" y="41452"/>
                  </a:lnTo>
                  <a:lnTo>
                    <a:pt x="615035" y="21259"/>
                  </a:lnTo>
                  <a:lnTo>
                    <a:pt x="594829" y="7620"/>
                  </a:lnTo>
                  <a:lnTo>
                    <a:pt x="591985" y="5715"/>
                  </a:lnTo>
                  <a:lnTo>
                    <a:pt x="563791" y="0"/>
                  </a:lnTo>
                  <a:lnTo>
                    <a:pt x="72504" y="0"/>
                  </a:lnTo>
                  <a:lnTo>
                    <a:pt x="44310" y="5715"/>
                  </a:lnTo>
                  <a:lnTo>
                    <a:pt x="21259" y="21259"/>
                  </a:lnTo>
                  <a:lnTo>
                    <a:pt x="5715" y="44310"/>
                  </a:lnTo>
                  <a:lnTo>
                    <a:pt x="0" y="72491"/>
                  </a:lnTo>
                  <a:lnTo>
                    <a:pt x="0" y="241452"/>
                  </a:lnTo>
                  <a:lnTo>
                    <a:pt x="5715" y="269646"/>
                  </a:lnTo>
                  <a:lnTo>
                    <a:pt x="21259" y="292696"/>
                  </a:lnTo>
                  <a:lnTo>
                    <a:pt x="44310" y="308254"/>
                  </a:lnTo>
                  <a:lnTo>
                    <a:pt x="72504" y="313956"/>
                  </a:lnTo>
                  <a:lnTo>
                    <a:pt x="563791" y="313956"/>
                  </a:lnTo>
                  <a:lnTo>
                    <a:pt x="615035" y="292696"/>
                  </a:lnTo>
                  <a:lnTo>
                    <a:pt x="636295" y="241452"/>
                  </a:lnTo>
                  <a:lnTo>
                    <a:pt x="636295" y="72491"/>
                  </a:lnTo>
                  <a:close/>
                </a:path>
              </a:pathLst>
            </a:custGeom>
            <a:solidFill>
              <a:srgbClr val="020303"/>
            </a:solidFill>
          </p:spPr>
          <p:txBody>
            <a:bodyPr wrap="square" lIns="0" tIns="0" rIns="0" bIns="0" rtlCol="0"/>
            <a:lstStyle/>
            <a:p>
              <a:endParaRPr sz="649"/>
            </a:p>
          </p:txBody>
        </p:sp>
        <p:pic>
          <p:nvPicPr>
            <p:cNvPr id="50" name="object 50"/>
            <p:cNvPicPr/>
            <p:nvPr/>
          </p:nvPicPr>
          <p:blipFill>
            <a:blip r:embed="rId16" cstate="print"/>
            <a:stretch>
              <a:fillRect/>
            </a:stretch>
          </p:blipFill>
          <p:spPr>
            <a:xfrm>
              <a:off x="3217641" y="5379087"/>
              <a:ext cx="89014" cy="84264"/>
            </a:xfrm>
            <a:prstGeom prst="rect">
              <a:avLst/>
            </a:prstGeom>
          </p:spPr>
        </p:pic>
        <p:pic>
          <p:nvPicPr>
            <p:cNvPr id="51" name="object 51"/>
            <p:cNvPicPr/>
            <p:nvPr/>
          </p:nvPicPr>
          <p:blipFill>
            <a:blip r:embed="rId17" cstate="print"/>
            <a:stretch>
              <a:fillRect/>
            </a:stretch>
          </p:blipFill>
          <p:spPr>
            <a:xfrm>
              <a:off x="2900334" y="5379123"/>
              <a:ext cx="88709" cy="84810"/>
            </a:xfrm>
            <a:prstGeom prst="rect">
              <a:avLst/>
            </a:prstGeom>
          </p:spPr>
        </p:pic>
        <p:sp>
          <p:nvSpPr>
            <p:cNvPr id="52" name="object 52"/>
            <p:cNvSpPr/>
            <p:nvPr/>
          </p:nvSpPr>
          <p:spPr>
            <a:xfrm>
              <a:off x="2785186" y="5263984"/>
              <a:ext cx="636905" cy="314325"/>
            </a:xfrm>
            <a:custGeom>
              <a:avLst/>
              <a:gdLst/>
              <a:ahLst/>
              <a:cxnLst/>
              <a:rect l="l" t="t" r="r" b="b"/>
              <a:pathLst>
                <a:path w="636904" h="314325">
                  <a:moveTo>
                    <a:pt x="593090" y="72504"/>
                  </a:moveTo>
                  <a:lnTo>
                    <a:pt x="590740" y="61226"/>
                  </a:lnTo>
                  <a:lnTo>
                    <a:pt x="585470" y="53492"/>
                  </a:lnTo>
                  <a:lnTo>
                    <a:pt x="585470" y="72504"/>
                  </a:lnTo>
                  <a:lnTo>
                    <a:pt x="585470" y="241452"/>
                  </a:lnTo>
                  <a:lnTo>
                    <a:pt x="583730" y="249809"/>
                  </a:lnTo>
                  <a:lnTo>
                    <a:pt x="579031" y="256705"/>
                  </a:lnTo>
                  <a:lnTo>
                    <a:pt x="572122" y="261404"/>
                  </a:lnTo>
                  <a:lnTo>
                    <a:pt x="563778" y="263131"/>
                  </a:lnTo>
                  <a:lnTo>
                    <a:pt x="72491" y="263131"/>
                  </a:lnTo>
                  <a:lnTo>
                    <a:pt x="64135" y="261404"/>
                  </a:lnTo>
                  <a:lnTo>
                    <a:pt x="57238" y="256705"/>
                  </a:lnTo>
                  <a:lnTo>
                    <a:pt x="52527" y="249809"/>
                  </a:lnTo>
                  <a:lnTo>
                    <a:pt x="50800" y="241452"/>
                  </a:lnTo>
                  <a:lnTo>
                    <a:pt x="50800" y="72504"/>
                  </a:lnTo>
                  <a:lnTo>
                    <a:pt x="52527" y="64160"/>
                  </a:lnTo>
                  <a:lnTo>
                    <a:pt x="57238" y="57264"/>
                  </a:lnTo>
                  <a:lnTo>
                    <a:pt x="64135" y="52565"/>
                  </a:lnTo>
                  <a:lnTo>
                    <a:pt x="72491" y="50825"/>
                  </a:lnTo>
                  <a:lnTo>
                    <a:pt x="563778" y="50825"/>
                  </a:lnTo>
                  <a:lnTo>
                    <a:pt x="572122" y="52565"/>
                  </a:lnTo>
                  <a:lnTo>
                    <a:pt x="579031" y="57264"/>
                  </a:lnTo>
                  <a:lnTo>
                    <a:pt x="583730" y="64160"/>
                  </a:lnTo>
                  <a:lnTo>
                    <a:pt x="585470" y="72504"/>
                  </a:lnTo>
                  <a:lnTo>
                    <a:pt x="585470" y="53492"/>
                  </a:lnTo>
                  <a:lnTo>
                    <a:pt x="584390" y="51904"/>
                  </a:lnTo>
                  <a:lnTo>
                    <a:pt x="582803" y="50825"/>
                  </a:lnTo>
                  <a:lnTo>
                    <a:pt x="575056" y="45554"/>
                  </a:lnTo>
                  <a:lnTo>
                    <a:pt x="563778" y="43205"/>
                  </a:lnTo>
                  <a:lnTo>
                    <a:pt x="72491" y="43205"/>
                  </a:lnTo>
                  <a:lnTo>
                    <a:pt x="61201" y="45554"/>
                  </a:lnTo>
                  <a:lnTo>
                    <a:pt x="51879" y="51904"/>
                  </a:lnTo>
                  <a:lnTo>
                    <a:pt x="45529" y="61226"/>
                  </a:lnTo>
                  <a:lnTo>
                    <a:pt x="43180" y="72504"/>
                  </a:lnTo>
                  <a:lnTo>
                    <a:pt x="43180" y="241452"/>
                  </a:lnTo>
                  <a:lnTo>
                    <a:pt x="45529" y="252730"/>
                  </a:lnTo>
                  <a:lnTo>
                    <a:pt x="51879" y="262064"/>
                  </a:lnTo>
                  <a:lnTo>
                    <a:pt x="61201" y="268414"/>
                  </a:lnTo>
                  <a:lnTo>
                    <a:pt x="72491" y="270751"/>
                  </a:lnTo>
                  <a:lnTo>
                    <a:pt x="563778" y="270751"/>
                  </a:lnTo>
                  <a:lnTo>
                    <a:pt x="575056" y="268414"/>
                  </a:lnTo>
                  <a:lnTo>
                    <a:pt x="582815" y="263131"/>
                  </a:lnTo>
                  <a:lnTo>
                    <a:pt x="584390" y="262064"/>
                  </a:lnTo>
                  <a:lnTo>
                    <a:pt x="590740" y="252730"/>
                  </a:lnTo>
                  <a:lnTo>
                    <a:pt x="593090" y="241452"/>
                  </a:lnTo>
                  <a:lnTo>
                    <a:pt x="593090" y="72504"/>
                  </a:lnTo>
                  <a:close/>
                </a:path>
                <a:path w="636904" h="314325">
                  <a:moveTo>
                    <a:pt x="636282" y="72491"/>
                  </a:moveTo>
                  <a:lnTo>
                    <a:pt x="630567" y="44310"/>
                  </a:lnTo>
                  <a:lnTo>
                    <a:pt x="628662" y="41490"/>
                  </a:lnTo>
                  <a:lnTo>
                    <a:pt x="628662" y="72491"/>
                  </a:lnTo>
                  <a:lnTo>
                    <a:pt x="628662" y="241452"/>
                  </a:lnTo>
                  <a:lnTo>
                    <a:pt x="623557" y="266687"/>
                  </a:lnTo>
                  <a:lnTo>
                    <a:pt x="609638" y="287312"/>
                  </a:lnTo>
                  <a:lnTo>
                    <a:pt x="589013" y="301231"/>
                  </a:lnTo>
                  <a:lnTo>
                    <a:pt x="563778" y="306336"/>
                  </a:lnTo>
                  <a:lnTo>
                    <a:pt x="72491" y="306336"/>
                  </a:lnTo>
                  <a:lnTo>
                    <a:pt x="47256" y="301231"/>
                  </a:lnTo>
                  <a:lnTo>
                    <a:pt x="26631" y="287312"/>
                  </a:lnTo>
                  <a:lnTo>
                    <a:pt x="12725" y="266687"/>
                  </a:lnTo>
                  <a:lnTo>
                    <a:pt x="7620" y="241452"/>
                  </a:lnTo>
                  <a:lnTo>
                    <a:pt x="7620" y="72491"/>
                  </a:lnTo>
                  <a:lnTo>
                    <a:pt x="12725" y="47269"/>
                  </a:lnTo>
                  <a:lnTo>
                    <a:pt x="26631" y="26644"/>
                  </a:lnTo>
                  <a:lnTo>
                    <a:pt x="47256" y="12725"/>
                  </a:lnTo>
                  <a:lnTo>
                    <a:pt x="72491" y="7620"/>
                  </a:lnTo>
                  <a:lnTo>
                    <a:pt x="563778" y="7620"/>
                  </a:lnTo>
                  <a:lnTo>
                    <a:pt x="589013" y="12725"/>
                  </a:lnTo>
                  <a:lnTo>
                    <a:pt x="609638" y="26644"/>
                  </a:lnTo>
                  <a:lnTo>
                    <a:pt x="623557" y="47269"/>
                  </a:lnTo>
                  <a:lnTo>
                    <a:pt x="628662" y="72491"/>
                  </a:lnTo>
                  <a:lnTo>
                    <a:pt x="628662" y="41490"/>
                  </a:lnTo>
                  <a:lnTo>
                    <a:pt x="615022" y="21259"/>
                  </a:lnTo>
                  <a:lnTo>
                    <a:pt x="594804" y="7620"/>
                  </a:lnTo>
                  <a:lnTo>
                    <a:pt x="591972" y="5715"/>
                  </a:lnTo>
                  <a:lnTo>
                    <a:pt x="563778" y="0"/>
                  </a:lnTo>
                  <a:lnTo>
                    <a:pt x="72491" y="0"/>
                  </a:lnTo>
                  <a:lnTo>
                    <a:pt x="44297" y="5715"/>
                  </a:lnTo>
                  <a:lnTo>
                    <a:pt x="21247" y="21259"/>
                  </a:lnTo>
                  <a:lnTo>
                    <a:pt x="5702" y="44310"/>
                  </a:lnTo>
                  <a:lnTo>
                    <a:pt x="0" y="72491"/>
                  </a:lnTo>
                  <a:lnTo>
                    <a:pt x="0" y="241452"/>
                  </a:lnTo>
                  <a:lnTo>
                    <a:pt x="5702" y="269646"/>
                  </a:lnTo>
                  <a:lnTo>
                    <a:pt x="21247" y="292696"/>
                  </a:lnTo>
                  <a:lnTo>
                    <a:pt x="44297" y="308254"/>
                  </a:lnTo>
                  <a:lnTo>
                    <a:pt x="72491" y="313956"/>
                  </a:lnTo>
                  <a:lnTo>
                    <a:pt x="563778" y="313956"/>
                  </a:lnTo>
                  <a:lnTo>
                    <a:pt x="591972" y="308254"/>
                  </a:lnTo>
                  <a:lnTo>
                    <a:pt x="594804" y="306336"/>
                  </a:lnTo>
                  <a:lnTo>
                    <a:pt x="615022" y="292696"/>
                  </a:lnTo>
                  <a:lnTo>
                    <a:pt x="630567" y="269646"/>
                  </a:lnTo>
                  <a:lnTo>
                    <a:pt x="636282" y="241452"/>
                  </a:lnTo>
                  <a:lnTo>
                    <a:pt x="636282" y="72491"/>
                  </a:lnTo>
                  <a:close/>
                </a:path>
              </a:pathLst>
            </a:custGeom>
            <a:solidFill>
              <a:srgbClr val="020303"/>
            </a:solidFill>
          </p:spPr>
          <p:txBody>
            <a:bodyPr wrap="square" lIns="0" tIns="0" rIns="0" bIns="0" rtlCol="0"/>
            <a:lstStyle/>
            <a:p>
              <a:endParaRPr sz="649"/>
            </a:p>
          </p:txBody>
        </p:sp>
        <p:sp>
          <p:nvSpPr>
            <p:cNvPr id="53" name="object 53"/>
            <p:cNvSpPr/>
            <p:nvPr/>
          </p:nvSpPr>
          <p:spPr>
            <a:xfrm>
              <a:off x="948601" y="5263982"/>
              <a:ext cx="311785" cy="314325"/>
            </a:xfrm>
            <a:custGeom>
              <a:avLst/>
              <a:gdLst/>
              <a:ahLst/>
              <a:cxnLst/>
              <a:rect l="l" t="t" r="r" b="b"/>
              <a:pathLst>
                <a:path w="311784" h="314325">
                  <a:moveTo>
                    <a:pt x="238810" y="0"/>
                  </a:moveTo>
                  <a:lnTo>
                    <a:pt x="72504" y="0"/>
                  </a:lnTo>
                  <a:lnTo>
                    <a:pt x="44309" y="5706"/>
                  </a:lnTo>
                  <a:lnTo>
                    <a:pt x="21259" y="21258"/>
                  </a:lnTo>
                  <a:lnTo>
                    <a:pt x="5706" y="44303"/>
                  </a:lnTo>
                  <a:lnTo>
                    <a:pt x="0" y="72491"/>
                  </a:lnTo>
                  <a:lnTo>
                    <a:pt x="0" y="241452"/>
                  </a:lnTo>
                  <a:lnTo>
                    <a:pt x="5706" y="269647"/>
                  </a:lnTo>
                  <a:lnTo>
                    <a:pt x="21259" y="292696"/>
                  </a:lnTo>
                  <a:lnTo>
                    <a:pt x="44309" y="308250"/>
                  </a:lnTo>
                  <a:lnTo>
                    <a:pt x="72504" y="313956"/>
                  </a:lnTo>
                  <a:lnTo>
                    <a:pt x="238810" y="313956"/>
                  </a:lnTo>
                  <a:lnTo>
                    <a:pt x="267005" y="308250"/>
                  </a:lnTo>
                  <a:lnTo>
                    <a:pt x="269841" y="306336"/>
                  </a:lnTo>
                  <a:lnTo>
                    <a:pt x="72504" y="306336"/>
                  </a:lnTo>
                  <a:lnTo>
                    <a:pt x="47273" y="301229"/>
                  </a:lnTo>
                  <a:lnTo>
                    <a:pt x="26646" y="287310"/>
                  </a:lnTo>
                  <a:lnTo>
                    <a:pt x="12727" y="266683"/>
                  </a:lnTo>
                  <a:lnTo>
                    <a:pt x="7620" y="241452"/>
                  </a:lnTo>
                  <a:lnTo>
                    <a:pt x="7620" y="72491"/>
                  </a:lnTo>
                  <a:lnTo>
                    <a:pt x="12727" y="47267"/>
                  </a:lnTo>
                  <a:lnTo>
                    <a:pt x="26646" y="26644"/>
                  </a:lnTo>
                  <a:lnTo>
                    <a:pt x="47273" y="12726"/>
                  </a:lnTo>
                  <a:lnTo>
                    <a:pt x="72504" y="7620"/>
                  </a:lnTo>
                  <a:lnTo>
                    <a:pt x="269842" y="7620"/>
                  </a:lnTo>
                  <a:lnTo>
                    <a:pt x="267005" y="5706"/>
                  </a:lnTo>
                  <a:lnTo>
                    <a:pt x="238810" y="0"/>
                  </a:lnTo>
                  <a:close/>
                </a:path>
                <a:path w="311784" h="314325">
                  <a:moveTo>
                    <a:pt x="269842" y="7620"/>
                  </a:moveTo>
                  <a:lnTo>
                    <a:pt x="238810" y="7620"/>
                  </a:lnTo>
                  <a:lnTo>
                    <a:pt x="264041" y="12726"/>
                  </a:lnTo>
                  <a:lnTo>
                    <a:pt x="284668" y="26644"/>
                  </a:lnTo>
                  <a:lnTo>
                    <a:pt x="298587" y="47267"/>
                  </a:lnTo>
                  <a:lnTo>
                    <a:pt x="303695" y="72491"/>
                  </a:lnTo>
                  <a:lnTo>
                    <a:pt x="303695" y="241452"/>
                  </a:lnTo>
                  <a:lnTo>
                    <a:pt x="298587" y="266683"/>
                  </a:lnTo>
                  <a:lnTo>
                    <a:pt x="284668" y="287310"/>
                  </a:lnTo>
                  <a:lnTo>
                    <a:pt x="264041" y="301229"/>
                  </a:lnTo>
                  <a:lnTo>
                    <a:pt x="238810" y="306336"/>
                  </a:lnTo>
                  <a:lnTo>
                    <a:pt x="269841" y="306336"/>
                  </a:lnTo>
                  <a:lnTo>
                    <a:pt x="290055" y="292696"/>
                  </a:lnTo>
                  <a:lnTo>
                    <a:pt x="305608" y="269647"/>
                  </a:lnTo>
                  <a:lnTo>
                    <a:pt x="311315" y="241452"/>
                  </a:lnTo>
                  <a:lnTo>
                    <a:pt x="311315" y="72491"/>
                  </a:lnTo>
                  <a:lnTo>
                    <a:pt x="305608" y="44303"/>
                  </a:lnTo>
                  <a:lnTo>
                    <a:pt x="290055" y="21258"/>
                  </a:lnTo>
                  <a:lnTo>
                    <a:pt x="269842" y="7620"/>
                  </a:lnTo>
                  <a:close/>
                </a:path>
              </a:pathLst>
            </a:custGeom>
            <a:solidFill>
              <a:srgbClr val="231F20"/>
            </a:solidFill>
          </p:spPr>
          <p:txBody>
            <a:bodyPr wrap="square" lIns="0" tIns="0" rIns="0" bIns="0" rtlCol="0"/>
            <a:lstStyle/>
            <a:p>
              <a:endParaRPr sz="649"/>
            </a:p>
          </p:txBody>
        </p:sp>
        <p:pic>
          <p:nvPicPr>
            <p:cNvPr id="54" name="object 54"/>
            <p:cNvPicPr/>
            <p:nvPr/>
          </p:nvPicPr>
          <p:blipFill>
            <a:blip r:embed="rId18" cstate="print"/>
            <a:stretch>
              <a:fillRect/>
            </a:stretch>
          </p:blipFill>
          <p:spPr>
            <a:xfrm>
              <a:off x="993548" y="5307186"/>
              <a:ext cx="221424" cy="227545"/>
            </a:xfrm>
            <a:prstGeom prst="rect">
              <a:avLst/>
            </a:prstGeom>
          </p:spPr>
        </p:pic>
        <p:sp>
          <p:nvSpPr>
            <p:cNvPr id="55" name="object 55"/>
            <p:cNvSpPr/>
            <p:nvPr/>
          </p:nvSpPr>
          <p:spPr>
            <a:xfrm>
              <a:off x="2018977" y="5043377"/>
              <a:ext cx="752475" cy="752475"/>
            </a:xfrm>
            <a:custGeom>
              <a:avLst/>
              <a:gdLst/>
              <a:ahLst/>
              <a:cxnLst/>
              <a:rect l="l" t="t" r="r" b="b"/>
              <a:pathLst>
                <a:path w="752475" h="752475">
                  <a:moveTo>
                    <a:pt x="752297" y="376148"/>
                  </a:moveTo>
                  <a:lnTo>
                    <a:pt x="749366" y="423330"/>
                  </a:lnTo>
                  <a:lnTo>
                    <a:pt x="740808" y="468763"/>
                  </a:lnTo>
                  <a:lnTo>
                    <a:pt x="726977" y="512096"/>
                  </a:lnTo>
                  <a:lnTo>
                    <a:pt x="708224" y="552974"/>
                  </a:lnTo>
                  <a:lnTo>
                    <a:pt x="684901" y="591047"/>
                  </a:lnTo>
                  <a:lnTo>
                    <a:pt x="657363" y="625960"/>
                  </a:lnTo>
                  <a:lnTo>
                    <a:pt x="625960" y="657363"/>
                  </a:lnTo>
                  <a:lnTo>
                    <a:pt x="591047" y="684901"/>
                  </a:lnTo>
                  <a:lnTo>
                    <a:pt x="552974" y="708224"/>
                  </a:lnTo>
                  <a:lnTo>
                    <a:pt x="512096" y="726977"/>
                  </a:lnTo>
                  <a:lnTo>
                    <a:pt x="468763" y="740808"/>
                  </a:lnTo>
                  <a:lnTo>
                    <a:pt x="423330" y="749366"/>
                  </a:lnTo>
                  <a:lnTo>
                    <a:pt x="376148" y="752297"/>
                  </a:lnTo>
                  <a:lnTo>
                    <a:pt x="328964" y="749366"/>
                  </a:lnTo>
                  <a:lnTo>
                    <a:pt x="283529" y="740808"/>
                  </a:lnTo>
                  <a:lnTo>
                    <a:pt x="240195" y="726977"/>
                  </a:lnTo>
                  <a:lnTo>
                    <a:pt x="199316" y="708224"/>
                  </a:lnTo>
                  <a:lnTo>
                    <a:pt x="161244" y="684901"/>
                  </a:lnTo>
                  <a:lnTo>
                    <a:pt x="126331" y="657363"/>
                  </a:lnTo>
                  <a:lnTo>
                    <a:pt x="94929" y="625960"/>
                  </a:lnTo>
                  <a:lnTo>
                    <a:pt x="67391" y="591047"/>
                  </a:lnTo>
                  <a:lnTo>
                    <a:pt x="44070" y="552974"/>
                  </a:lnTo>
                  <a:lnTo>
                    <a:pt x="25318" y="512096"/>
                  </a:lnTo>
                  <a:lnTo>
                    <a:pt x="11487" y="468763"/>
                  </a:lnTo>
                  <a:lnTo>
                    <a:pt x="2930" y="423330"/>
                  </a:lnTo>
                  <a:lnTo>
                    <a:pt x="0" y="376148"/>
                  </a:lnTo>
                  <a:lnTo>
                    <a:pt x="2930" y="328966"/>
                  </a:lnTo>
                  <a:lnTo>
                    <a:pt x="11487" y="283533"/>
                  </a:lnTo>
                  <a:lnTo>
                    <a:pt x="25318" y="240201"/>
                  </a:lnTo>
                  <a:lnTo>
                    <a:pt x="44070" y="199322"/>
                  </a:lnTo>
                  <a:lnTo>
                    <a:pt x="67391" y="161249"/>
                  </a:lnTo>
                  <a:lnTo>
                    <a:pt x="94929" y="126336"/>
                  </a:lnTo>
                  <a:lnTo>
                    <a:pt x="126331" y="94933"/>
                  </a:lnTo>
                  <a:lnTo>
                    <a:pt x="161244" y="67395"/>
                  </a:lnTo>
                  <a:lnTo>
                    <a:pt x="199316" y="44073"/>
                  </a:lnTo>
                  <a:lnTo>
                    <a:pt x="240195" y="25319"/>
                  </a:lnTo>
                  <a:lnTo>
                    <a:pt x="283529" y="11488"/>
                  </a:lnTo>
                  <a:lnTo>
                    <a:pt x="328964" y="2930"/>
                  </a:lnTo>
                  <a:lnTo>
                    <a:pt x="376148" y="0"/>
                  </a:lnTo>
                  <a:lnTo>
                    <a:pt x="423330" y="2930"/>
                  </a:lnTo>
                  <a:lnTo>
                    <a:pt x="468763" y="11488"/>
                  </a:lnTo>
                  <a:lnTo>
                    <a:pt x="512096" y="25319"/>
                  </a:lnTo>
                  <a:lnTo>
                    <a:pt x="552974" y="44073"/>
                  </a:lnTo>
                  <a:lnTo>
                    <a:pt x="591047" y="67395"/>
                  </a:lnTo>
                  <a:lnTo>
                    <a:pt x="625960" y="94933"/>
                  </a:lnTo>
                  <a:lnTo>
                    <a:pt x="657363" y="126336"/>
                  </a:lnTo>
                  <a:lnTo>
                    <a:pt x="684901" y="161249"/>
                  </a:lnTo>
                  <a:lnTo>
                    <a:pt x="708224" y="199322"/>
                  </a:lnTo>
                  <a:lnTo>
                    <a:pt x="726977" y="240201"/>
                  </a:lnTo>
                  <a:lnTo>
                    <a:pt x="740808" y="283533"/>
                  </a:lnTo>
                  <a:lnTo>
                    <a:pt x="749366" y="328966"/>
                  </a:lnTo>
                  <a:lnTo>
                    <a:pt x="752297" y="376148"/>
                  </a:lnTo>
                  <a:close/>
                </a:path>
              </a:pathLst>
            </a:custGeom>
            <a:ln w="38100">
              <a:solidFill>
                <a:srgbClr val="E3873E"/>
              </a:solidFill>
            </a:ln>
          </p:spPr>
          <p:txBody>
            <a:bodyPr wrap="square" lIns="0" tIns="0" rIns="0" bIns="0" rtlCol="0"/>
            <a:lstStyle/>
            <a:p>
              <a:endParaRPr sz="649"/>
            </a:p>
          </p:txBody>
        </p:sp>
      </p:grpSp>
      <p:grpSp>
        <p:nvGrpSpPr>
          <p:cNvPr id="56" name="object 56"/>
          <p:cNvGrpSpPr/>
          <p:nvPr/>
        </p:nvGrpSpPr>
        <p:grpSpPr>
          <a:xfrm>
            <a:off x="4727191" y="2165534"/>
            <a:ext cx="1060792" cy="801704"/>
            <a:chOff x="4100795" y="4500781"/>
            <a:chExt cx="2204720" cy="1666239"/>
          </a:xfrm>
        </p:grpSpPr>
        <p:sp>
          <p:nvSpPr>
            <p:cNvPr id="57" name="object 57"/>
            <p:cNvSpPr/>
            <p:nvPr/>
          </p:nvSpPr>
          <p:spPr>
            <a:xfrm>
              <a:off x="4113495" y="5206449"/>
              <a:ext cx="1362710" cy="752475"/>
            </a:xfrm>
            <a:custGeom>
              <a:avLst/>
              <a:gdLst/>
              <a:ahLst/>
              <a:cxnLst/>
              <a:rect l="l" t="t" r="r" b="b"/>
              <a:pathLst>
                <a:path w="1362710" h="752475">
                  <a:moveTo>
                    <a:pt x="156718" y="0"/>
                  </a:moveTo>
                  <a:lnTo>
                    <a:pt x="107327" y="11680"/>
                  </a:lnTo>
                  <a:lnTo>
                    <a:pt x="57156" y="34410"/>
                  </a:lnTo>
                  <a:lnTo>
                    <a:pt x="17586" y="63293"/>
                  </a:lnTo>
                  <a:lnTo>
                    <a:pt x="0" y="93433"/>
                  </a:lnTo>
                  <a:lnTo>
                    <a:pt x="5712" y="115284"/>
                  </a:lnTo>
                  <a:lnTo>
                    <a:pt x="23534" y="152019"/>
                  </a:lnTo>
                  <a:lnTo>
                    <a:pt x="50760" y="199262"/>
                  </a:lnTo>
                  <a:lnTo>
                    <a:pt x="84684" y="252636"/>
                  </a:lnTo>
                  <a:lnTo>
                    <a:pt x="122600" y="307766"/>
                  </a:lnTo>
                  <a:lnTo>
                    <a:pt x="161803" y="360274"/>
                  </a:lnTo>
                  <a:lnTo>
                    <a:pt x="199586" y="405784"/>
                  </a:lnTo>
                  <a:lnTo>
                    <a:pt x="233244" y="439919"/>
                  </a:lnTo>
                  <a:lnTo>
                    <a:pt x="276008" y="464021"/>
                  </a:lnTo>
                  <a:lnTo>
                    <a:pt x="337284" y="483513"/>
                  </a:lnTo>
                  <a:lnTo>
                    <a:pt x="430425" y="511673"/>
                  </a:lnTo>
                  <a:lnTo>
                    <a:pt x="546631" y="546009"/>
                  </a:lnTo>
                  <a:lnTo>
                    <a:pt x="744936" y="603644"/>
                  </a:lnTo>
                  <a:lnTo>
                    <a:pt x="1007937" y="678854"/>
                  </a:lnTo>
                  <a:lnTo>
                    <a:pt x="1165633" y="723136"/>
                  </a:lnTo>
                  <a:lnTo>
                    <a:pt x="1235427" y="742211"/>
                  </a:lnTo>
                  <a:lnTo>
                    <a:pt x="1290032" y="752452"/>
                  </a:lnTo>
                  <a:lnTo>
                    <a:pt x="1312448" y="747223"/>
                  </a:lnTo>
                  <a:lnTo>
                    <a:pt x="1333784" y="726220"/>
                  </a:lnTo>
                  <a:lnTo>
                    <a:pt x="1353896" y="681329"/>
                  </a:lnTo>
                  <a:lnTo>
                    <a:pt x="1359162" y="663686"/>
                  </a:lnTo>
                  <a:lnTo>
                    <a:pt x="1362267" y="642708"/>
                  </a:lnTo>
                  <a:lnTo>
                    <a:pt x="1358573" y="622236"/>
                  </a:lnTo>
                  <a:lnTo>
                    <a:pt x="1343444" y="606107"/>
                  </a:lnTo>
                  <a:lnTo>
                    <a:pt x="1323865" y="594282"/>
                  </a:lnTo>
                  <a:lnTo>
                    <a:pt x="1245069" y="545346"/>
                  </a:lnTo>
                  <a:lnTo>
                    <a:pt x="1192835" y="513278"/>
                  </a:lnTo>
                  <a:lnTo>
                    <a:pt x="1136697" y="479505"/>
                  </a:lnTo>
                  <a:lnTo>
                    <a:pt x="1080147" y="446548"/>
                  </a:lnTo>
                  <a:lnTo>
                    <a:pt x="1026676" y="416928"/>
                  </a:lnTo>
                  <a:lnTo>
                    <a:pt x="979776" y="393167"/>
                  </a:lnTo>
                  <a:lnTo>
                    <a:pt x="942936" y="377786"/>
                  </a:lnTo>
                  <a:lnTo>
                    <a:pt x="860540" y="357048"/>
                  </a:lnTo>
                  <a:lnTo>
                    <a:pt x="804090" y="345774"/>
                  </a:lnTo>
                  <a:lnTo>
                    <a:pt x="742072" y="334501"/>
                  </a:lnTo>
                  <a:lnTo>
                    <a:pt x="677935" y="323684"/>
                  </a:lnTo>
                  <a:lnTo>
                    <a:pt x="615129" y="313777"/>
                  </a:lnTo>
                  <a:lnTo>
                    <a:pt x="557105" y="305234"/>
                  </a:lnTo>
                  <a:lnTo>
                    <a:pt x="507311" y="298509"/>
                  </a:lnTo>
                  <a:lnTo>
                    <a:pt x="469197" y="294056"/>
                  </a:lnTo>
                  <a:lnTo>
                    <a:pt x="446214" y="292328"/>
                  </a:lnTo>
                  <a:lnTo>
                    <a:pt x="405983" y="297448"/>
                  </a:lnTo>
                  <a:lnTo>
                    <a:pt x="363835" y="309381"/>
                  </a:lnTo>
                  <a:lnTo>
                    <a:pt x="330603" y="321442"/>
                  </a:lnTo>
                  <a:lnTo>
                    <a:pt x="317119" y="326948"/>
                  </a:lnTo>
                  <a:lnTo>
                    <a:pt x="309810" y="265923"/>
                  </a:lnTo>
                  <a:lnTo>
                    <a:pt x="300332" y="205662"/>
                  </a:lnTo>
                  <a:lnTo>
                    <a:pt x="282402" y="131181"/>
                  </a:lnTo>
                  <a:lnTo>
                    <a:pt x="270376" y="87158"/>
                  </a:lnTo>
                  <a:lnTo>
                    <a:pt x="254752" y="49287"/>
                  </a:lnTo>
                  <a:lnTo>
                    <a:pt x="200880" y="2965"/>
                  </a:lnTo>
                  <a:lnTo>
                    <a:pt x="156718" y="0"/>
                  </a:lnTo>
                  <a:close/>
                </a:path>
              </a:pathLst>
            </a:custGeom>
            <a:solidFill>
              <a:srgbClr val="F1F2F2"/>
            </a:solidFill>
          </p:spPr>
          <p:txBody>
            <a:bodyPr wrap="square" lIns="0" tIns="0" rIns="0" bIns="0" rtlCol="0"/>
            <a:lstStyle/>
            <a:p>
              <a:endParaRPr sz="649"/>
            </a:p>
          </p:txBody>
        </p:sp>
        <p:sp>
          <p:nvSpPr>
            <p:cNvPr id="58" name="object 58"/>
            <p:cNvSpPr/>
            <p:nvPr/>
          </p:nvSpPr>
          <p:spPr>
            <a:xfrm>
              <a:off x="4113495" y="5206449"/>
              <a:ext cx="1362710" cy="752475"/>
            </a:xfrm>
            <a:custGeom>
              <a:avLst/>
              <a:gdLst/>
              <a:ahLst/>
              <a:cxnLst/>
              <a:rect l="l" t="t" r="r" b="b"/>
              <a:pathLst>
                <a:path w="1362710" h="752475">
                  <a:moveTo>
                    <a:pt x="317119" y="326948"/>
                  </a:moveTo>
                  <a:lnTo>
                    <a:pt x="309810" y="265923"/>
                  </a:lnTo>
                  <a:lnTo>
                    <a:pt x="304944" y="230130"/>
                  </a:lnTo>
                  <a:lnTo>
                    <a:pt x="300332" y="205662"/>
                  </a:lnTo>
                  <a:lnTo>
                    <a:pt x="293789" y="178612"/>
                  </a:lnTo>
                  <a:lnTo>
                    <a:pt x="282402" y="131181"/>
                  </a:lnTo>
                  <a:lnTo>
                    <a:pt x="270376" y="87158"/>
                  </a:lnTo>
                  <a:lnTo>
                    <a:pt x="254752" y="49287"/>
                  </a:lnTo>
                  <a:lnTo>
                    <a:pt x="200880" y="2965"/>
                  </a:lnTo>
                  <a:lnTo>
                    <a:pt x="156718" y="0"/>
                  </a:lnTo>
                  <a:lnTo>
                    <a:pt x="107327" y="11680"/>
                  </a:lnTo>
                  <a:lnTo>
                    <a:pt x="57156" y="34410"/>
                  </a:lnTo>
                  <a:lnTo>
                    <a:pt x="17586" y="63293"/>
                  </a:lnTo>
                  <a:lnTo>
                    <a:pt x="0" y="93433"/>
                  </a:lnTo>
                  <a:lnTo>
                    <a:pt x="5712" y="115284"/>
                  </a:lnTo>
                  <a:lnTo>
                    <a:pt x="23534" y="152019"/>
                  </a:lnTo>
                  <a:lnTo>
                    <a:pt x="50760" y="199262"/>
                  </a:lnTo>
                  <a:lnTo>
                    <a:pt x="84684" y="252636"/>
                  </a:lnTo>
                  <a:lnTo>
                    <a:pt x="122600" y="307766"/>
                  </a:lnTo>
                  <a:lnTo>
                    <a:pt x="161803" y="360274"/>
                  </a:lnTo>
                  <a:lnTo>
                    <a:pt x="199586" y="405784"/>
                  </a:lnTo>
                  <a:lnTo>
                    <a:pt x="233244" y="439919"/>
                  </a:lnTo>
                  <a:lnTo>
                    <a:pt x="276008" y="464021"/>
                  </a:lnTo>
                  <a:lnTo>
                    <a:pt x="337284" y="483513"/>
                  </a:lnTo>
                  <a:lnTo>
                    <a:pt x="380421" y="496665"/>
                  </a:lnTo>
                  <a:lnTo>
                    <a:pt x="430425" y="511673"/>
                  </a:lnTo>
                  <a:lnTo>
                    <a:pt x="486194" y="528224"/>
                  </a:lnTo>
                  <a:lnTo>
                    <a:pt x="546631" y="546009"/>
                  </a:lnTo>
                  <a:lnTo>
                    <a:pt x="610633" y="564714"/>
                  </a:lnTo>
                  <a:lnTo>
                    <a:pt x="677101" y="584030"/>
                  </a:lnTo>
                  <a:lnTo>
                    <a:pt x="744936" y="603644"/>
                  </a:lnTo>
                  <a:lnTo>
                    <a:pt x="813037" y="623244"/>
                  </a:lnTo>
                  <a:lnTo>
                    <a:pt x="880304" y="642521"/>
                  </a:lnTo>
                  <a:lnTo>
                    <a:pt x="945638" y="661161"/>
                  </a:lnTo>
                  <a:lnTo>
                    <a:pt x="1007937" y="678854"/>
                  </a:lnTo>
                  <a:lnTo>
                    <a:pt x="1066103" y="695289"/>
                  </a:lnTo>
                  <a:lnTo>
                    <a:pt x="1119035" y="710153"/>
                  </a:lnTo>
                  <a:lnTo>
                    <a:pt x="1165633" y="723136"/>
                  </a:lnTo>
                  <a:lnTo>
                    <a:pt x="1204797" y="733926"/>
                  </a:lnTo>
                  <a:lnTo>
                    <a:pt x="1256423" y="747681"/>
                  </a:lnTo>
                  <a:lnTo>
                    <a:pt x="1290032" y="752452"/>
                  </a:lnTo>
                  <a:lnTo>
                    <a:pt x="1312448" y="747223"/>
                  </a:lnTo>
                  <a:lnTo>
                    <a:pt x="1333784" y="726220"/>
                  </a:lnTo>
                  <a:lnTo>
                    <a:pt x="1353896" y="681329"/>
                  </a:lnTo>
                  <a:lnTo>
                    <a:pt x="1359162" y="663686"/>
                  </a:lnTo>
                  <a:lnTo>
                    <a:pt x="1362267" y="642708"/>
                  </a:lnTo>
                  <a:lnTo>
                    <a:pt x="1358573" y="622236"/>
                  </a:lnTo>
                  <a:lnTo>
                    <a:pt x="1343444" y="606107"/>
                  </a:lnTo>
                  <a:lnTo>
                    <a:pt x="1323865" y="594282"/>
                  </a:lnTo>
                  <a:lnTo>
                    <a:pt x="1289910" y="573188"/>
                  </a:lnTo>
                  <a:lnTo>
                    <a:pt x="1245069" y="545346"/>
                  </a:lnTo>
                  <a:lnTo>
                    <a:pt x="1192835" y="513278"/>
                  </a:lnTo>
                  <a:lnTo>
                    <a:pt x="1136697" y="479505"/>
                  </a:lnTo>
                  <a:lnTo>
                    <a:pt x="1080147" y="446548"/>
                  </a:lnTo>
                  <a:lnTo>
                    <a:pt x="1026676" y="416928"/>
                  </a:lnTo>
                  <a:lnTo>
                    <a:pt x="979776" y="393167"/>
                  </a:lnTo>
                  <a:lnTo>
                    <a:pt x="942936" y="377786"/>
                  </a:lnTo>
                  <a:lnTo>
                    <a:pt x="860540" y="357048"/>
                  </a:lnTo>
                  <a:lnTo>
                    <a:pt x="804090" y="345774"/>
                  </a:lnTo>
                  <a:lnTo>
                    <a:pt x="742072" y="334501"/>
                  </a:lnTo>
                  <a:lnTo>
                    <a:pt x="677935" y="323684"/>
                  </a:lnTo>
                  <a:lnTo>
                    <a:pt x="615129" y="313777"/>
                  </a:lnTo>
                  <a:lnTo>
                    <a:pt x="557105" y="305234"/>
                  </a:lnTo>
                  <a:lnTo>
                    <a:pt x="507311" y="298509"/>
                  </a:lnTo>
                  <a:lnTo>
                    <a:pt x="469197" y="294056"/>
                  </a:lnTo>
                  <a:lnTo>
                    <a:pt x="446214" y="292328"/>
                  </a:lnTo>
                  <a:lnTo>
                    <a:pt x="405983" y="297448"/>
                  </a:lnTo>
                  <a:lnTo>
                    <a:pt x="363835" y="309381"/>
                  </a:lnTo>
                  <a:lnTo>
                    <a:pt x="330603" y="321442"/>
                  </a:lnTo>
                  <a:lnTo>
                    <a:pt x="317119" y="326948"/>
                  </a:lnTo>
                  <a:close/>
                </a:path>
              </a:pathLst>
            </a:custGeom>
            <a:ln w="25400">
              <a:solidFill>
                <a:srgbClr val="231F20"/>
              </a:solidFill>
            </a:ln>
          </p:spPr>
          <p:txBody>
            <a:bodyPr wrap="square" lIns="0" tIns="0" rIns="0" bIns="0" rtlCol="0"/>
            <a:lstStyle/>
            <a:p>
              <a:endParaRPr sz="649"/>
            </a:p>
          </p:txBody>
        </p:sp>
        <p:sp>
          <p:nvSpPr>
            <p:cNvPr id="59" name="object 59"/>
            <p:cNvSpPr/>
            <p:nvPr/>
          </p:nvSpPr>
          <p:spPr>
            <a:xfrm>
              <a:off x="5175445" y="5856125"/>
              <a:ext cx="923925" cy="304800"/>
            </a:xfrm>
            <a:custGeom>
              <a:avLst/>
              <a:gdLst/>
              <a:ahLst/>
              <a:cxnLst/>
              <a:rect l="l" t="t" r="r" b="b"/>
              <a:pathLst>
                <a:path w="923925" h="304800">
                  <a:moveTo>
                    <a:pt x="498814" y="0"/>
                  </a:moveTo>
                  <a:lnTo>
                    <a:pt x="424430" y="0"/>
                  </a:lnTo>
                  <a:lnTo>
                    <a:pt x="424430" y="225513"/>
                  </a:lnTo>
                  <a:lnTo>
                    <a:pt x="424202" y="226529"/>
                  </a:lnTo>
                  <a:lnTo>
                    <a:pt x="101" y="265457"/>
                  </a:lnTo>
                  <a:lnTo>
                    <a:pt x="0" y="269486"/>
                  </a:lnTo>
                  <a:lnTo>
                    <a:pt x="2105" y="304228"/>
                  </a:lnTo>
                  <a:lnTo>
                    <a:pt x="923591" y="304228"/>
                  </a:lnTo>
                  <a:lnTo>
                    <a:pt x="923591" y="265480"/>
                  </a:lnTo>
                  <a:lnTo>
                    <a:pt x="500440" y="225882"/>
                  </a:lnTo>
                  <a:lnTo>
                    <a:pt x="499513" y="223469"/>
                  </a:lnTo>
                  <a:lnTo>
                    <a:pt x="498814" y="0"/>
                  </a:lnTo>
                  <a:close/>
                </a:path>
              </a:pathLst>
            </a:custGeom>
            <a:solidFill>
              <a:srgbClr val="FFFFFF"/>
            </a:solidFill>
          </p:spPr>
          <p:txBody>
            <a:bodyPr wrap="square" lIns="0" tIns="0" rIns="0" bIns="0" rtlCol="0"/>
            <a:lstStyle/>
            <a:p>
              <a:endParaRPr sz="649"/>
            </a:p>
          </p:txBody>
        </p:sp>
        <p:sp>
          <p:nvSpPr>
            <p:cNvPr id="60" name="object 60"/>
            <p:cNvSpPr/>
            <p:nvPr/>
          </p:nvSpPr>
          <p:spPr>
            <a:xfrm>
              <a:off x="5175445" y="5856125"/>
              <a:ext cx="923925" cy="304800"/>
            </a:xfrm>
            <a:custGeom>
              <a:avLst/>
              <a:gdLst/>
              <a:ahLst/>
              <a:cxnLst/>
              <a:rect l="l" t="t" r="r" b="b"/>
              <a:pathLst>
                <a:path w="923925" h="304800">
                  <a:moveTo>
                    <a:pt x="498814" y="0"/>
                  </a:moveTo>
                  <a:lnTo>
                    <a:pt x="499513" y="223469"/>
                  </a:lnTo>
                  <a:lnTo>
                    <a:pt x="500440" y="225882"/>
                  </a:lnTo>
                  <a:lnTo>
                    <a:pt x="923591" y="265480"/>
                  </a:lnTo>
                  <a:lnTo>
                    <a:pt x="923591" y="304228"/>
                  </a:lnTo>
                  <a:lnTo>
                    <a:pt x="2105" y="304228"/>
                  </a:lnTo>
                  <a:lnTo>
                    <a:pt x="627" y="281198"/>
                  </a:lnTo>
                  <a:lnTo>
                    <a:pt x="0" y="269486"/>
                  </a:lnTo>
                  <a:lnTo>
                    <a:pt x="101" y="265457"/>
                  </a:lnTo>
                  <a:lnTo>
                    <a:pt x="809" y="265480"/>
                  </a:lnTo>
                  <a:lnTo>
                    <a:pt x="424202" y="226529"/>
                  </a:lnTo>
                  <a:lnTo>
                    <a:pt x="424430" y="225513"/>
                  </a:lnTo>
                  <a:lnTo>
                    <a:pt x="424430" y="0"/>
                  </a:lnTo>
                </a:path>
              </a:pathLst>
            </a:custGeom>
            <a:ln w="12700">
              <a:solidFill>
                <a:srgbClr val="231F20"/>
              </a:solidFill>
            </a:ln>
          </p:spPr>
          <p:txBody>
            <a:bodyPr wrap="square" lIns="0" tIns="0" rIns="0" bIns="0" rtlCol="0"/>
            <a:lstStyle/>
            <a:p>
              <a:endParaRPr sz="649"/>
            </a:p>
          </p:txBody>
        </p:sp>
        <p:sp>
          <p:nvSpPr>
            <p:cNvPr id="61" name="object 61"/>
            <p:cNvSpPr/>
            <p:nvPr/>
          </p:nvSpPr>
          <p:spPr>
            <a:xfrm>
              <a:off x="5384789" y="5479343"/>
              <a:ext cx="908050" cy="492125"/>
            </a:xfrm>
            <a:custGeom>
              <a:avLst/>
              <a:gdLst/>
              <a:ahLst/>
              <a:cxnLst/>
              <a:rect l="l" t="t" r="r" b="b"/>
              <a:pathLst>
                <a:path w="908050" h="492125">
                  <a:moveTo>
                    <a:pt x="706689" y="0"/>
                  </a:moveTo>
                  <a:lnTo>
                    <a:pt x="657936" y="3299"/>
                  </a:lnTo>
                  <a:lnTo>
                    <a:pt x="592241" y="15251"/>
                  </a:lnTo>
                  <a:lnTo>
                    <a:pt x="501808" y="39627"/>
                  </a:lnTo>
                  <a:lnTo>
                    <a:pt x="324955" y="94778"/>
                  </a:lnTo>
                  <a:lnTo>
                    <a:pt x="0" y="199057"/>
                  </a:lnTo>
                  <a:lnTo>
                    <a:pt x="73228" y="468335"/>
                  </a:lnTo>
                  <a:lnTo>
                    <a:pt x="369820" y="398012"/>
                  </a:lnTo>
                  <a:lnTo>
                    <a:pt x="581255" y="347452"/>
                  </a:lnTo>
                  <a:lnTo>
                    <a:pt x="693178" y="319821"/>
                  </a:lnTo>
                  <a:lnTo>
                    <a:pt x="710350" y="246103"/>
                  </a:lnTo>
                  <a:lnTo>
                    <a:pt x="709769" y="188930"/>
                  </a:lnTo>
                  <a:lnTo>
                    <a:pt x="712040" y="140902"/>
                  </a:lnTo>
                  <a:lnTo>
                    <a:pt x="723887" y="119034"/>
                  </a:lnTo>
                  <a:lnTo>
                    <a:pt x="756532" y="130728"/>
                  </a:lnTo>
                  <a:lnTo>
                    <a:pt x="781216" y="168956"/>
                  </a:lnTo>
                  <a:lnTo>
                    <a:pt x="796101" y="220602"/>
                  </a:lnTo>
                  <a:lnTo>
                    <a:pt x="799350" y="272551"/>
                  </a:lnTo>
                  <a:lnTo>
                    <a:pt x="784259" y="309267"/>
                  </a:lnTo>
                  <a:lnTo>
                    <a:pt x="750045" y="335927"/>
                  </a:lnTo>
                  <a:lnTo>
                    <a:pt x="704789" y="354858"/>
                  </a:lnTo>
                  <a:lnTo>
                    <a:pt x="656575" y="368390"/>
                  </a:lnTo>
                  <a:lnTo>
                    <a:pt x="613486" y="378850"/>
                  </a:lnTo>
                  <a:lnTo>
                    <a:pt x="542345" y="393843"/>
                  </a:lnTo>
                  <a:lnTo>
                    <a:pt x="510042" y="400471"/>
                  </a:lnTo>
                  <a:lnTo>
                    <a:pt x="479539" y="408759"/>
                  </a:lnTo>
                  <a:lnTo>
                    <a:pt x="449470" y="429605"/>
                  </a:lnTo>
                  <a:lnTo>
                    <a:pt x="445766" y="456173"/>
                  </a:lnTo>
                  <a:lnTo>
                    <a:pt x="459822" y="479623"/>
                  </a:lnTo>
                  <a:lnTo>
                    <a:pt x="483031" y="491118"/>
                  </a:lnTo>
                  <a:lnTo>
                    <a:pt x="522774" y="491876"/>
                  </a:lnTo>
                  <a:lnTo>
                    <a:pt x="571184" y="487422"/>
                  </a:lnTo>
                  <a:lnTo>
                    <a:pt x="624814" y="478295"/>
                  </a:lnTo>
                  <a:lnTo>
                    <a:pt x="680213" y="465034"/>
                  </a:lnTo>
                  <a:lnTo>
                    <a:pt x="733933" y="448178"/>
                  </a:lnTo>
                  <a:lnTo>
                    <a:pt x="782523" y="428266"/>
                  </a:lnTo>
                  <a:lnTo>
                    <a:pt x="823112" y="404716"/>
                  </a:lnTo>
                  <a:lnTo>
                    <a:pt x="857845" y="374467"/>
                  </a:lnTo>
                  <a:lnTo>
                    <a:pt x="884775" y="337213"/>
                  </a:lnTo>
                  <a:lnTo>
                    <a:pt x="901954" y="292654"/>
                  </a:lnTo>
                  <a:lnTo>
                    <a:pt x="907436" y="240484"/>
                  </a:lnTo>
                  <a:lnTo>
                    <a:pt x="899274" y="180400"/>
                  </a:lnTo>
                  <a:lnTo>
                    <a:pt x="881624" y="126643"/>
                  </a:lnTo>
                  <a:lnTo>
                    <a:pt x="857515" y="82324"/>
                  </a:lnTo>
                  <a:lnTo>
                    <a:pt x="827457" y="47471"/>
                  </a:lnTo>
                  <a:lnTo>
                    <a:pt x="791960" y="22114"/>
                  </a:lnTo>
                  <a:lnTo>
                    <a:pt x="751533" y="6281"/>
                  </a:lnTo>
                  <a:lnTo>
                    <a:pt x="706689" y="0"/>
                  </a:lnTo>
                  <a:close/>
                </a:path>
              </a:pathLst>
            </a:custGeom>
            <a:solidFill>
              <a:srgbClr val="D1D3D4"/>
            </a:solidFill>
          </p:spPr>
          <p:txBody>
            <a:bodyPr wrap="square" lIns="0" tIns="0" rIns="0" bIns="0" rtlCol="0"/>
            <a:lstStyle/>
            <a:p>
              <a:endParaRPr sz="649"/>
            </a:p>
          </p:txBody>
        </p:sp>
        <p:sp>
          <p:nvSpPr>
            <p:cNvPr id="62" name="object 62"/>
            <p:cNvSpPr/>
            <p:nvPr/>
          </p:nvSpPr>
          <p:spPr>
            <a:xfrm>
              <a:off x="5384789" y="5479343"/>
              <a:ext cx="908050" cy="492125"/>
            </a:xfrm>
            <a:custGeom>
              <a:avLst/>
              <a:gdLst/>
              <a:ahLst/>
              <a:cxnLst/>
              <a:rect l="l" t="t" r="r" b="b"/>
              <a:pathLst>
                <a:path w="908050" h="492125">
                  <a:moveTo>
                    <a:pt x="0" y="199057"/>
                  </a:moveTo>
                  <a:lnTo>
                    <a:pt x="324955" y="94778"/>
                  </a:lnTo>
                  <a:lnTo>
                    <a:pt x="501808" y="39627"/>
                  </a:lnTo>
                  <a:lnTo>
                    <a:pt x="592241" y="15251"/>
                  </a:lnTo>
                  <a:lnTo>
                    <a:pt x="657936" y="3299"/>
                  </a:lnTo>
                  <a:lnTo>
                    <a:pt x="706689" y="0"/>
                  </a:lnTo>
                  <a:lnTo>
                    <a:pt x="751533" y="6281"/>
                  </a:lnTo>
                  <a:lnTo>
                    <a:pt x="791960" y="22114"/>
                  </a:lnTo>
                  <a:lnTo>
                    <a:pt x="827457" y="47471"/>
                  </a:lnTo>
                  <a:lnTo>
                    <a:pt x="857515" y="82324"/>
                  </a:lnTo>
                  <a:lnTo>
                    <a:pt x="881624" y="126643"/>
                  </a:lnTo>
                  <a:lnTo>
                    <a:pt x="899274" y="180400"/>
                  </a:lnTo>
                  <a:lnTo>
                    <a:pt x="907436" y="240484"/>
                  </a:lnTo>
                  <a:lnTo>
                    <a:pt x="901954" y="292654"/>
                  </a:lnTo>
                  <a:lnTo>
                    <a:pt x="884775" y="337213"/>
                  </a:lnTo>
                  <a:lnTo>
                    <a:pt x="857845" y="374467"/>
                  </a:lnTo>
                  <a:lnTo>
                    <a:pt x="823112" y="404716"/>
                  </a:lnTo>
                  <a:lnTo>
                    <a:pt x="782523" y="428266"/>
                  </a:lnTo>
                  <a:lnTo>
                    <a:pt x="733933" y="448178"/>
                  </a:lnTo>
                  <a:lnTo>
                    <a:pt x="680213" y="465034"/>
                  </a:lnTo>
                  <a:lnTo>
                    <a:pt x="624814" y="478295"/>
                  </a:lnTo>
                  <a:lnTo>
                    <a:pt x="571184" y="487422"/>
                  </a:lnTo>
                  <a:lnTo>
                    <a:pt x="522774" y="491876"/>
                  </a:lnTo>
                  <a:lnTo>
                    <a:pt x="483031" y="491118"/>
                  </a:lnTo>
                  <a:lnTo>
                    <a:pt x="445766" y="456173"/>
                  </a:lnTo>
                  <a:lnTo>
                    <a:pt x="479539" y="408759"/>
                  </a:lnTo>
                  <a:lnTo>
                    <a:pt x="542345" y="393843"/>
                  </a:lnTo>
                  <a:lnTo>
                    <a:pt x="576731" y="387196"/>
                  </a:lnTo>
                  <a:lnTo>
                    <a:pt x="613486" y="378850"/>
                  </a:lnTo>
                  <a:lnTo>
                    <a:pt x="656575" y="368390"/>
                  </a:lnTo>
                  <a:lnTo>
                    <a:pt x="704789" y="354858"/>
                  </a:lnTo>
                  <a:lnTo>
                    <a:pt x="750045" y="335927"/>
                  </a:lnTo>
                  <a:lnTo>
                    <a:pt x="784259" y="309267"/>
                  </a:lnTo>
                  <a:lnTo>
                    <a:pt x="799350" y="272551"/>
                  </a:lnTo>
                  <a:lnTo>
                    <a:pt x="796101" y="220602"/>
                  </a:lnTo>
                  <a:lnTo>
                    <a:pt x="781216" y="168956"/>
                  </a:lnTo>
                  <a:lnTo>
                    <a:pt x="756532" y="130728"/>
                  </a:lnTo>
                  <a:lnTo>
                    <a:pt x="723887" y="119034"/>
                  </a:lnTo>
                  <a:lnTo>
                    <a:pt x="712040" y="140902"/>
                  </a:lnTo>
                  <a:lnTo>
                    <a:pt x="709769" y="188930"/>
                  </a:lnTo>
                  <a:lnTo>
                    <a:pt x="710350" y="246103"/>
                  </a:lnTo>
                  <a:lnTo>
                    <a:pt x="707061" y="295405"/>
                  </a:lnTo>
                  <a:lnTo>
                    <a:pt x="693178" y="319821"/>
                  </a:lnTo>
                  <a:lnTo>
                    <a:pt x="581255" y="347452"/>
                  </a:lnTo>
                  <a:lnTo>
                    <a:pt x="369820" y="398012"/>
                  </a:lnTo>
                  <a:lnTo>
                    <a:pt x="165076" y="446605"/>
                  </a:lnTo>
                  <a:lnTo>
                    <a:pt x="73228" y="468335"/>
                  </a:lnTo>
                </a:path>
              </a:pathLst>
            </a:custGeom>
            <a:ln w="25400">
              <a:solidFill>
                <a:srgbClr val="231F20"/>
              </a:solidFill>
            </a:ln>
          </p:spPr>
          <p:txBody>
            <a:bodyPr wrap="square" lIns="0" tIns="0" rIns="0" bIns="0" rtlCol="0"/>
            <a:lstStyle/>
            <a:p>
              <a:endParaRPr sz="649"/>
            </a:p>
          </p:txBody>
        </p:sp>
        <p:sp>
          <p:nvSpPr>
            <p:cNvPr id="63" name="object 63"/>
            <p:cNvSpPr/>
            <p:nvPr/>
          </p:nvSpPr>
          <p:spPr>
            <a:xfrm>
              <a:off x="4905166" y="4513481"/>
              <a:ext cx="607695" cy="1444625"/>
            </a:xfrm>
            <a:custGeom>
              <a:avLst/>
              <a:gdLst/>
              <a:ahLst/>
              <a:cxnLst/>
              <a:rect l="l" t="t" r="r" b="b"/>
              <a:pathLst>
                <a:path w="607695" h="1444625">
                  <a:moveTo>
                    <a:pt x="96102" y="0"/>
                  </a:moveTo>
                  <a:lnTo>
                    <a:pt x="44579" y="3398"/>
                  </a:lnTo>
                  <a:lnTo>
                    <a:pt x="7618" y="14798"/>
                  </a:lnTo>
                  <a:lnTo>
                    <a:pt x="398" y="31973"/>
                  </a:lnTo>
                  <a:lnTo>
                    <a:pt x="0" y="66833"/>
                  </a:lnTo>
                  <a:lnTo>
                    <a:pt x="5069" y="114838"/>
                  </a:lnTo>
                  <a:lnTo>
                    <a:pt x="14254" y="171450"/>
                  </a:lnTo>
                  <a:lnTo>
                    <a:pt x="26199" y="232131"/>
                  </a:lnTo>
                  <a:lnTo>
                    <a:pt x="39551" y="292342"/>
                  </a:lnTo>
                  <a:lnTo>
                    <a:pt x="52956" y="347544"/>
                  </a:lnTo>
                  <a:lnTo>
                    <a:pt x="65060" y="393199"/>
                  </a:lnTo>
                  <a:lnTo>
                    <a:pt x="88991" y="465197"/>
                  </a:lnTo>
                  <a:lnTo>
                    <a:pt x="155615" y="644344"/>
                  </a:lnTo>
                  <a:lnTo>
                    <a:pt x="300828" y="1029045"/>
                  </a:lnTo>
                  <a:lnTo>
                    <a:pt x="389805" y="1261925"/>
                  </a:lnTo>
                  <a:lnTo>
                    <a:pt x="422168" y="1345342"/>
                  </a:lnTo>
                  <a:lnTo>
                    <a:pt x="442102" y="1395212"/>
                  </a:lnTo>
                  <a:lnTo>
                    <a:pt x="476236" y="1439679"/>
                  </a:lnTo>
                  <a:lnTo>
                    <a:pt x="505855" y="1444031"/>
                  </a:lnTo>
                  <a:lnTo>
                    <a:pt x="553782" y="1432994"/>
                  </a:lnTo>
                  <a:lnTo>
                    <a:pt x="571041" y="1426558"/>
                  </a:lnTo>
                  <a:lnTo>
                    <a:pt x="589651" y="1416386"/>
                  </a:lnTo>
                  <a:lnTo>
                    <a:pt x="603754" y="1401094"/>
                  </a:lnTo>
                  <a:lnTo>
                    <a:pt x="607490" y="1379299"/>
                  </a:lnTo>
                  <a:lnTo>
                    <a:pt x="605117" y="1356550"/>
                  </a:lnTo>
                  <a:lnTo>
                    <a:pt x="596627" y="1264184"/>
                  </a:lnTo>
                  <a:lnTo>
                    <a:pt x="590700" y="1203178"/>
                  </a:lnTo>
                  <a:lnTo>
                    <a:pt x="583778" y="1138029"/>
                  </a:lnTo>
                  <a:lnTo>
                    <a:pt x="575957" y="1073044"/>
                  </a:lnTo>
                  <a:lnTo>
                    <a:pt x="567330" y="1012528"/>
                  </a:lnTo>
                  <a:lnTo>
                    <a:pt x="557993" y="960787"/>
                  </a:lnTo>
                  <a:lnTo>
                    <a:pt x="548041" y="922124"/>
                  </a:lnTo>
                  <a:lnTo>
                    <a:pt x="514892" y="843894"/>
                  </a:lnTo>
                  <a:lnTo>
                    <a:pt x="489841" y="792068"/>
                  </a:lnTo>
                  <a:lnTo>
                    <a:pt x="461429" y="735801"/>
                  </a:lnTo>
                  <a:lnTo>
                    <a:pt x="431376" y="678119"/>
                  </a:lnTo>
                  <a:lnTo>
                    <a:pt x="401400" y="622048"/>
                  </a:lnTo>
                  <a:lnTo>
                    <a:pt x="373219" y="570614"/>
                  </a:lnTo>
                  <a:lnTo>
                    <a:pt x="348553" y="526842"/>
                  </a:lnTo>
                  <a:lnTo>
                    <a:pt x="329118" y="493757"/>
                  </a:lnTo>
                  <a:lnTo>
                    <a:pt x="288285" y="445378"/>
                  </a:lnTo>
                  <a:lnTo>
                    <a:pt x="253343" y="418957"/>
                  </a:lnTo>
                  <a:lnTo>
                    <a:pt x="211149" y="392293"/>
                  </a:lnTo>
                  <a:lnTo>
                    <a:pt x="229605" y="346490"/>
                  </a:lnTo>
                  <a:lnTo>
                    <a:pt x="247719" y="297145"/>
                  </a:lnTo>
                  <a:lnTo>
                    <a:pt x="266474" y="222931"/>
                  </a:lnTo>
                  <a:lnTo>
                    <a:pt x="269439" y="175577"/>
                  </a:lnTo>
                  <a:lnTo>
                    <a:pt x="263744" y="130087"/>
                  </a:lnTo>
                  <a:lnTo>
                    <a:pt x="248502" y="87780"/>
                  </a:lnTo>
                  <a:lnTo>
                    <a:pt x="222825" y="49973"/>
                  </a:lnTo>
                  <a:lnTo>
                    <a:pt x="185825" y="17986"/>
                  </a:lnTo>
                  <a:lnTo>
                    <a:pt x="147936" y="4797"/>
                  </a:lnTo>
                  <a:lnTo>
                    <a:pt x="96102" y="0"/>
                  </a:lnTo>
                  <a:close/>
                </a:path>
              </a:pathLst>
            </a:custGeom>
            <a:solidFill>
              <a:srgbClr val="D1D3D4"/>
            </a:solidFill>
          </p:spPr>
          <p:txBody>
            <a:bodyPr wrap="square" lIns="0" tIns="0" rIns="0" bIns="0" rtlCol="0"/>
            <a:lstStyle/>
            <a:p>
              <a:endParaRPr sz="649"/>
            </a:p>
          </p:txBody>
        </p:sp>
        <p:sp>
          <p:nvSpPr>
            <p:cNvPr id="64" name="object 64"/>
            <p:cNvSpPr/>
            <p:nvPr/>
          </p:nvSpPr>
          <p:spPr>
            <a:xfrm>
              <a:off x="4905166" y="4513481"/>
              <a:ext cx="607695" cy="1444625"/>
            </a:xfrm>
            <a:custGeom>
              <a:avLst/>
              <a:gdLst/>
              <a:ahLst/>
              <a:cxnLst/>
              <a:rect l="l" t="t" r="r" b="b"/>
              <a:pathLst>
                <a:path w="607695" h="1444625">
                  <a:moveTo>
                    <a:pt x="211149" y="392293"/>
                  </a:moveTo>
                  <a:lnTo>
                    <a:pt x="229605" y="346490"/>
                  </a:lnTo>
                  <a:lnTo>
                    <a:pt x="247719" y="297145"/>
                  </a:lnTo>
                  <a:lnTo>
                    <a:pt x="266474" y="222931"/>
                  </a:lnTo>
                  <a:lnTo>
                    <a:pt x="269439" y="175577"/>
                  </a:lnTo>
                  <a:lnTo>
                    <a:pt x="263744" y="130087"/>
                  </a:lnTo>
                  <a:lnTo>
                    <a:pt x="248502" y="87780"/>
                  </a:lnTo>
                  <a:lnTo>
                    <a:pt x="222825" y="49973"/>
                  </a:lnTo>
                  <a:lnTo>
                    <a:pt x="185825" y="17986"/>
                  </a:lnTo>
                  <a:lnTo>
                    <a:pt x="147936" y="4797"/>
                  </a:lnTo>
                  <a:lnTo>
                    <a:pt x="96102" y="0"/>
                  </a:lnTo>
                  <a:lnTo>
                    <a:pt x="44579" y="3398"/>
                  </a:lnTo>
                  <a:lnTo>
                    <a:pt x="7618" y="14798"/>
                  </a:lnTo>
                  <a:lnTo>
                    <a:pt x="398" y="31973"/>
                  </a:lnTo>
                  <a:lnTo>
                    <a:pt x="0" y="66833"/>
                  </a:lnTo>
                  <a:lnTo>
                    <a:pt x="5069" y="114838"/>
                  </a:lnTo>
                  <a:lnTo>
                    <a:pt x="14254" y="171450"/>
                  </a:lnTo>
                  <a:lnTo>
                    <a:pt x="26199" y="232131"/>
                  </a:lnTo>
                  <a:lnTo>
                    <a:pt x="39551" y="292342"/>
                  </a:lnTo>
                  <a:lnTo>
                    <a:pt x="52956" y="347544"/>
                  </a:lnTo>
                  <a:lnTo>
                    <a:pt x="65060" y="393199"/>
                  </a:lnTo>
                  <a:lnTo>
                    <a:pt x="79841" y="439986"/>
                  </a:lnTo>
                  <a:lnTo>
                    <a:pt x="101550" y="499320"/>
                  </a:lnTo>
                  <a:lnTo>
                    <a:pt x="117112" y="541273"/>
                  </a:lnTo>
                  <a:lnTo>
                    <a:pt x="135270" y="589975"/>
                  </a:lnTo>
                  <a:lnTo>
                    <a:pt x="155615" y="644344"/>
                  </a:lnTo>
                  <a:lnTo>
                    <a:pt x="177741" y="703301"/>
                  </a:lnTo>
                  <a:lnTo>
                    <a:pt x="201241" y="765763"/>
                  </a:lnTo>
                  <a:lnTo>
                    <a:pt x="225707" y="830650"/>
                  </a:lnTo>
                  <a:lnTo>
                    <a:pt x="250732" y="896879"/>
                  </a:lnTo>
                  <a:lnTo>
                    <a:pt x="275908" y="963371"/>
                  </a:lnTo>
                  <a:lnTo>
                    <a:pt x="300828" y="1029045"/>
                  </a:lnTo>
                  <a:lnTo>
                    <a:pt x="325086" y="1092818"/>
                  </a:lnTo>
                  <a:lnTo>
                    <a:pt x="348272" y="1153610"/>
                  </a:lnTo>
                  <a:lnTo>
                    <a:pt x="369981" y="1210339"/>
                  </a:lnTo>
                  <a:lnTo>
                    <a:pt x="389805" y="1261925"/>
                  </a:lnTo>
                  <a:lnTo>
                    <a:pt x="407336" y="1307287"/>
                  </a:lnTo>
                  <a:lnTo>
                    <a:pt x="422168" y="1345342"/>
                  </a:lnTo>
                  <a:lnTo>
                    <a:pt x="442102" y="1395212"/>
                  </a:lnTo>
                  <a:lnTo>
                    <a:pt x="476236" y="1439679"/>
                  </a:lnTo>
                  <a:lnTo>
                    <a:pt x="505855" y="1444031"/>
                  </a:lnTo>
                  <a:lnTo>
                    <a:pt x="553782" y="1432994"/>
                  </a:lnTo>
                  <a:lnTo>
                    <a:pt x="571041" y="1426558"/>
                  </a:lnTo>
                  <a:lnTo>
                    <a:pt x="589651" y="1416386"/>
                  </a:lnTo>
                  <a:lnTo>
                    <a:pt x="603754" y="1401094"/>
                  </a:lnTo>
                  <a:lnTo>
                    <a:pt x="607490" y="1379299"/>
                  </a:lnTo>
                  <a:lnTo>
                    <a:pt x="605117" y="1356550"/>
                  </a:lnTo>
                  <a:lnTo>
                    <a:pt x="601464" y="1316743"/>
                  </a:lnTo>
                  <a:lnTo>
                    <a:pt x="596627" y="1264184"/>
                  </a:lnTo>
                  <a:lnTo>
                    <a:pt x="590700" y="1203178"/>
                  </a:lnTo>
                  <a:lnTo>
                    <a:pt x="583778" y="1138029"/>
                  </a:lnTo>
                  <a:lnTo>
                    <a:pt x="575957" y="1073044"/>
                  </a:lnTo>
                  <a:lnTo>
                    <a:pt x="567330" y="1012528"/>
                  </a:lnTo>
                  <a:lnTo>
                    <a:pt x="557993" y="960787"/>
                  </a:lnTo>
                  <a:lnTo>
                    <a:pt x="548041" y="922124"/>
                  </a:lnTo>
                  <a:lnTo>
                    <a:pt x="514892" y="843894"/>
                  </a:lnTo>
                  <a:lnTo>
                    <a:pt x="489841" y="792068"/>
                  </a:lnTo>
                  <a:lnTo>
                    <a:pt x="461429" y="735801"/>
                  </a:lnTo>
                  <a:lnTo>
                    <a:pt x="431376" y="678119"/>
                  </a:lnTo>
                  <a:lnTo>
                    <a:pt x="401400" y="622048"/>
                  </a:lnTo>
                  <a:lnTo>
                    <a:pt x="373219" y="570614"/>
                  </a:lnTo>
                  <a:lnTo>
                    <a:pt x="348553" y="526842"/>
                  </a:lnTo>
                  <a:lnTo>
                    <a:pt x="329118" y="493757"/>
                  </a:lnTo>
                  <a:lnTo>
                    <a:pt x="288285" y="445378"/>
                  </a:lnTo>
                  <a:lnTo>
                    <a:pt x="253343" y="418957"/>
                  </a:lnTo>
                  <a:lnTo>
                    <a:pt x="223675" y="399726"/>
                  </a:lnTo>
                  <a:lnTo>
                    <a:pt x="211149" y="392293"/>
                  </a:lnTo>
                  <a:close/>
                </a:path>
              </a:pathLst>
            </a:custGeom>
            <a:ln w="25400">
              <a:solidFill>
                <a:srgbClr val="231F20"/>
              </a:solidFill>
            </a:ln>
          </p:spPr>
          <p:txBody>
            <a:bodyPr wrap="square" lIns="0" tIns="0" rIns="0" bIns="0" rtlCol="0"/>
            <a:lstStyle/>
            <a:p>
              <a:endParaRPr sz="649"/>
            </a:p>
          </p:txBody>
        </p:sp>
        <p:sp>
          <p:nvSpPr>
            <p:cNvPr id="65" name="object 65"/>
            <p:cNvSpPr/>
            <p:nvPr/>
          </p:nvSpPr>
          <p:spPr>
            <a:xfrm>
              <a:off x="5158766" y="5331922"/>
              <a:ext cx="1094105" cy="665480"/>
            </a:xfrm>
            <a:custGeom>
              <a:avLst/>
              <a:gdLst/>
              <a:ahLst/>
              <a:cxnLst/>
              <a:rect l="l" t="t" r="r" b="b"/>
              <a:pathLst>
                <a:path w="1094104" h="665479">
                  <a:moveTo>
                    <a:pt x="682814" y="0"/>
                  </a:moveTo>
                  <a:lnTo>
                    <a:pt x="617887" y="417"/>
                  </a:lnTo>
                  <a:lnTo>
                    <a:pt x="549877" y="1476"/>
                  </a:lnTo>
                  <a:lnTo>
                    <a:pt x="480188" y="3135"/>
                  </a:lnTo>
                  <a:lnTo>
                    <a:pt x="410226" y="5355"/>
                  </a:lnTo>
                  <a:lnTo>
                    <a:pt x="341395" y="8096"/>
                  </a:lnTo>
                  <a:lnTo>
                    <a:pt x="275098" y="11320"/>
                  </a:lnTo>
                  <a:lnTo>
                    <a:pt x="212742" y="14985"/>
                  </a:lnTo>
                  <a:lnTo>
                    <a:pt x="155730" y="19052"/>
                  </a:lnTo>
                  <a:lnTo>
                    <a:pt x="105468" y="23481"/>
                  </a:lnTo>
                  <a:lnTo>
                    <a:pt x="63359" y="28234"/>
                  </a:lnTo>
                  <a:lnTo>
                    <a:pt x="9220" y="38548"/>
                  </a:lnTo>
                  <a:lnTo>
                    <a:pt x="0" y="44030"/>
                  </a:lnTo>
                  <a:lnTo>
                    <a:pt x="35" y="59488"/>
                  </a:lnTo>
                  <a:lnTo>
                    <a:pt x="18398" y="130511"/>
                  </a:lnTo>
                  <a:lnTo>
                    <a:pt x="34822" y="181212"/>
                  </a:lnTo>
                  <a:lnTo>
                    <a:pt x="54807" y="238794"/>
                  </a:lnTo>
                  <a:lnTo>
                    <a:pt x="77401" y="300826"/>
                  </a:lnTo>
                  <a:lnTo>
                    <a:pt x="101652" y="364876"/>
                  </a:lnTo>
                  <a:lnTo>
                    <a:pt x="126609" y="428511"/>
                  </a:lnTo>
                  <a:lnTo>
                    <a:pt x="151322" y="489297"/>
                  </a:lnTo>
                  <a:lnTo>
                    <a:pt x="174838" y="544804"/>
                  </a:lnTo>
                  <a:lnTo>
                    <a:pt x="196206" y="592598"/>
                  </a:lnTo>
                  <a:lnTo>
                    <a:pt x="214474" y="630246"/>
                  </a:lnTo>
                  <a:lnTo>
                    <a:pt x="237909" y="665377"/>
                  </a:lnTo>
                  <a:lnTo>
                    <a:pt x="249838" y="665120"/>
                  </a:lnTo>
                  <a:lnTo>
                    <a:pt x="310575" y="655894"/>
                  </a:lnTo>
                  <a:lnTo>
                    <a:pt x="356136" y="647571"/>
                  </a:lnTo>
                  <a:lnTo>
                    <a:pt x="409661" y="637206"/>
                  </a:lnTo>
                  <a:lnTo>
                    <a:pt x="469527" y="625121"/>
                  </a:lnTo>
                  <a:lnTo>
                    <a:pt x="534112" y="611639"/>
                  </a:lnTo>
                  <a:lnTo>
                    <a:pt x="601793" y="597084"/>
                  </a:lnTo>
                  <a:lnTo>
                    <a:pt x="670945" y="581779"/>
                  </a:lnTo>
                  <a:lnTo>
                    <a:pt x="739947" y="566047"/>
                  </a:lnTo>
                  <a:lnTo>
                    <a:pt x="807176" y="550211"/>
                  </a:lnTo>
                  <a:lnTo>
                    <a:pt x="871007" y="534594"/>
                  </a:lnTo>
                  <a:lnTo>
                    <a:pt x="929819" y="519520"/>
                  </a:lnTo>
                  <a:lnTo>
                    <a:pt x="981989" y="505310"/>
                  </a:lnTo>
                  <a:lnTo>
                    <a:pt x="1025893" y="492289"/>
                  </a:lnTo>
                  <a:lnTo>
                    <a:pt x="1082411" y="471104"/>
                  </a:lnTo>
                  <a:lnTo>
                    <a:pt x="1093683" y="438813"/>
                  </a:lnTo>
                  <a:lnTo>
                    <a:pt x="1088676" y="399116"/>
                  </a:lnTo>
                  <a:lnTo>
                    <a:pt x="1077836" y="348403"/>
                  </a:lnTo>
                  <a:lnTo>
                    <a:pt x="1062239" y="290581"/>
                  </a:lnTo>
                  <a:lnTo>
                    <a:pt x="1042960" y="229558"/>
                  </a:lnTo>
                  <a:lnTo>
                    <a:pt x="1021074" y="169240"/>
                  </a:lnTo>
                  <a:lnTo>
                    <a:pt x="997658" y="113535"/>
                  </a:lnTo>
                  <a:lnTo>
                    <a:pt x="973786" y="66350"/>
                  </a:lnTo>
                  <a:lnTo>
                    <a:pt x="950535" y="31592"/>
                  </a:lnTo>
                  <a:lnTo>
                    <a:pt x="912046" y="8909"/>
                  </a:lnTo>
                  <a:lnTo>
                    <a:pt x="845052" y="2987"/>
                  </a:lnTo>
                  <a:lnTo>
                    <a:pt x="797801" y="1244"/>
                  </a:lnTo>
                  <a:lnTo>
                    <a:pt x="743254" y="262"/>
                  </a:lnTo>
                  <a:lnTo>
                    <a:pt x="682814" y="0"/>
                  </a:lnTo>
                  <a:close/>
                </a:path>
              </a:pathLst>
            </a:custGeom>
            <a:solidFill>
              <a:srgbClr val="D1D3D4"/>
            </a:solidFill>
          </p:spPr>
          <p:txBody>
            <a:bodyPr wrap="square" lIns="0" tIns="0" rIns="0" bIns="0" rtlCol="0"/>
            <a:lstStyle/>
            <a:p>
              <a:endParaRPr sz="649"/>
            </a:p>
          </p:txBody>
        </p:sp>
        <p:sp>
          <p:nvSpPr>
            <p:cNvPr id="66" name="object 66"/>
            <p:cNvSpPr/>
            <p:nvPr/>
          </p:nvSpPr>
          <p:spPr>
            <a:xfrm>
              <a:off x="5158766" y="5331922"/>
              <a:ext cx="1094105" cy="665480"/>
            </a:xfrm>
            <a:custGeom>
              <a:avLst/>
              <a:gdLst/>
              <a:ahLst/>
              <a:cxnLst/>
              <a:rect l="l" t="t" r="r" b="b"/>
              <a:pathLst>
                <a:path w="1094104" h="665479">
                  <a:moveTo>
                    <a:pt x="1091780" y="463587"/>
                  </a:moveTo>
                  <a:lnTo>
                    <a:pt x="1088676" y="399116"/>
                  </a:lnTo>
                  <a:lnTo>
                    <a:pt x="1077836" y="348403"/>
                  </a:lnTo>
                  <a:lnTo>
                    <a:pt x="1062239" y="290581"/>
                  </a:lnTo>
                  <a:lnTo>
                    <a:pt x="1042960" y="229558"/>
                  </a:lnTo>
                  <a:lnTo>
                    <a:pt x="1021074" y="169240"/>
                  </a:lnTo>
                  <a:lnTo>
                    <a:pt x="997658" y="113535"/>
                  </a:lnTo>
                  <a:lnTo>
                    <a:pt x="973786" y="66350"/>
                  </a:lnTo>
                  <a:lnTo>
                    <a:pt x="950535" y="31592"/>
                  </a:lnTo>
                  <a:lnTo>
                    <a:pt x="912046" y="8909"/>
                  </a:lnTo>
                  <a:lnTo>
                    <a:pt x="845052" y="2987"/>
                  </a:lnTo>
                  <a:lnTo>
                    <a:pt x="797801" y="1244"/>
                  </a:lnTo>
                  <a:lnTo>
                    <a:pt x="743254" y="262"/>
                  </a:lnTo>
                  <a:lnTo>
                    <a:pt x="682814" y="0"/>
                  </a:lnTo>
                  <a:lnTo>
                    <a:pt x="617887" y="417"/>
                  </a:lnTo>
                  <a:lnTo>
                    <a:pt x="549877" y="1476"/>
                  </a:lnTo>
                  <a:lnTo>
                    <a:pt x="480188" y="3135"/>
                  </a:lnTo>
                  <a:lnTo>
                    <a:pt x="410226" y="5355"/>
                  </a:lnTo>
                  <a:lnTo>
                    <a:pt x="341395" y="8096"/>
                  </a:lnTo>
                  <a:lnTo>
                    <a:pt x="275098" y="11320"/>
                  </a:lnTo>
                  <a:lnTo>
                    <a:pt x="212742" y="14985"/>
                  </a:lnTo>
                  <a:lnTo>
                    <a:pt x="155730" y="19052"/>
                  </a:lnTo>
                  <a:lnTo>
                    <a:pt x="105468" y="23481"/>
                  </a:lnTo>
                  <a:lnTo>
                    <a:pt x="63359" y="28234"/>
                  </a:lnTo>
                  <a:lnTo>
                    <a:pt x="9220" y="38548"/>
                  </a:lnTo>
                  <a:lnTo>
                    <a:pt x="0" y="44030"/>
                  </a:lnTo>
                  <a:lnTo>
                    <a:pt x="35" y="59488"/>
                  </a:lnTo>
                  <a:lnTo>
                    <a:pt x="18398" y="130511"/>
                  </a:lnTo>
                  <a:lnTo>
                    <a:pt x="34822" y="181212"/>
                  </a:lnTo>
                  <a:lnTo>
                    <a:pt x="54807" y="238794"/>
                  </a:lnTo>
                  <a:lnTo>
                    <a:pt x="77401" y="300826"/>
                  </a:lnTo>
                  <a:lnTo>
                    <a:pt x="101652" y="364876"/>
                  </a:lnTo>
                  <a:lnTo>
                    <a:pt x="126609" y="428511"/>
                  </a:lnTo>
                  <a:lnTo>
                    <a:pt x="151322" y="489297"/>
                  </a:lnTo>
                  <a:lnTo>
                    <a:pt x="174838" y="544804"/>
                  </a:lnTo>
                  <a:lnTo>
                    <a:pt x="196206" y="592598"/>
                  </a:lnTo>
                  <a:lnTo>
                    <a:pt x="214474" y="630246"/>
                  </a:lnTo>
                  <a:lnTo>
                    <a:pt x="237909" y="665377"/>
                  </a:lnTo>
                  <a:lnTo>
                    <a:pt x="249838" y="665120"/>
                  </a:lnTo>
                  <a:lnTo>
                    <a:pt x="310575" y="655894"/>
                  </a:lnTo>
                  <a:lnTo>
                    <a:pt x="356136" y="647571"/>
                  </a:lnTo>
                  <a:lnTo>
                    <a:pt x="409661" y="637206"/>
                  </a:lnTo>
                  <a:lnTo>
                    <a:pt x="469527" y="625121"/>
                  </a:lnTo>
                  <a:lnTo>
                    <a:pt x="534112" y="611639"/>
                  </a:lnTo>
                  <a:lnTo>
                    <a:pt x="601793" y="597084"/>
                  </a:lnTo>
                  <a:lnTo>
                    <a:pt x="670945" y="581779"/>
                  </a:lnTo>
                  <a:lnTo>
                    <a:pt x="739947" y="566047"/>
                  </a:lnTo>
                  <a:lnTo>
                    <a:pt x="807176" y="550211"/>
                  </a:lnTo>
                  <a:lnTo>
                    <a:pt x="871007" y="534594"/>
                  </a:lnTo>
                  <a:lnTo>
                    <a:pt x="929819" y="519520"/>
                  </a:lnTo>
                  <a:lnTo>
                    <a:pt x="981989" y="505310"/>
                  </a:lnTo>
                  <a:lnTo>
                    <a:pt x="1025893" y="492289"/>
                  </a:lnTo>
                  <a:lnTo>
                    <a:pt x="1082411" y="471104"/>
                  </a:lnTo>
                  <a:lnTo>
                    <a:pt x="1091780" y="463587"/>
                  </a:lnTo>
                  <a:close/>
                </a:path>
              </a:pathLst>
            </a:custGeom>
            <a:ln w="25400">
              <a:solidFill>
                <a:srgbClr val="231F20"/>
              </a:solidFill>
            </a:ln>
          </p:spPr>
          <p:txBody>
            <a:bodyPr wrap="square" lIns="0" tIns="0" rIns="0" bIns="0" rtlCol="0"/>
            <a:lstStyle/>
            <a:p>
              <a:endParaRPr sz="649"/>
            </a:p>
          </p:txBody>
        </p:sp>
        <p:pic>
          <p:nvPicPr>
            <p:cNvPr id="67" name="object 67"/>
            <p:cNvPicPr/>
            <p:nvPr/>
          </p:nvPicPr>
          <p:blipFill>
            <a:blip r:embed="rId19" cstate="print"/>
            <a:stretch>
              <a:fillRect/>
            </a:stretch>
          </p:blipFill>
          <p:spPr>
            <a:xfrm>
              <a:off x="4464507" y="4877028"/>
              <a:ext cx="473075" cy="505536"/>
            </a:xfrm>
            <a:prstGeom prst="rect">
              <a:avLst/>
            </a:prstGeom>
          </p:spPr>
        </p:pic>
        <p:sp>
          <p:nvSpPr>
            <p:cNvPr id="68" name="object 68"/>
            <p:cNvSpPr/>
            <p:nvPr/>
          </p:nvSpPr>
          <p:spPr>
            <a:xfrm>
              <a:off x="4464495" y="4877033"/>
              <a:ext cx="473709" cy="506095"/>
            </a:xfrm>
            <a:custGeom>
              <a:avLst/>
              <a:gdLst/>
              <a:ahLst/>
              <a:cxnLst/>
              <a:rect l="l" t="t" r="r" b="b"/>
              <a:pathLst>
                <a:path w="473710" h="506095">
                  <a:moveTo>
                    <a:pt x="74180" y="405345"/>
                  </a:moveTo>
                  <a:lnTo>
                    <a:pt x="75376" y="355728"/>
                  </a:lnTo>
                  <a:lnTo>
                    <a:pt x="84268" y="308221"/>
                  </a:lnTo>
                  <a:lnTo>
                    <a:pt x="100265" y="263488"/>
                  </a:lnTo>
                  <a:lnTo>
                    <a:pt x="122775" y="222190"/>
                  </a:lnTo>
                  <a:lnTo>
                    <a:pt x="151207" y="184989"/>
                  </a:lnTo>
                  <a:lnTo>
                    <a:pt x="184969" y="152549"/>
                  </a:lnTo>
                  <a:lnTo>
                    <a:pt x="223469" y="125530"/>
                  </a:lnTo>
                  <a:lnTo>
                    <a:pt x="266115" y="104596"/>
                  </a:lnTo>
                  <a:lnTo>
                    <a:pt x="312316" y="90408"/>
                  </a:lnTo>
                  <a:lnTo>
                    <a:pt x="361480" y="83629"/>
                  </a:lnTo>
                  <a:lnTo>
                    <a:pt x="356755" y="0"/>
                  </a:lnTo>
                  <a:lnTo>
                    <a:pt x="473087" y="105257"/>
                  </a:lnTo>
                  <a:lnTo>
                    <a:pt x="371944" y="237553"/>
                  </a:lnTo>
                  <a:lnTo>
                    <a:pt x="365633" y="157149"/>
                  </a:lnTo>
                  <a:lnTo>
                    <a:pt x="319345" y="164470"/>
                  </a:lnTo>
                  <a:lnTo>
                    <a:pt x="276747" y="180377"/>
                  </a:lnTo>
                  <a:lnTo>
                    <a:pt x="238713" y="203890"/>
                  </a:lnTo>
                  <a:lnTo>
                    <a:pt x="206121" y="234027"/>
                  </a:lnTo>
                  <a:lnTo>
                    <a:pt x="179845" y="269807"/>
                  </a:lnTo>
                  <a:lnTo>
                    <a:pt x="160764" y="310249"/>
                  </a:lnTo>
                  <a:lnTo>
                    <a:pt x="149753" y="354371"/>
                  </a:lnTo>
                  <a:lnTo>
                    <a:pt x="147688" y="401193"/>
                  </a:lnTo>
                  <a:lnTo>
                    <a:pt x="220700" y="395312"/>
                  </a:lnTo>
                  <a:lnTo>
                    <a:pt x="116598" y="505523"/>
                  </a:lnTo>
                  <a:lnTo>
                    <a:pt x="0" y="406831"/>
                  </a:lnTo>
                  <a:lnTo>
                    <a:pt x="74180" y="405345"/>
                  </a:lnTo>
                  <a:close/>
                </a:path>
              </a:pathLst>
            </a:custGeom>
            <a:ln w="7620">
              <a:solidFill>
                <a:srgbClr val="E3873E"/>
              </a:solidFill>
            </a:ln>
          </p:spPr>
          <p:txBody>
            <a:bodyPr wrap="square" lIns="0" tIns="0" rIns="0" bIns="0" rtlCol="0"/>
            <a:lstStyle/>
            <a:p>
              <a:endParaRPr sz="649"/>
            </a:p>
          </p:txBody>
        </p:sp>
      </p:grpSp>
      <p:grpSp>
        <p:nvGrpSpPr>
          <p:cNvPr id="69" name="object 69"/>
          <p:cNvGrpSpPr/>
          <p:nvPr/>
        </p:nvGrpSpPr>
        <p:grpSpPr>
          <a:xfrm>
            <a:off x="3038158" y="1480431"/>
            <a:ext cx="1487004" cy="380382"/>
            <a:chOff x="590358" y="3076883"/>
            <a:chExt cx="3090545" cy="790575"/>
          </a:xfrm>
        </p:grpSpPr>
        <p:sp>
          <p:nvSpPr>
            <p:cNvPr id="70" name="object 70"/>
            <p:cNvSpPr/>
            <p:nvPr/>
          </p:nvSpPr>
          <p:spPr>
            <a:xfrm>
              <a:off x="590358" y="3156817"/>
              <a:ext cx="3090545" cy="662940"/>
            </a:xfrm>
            <a:custGeom>
              <a:avLst/>
              <a:gdLst/>
              <a:ahLst/>
              <a:cxnLst/>
              <a:rect l="l" t="t" r="r" b="b"/>
              <a:pathLst>
                <a:path w="3090545" h="662939">
                  <a:moveTo>
                    <a:pt x="2960522" y="0"/>
                  </a:moveTo>
                  <a:lnTo>
                    <a:pt x="129603" y="0"/>
                  </a:lnTo>
                  <a:lnTo>
                    <a:pt x="79279" y="10225"/>
                  </a:lnTo>
                  <a:lnTo>
                    <a:pt x="38069" y="38068"/>
                  </a:lnTo>
                  <a:lnTo>
                    <a:pt x="10226" y="79274"/>
                  </a:lnTo>
                  <a:lnTo>
                    <a:pt x="0" y="129590"/>
                  </a:lnTo>
                  <a:lnTo>
                    <a:pt x="0" y="532803"/>
                  </a:lnTo>
                  <a:lnTo>
                    <a:pt x="10226" y="583127"/>
                  </a:lnTo>
                  <a:lnTo>
                    <a:pt x="38069" y="624336"/>
                  </a:lnTo>
                  <a:lnTo>
                    <a:pt x="79279" y="652180"/>
                  </a:lnTo>
                  <a:lnTo>
                    <a:pt x="129603" y="662406"/>
                  </a:lnTo>
                  <a:lnTo>
                    <a:pt x="2960522" y="662406"/>
                  </a:lnTo>
                  <a:lnTo>
                    <a:pt x="3010846" y="652180"/>
                  </a:lnTo>
                  <a:lnTo>
                    <a:pt x="3052056" y="624336"/>
                  </a:lnTo>
                  <a:lnTo>
                    <a:pt x="3079899" y="583127"/>
                  </a:lnTo>
                  <a:lnTo>
                    <a:pt x="3090125" y="532803"/>
                  </a:lnTo>
                  <a:lnTo>
                    <a:pt x="3090125" y="129590"/>
                  </a:lnTo>
                  <a:lnTo>
                    <a:pt x="3079899" y="79274"/>
                  </a:lnTo>
                  <a:lnTo>
                    <a:pt x="3052056" y="38068"/>
                  </a:lnTo>
                  <a:lnTo>
                    <a:pt x="3010846" y="10225"/>
                  </a:lnTo>
                  <a:lnTo>
                    <a:pt x="2960522" y="0"/>
                  </a:lnTo>
                  <a:close/>
                </a:path>
              </a:pathLst>
            </a:custGeom>
            <a:solidFill>
              <a:srgbClr val="E2E3E4"/>
            </a:solidFill>
          </p:spPr>
          <p:txBody>
            <a:bodyPr wrap="square" lIns="0" tIns="0" rIns="0" bIns="0" rtlCol="0"/>
            <a:lstStyle/>
            <a:p>
              <a:endParaRPr sz="649"/>
            </a:p>
          </p:txBody>
        </p:sp>
        <p:pic>
          <p:nvPicPr>
            <p:cNvPr id="71" name="object 71"/>
            <p:cNvPicPr/>
            <p:nvPr/>
          </p:nvPicPr>
          <p:blipFill>
            <a:blip r:embed="rId20" cstate="print"/>
            <a:stretch>
              <a:fillRect/>
            </a:stretch>
          </p:blipFill>
          <p:spPr>
            <a:xfrm>
              <a:off x="1834657" y="3441392"/>
              <a:ext cx="89014" cy="84264"/>
            </a:xfrm>
            <a:prstGeom prst="rect">
              <a:avLst/>
            </a:prstGeom>
          </p:spPr>
        </p:pic>
        <p:pic>
          <p:nvPicPr>
            <p:cNvPr id="72" name="object 72"/>
            <p:cNvPicPr/>
            <p:nvPr/>
          </p:nvPicPr>
          <p:blipFill>
            <a:blip r:embed="rId21" cstate="print"/>
            <a:stretch>
              <a:fillRect/>
            </a:stretch>
          </p:blipFill>
          <p:spPr>
            <a:xfrm>
              <a:off x="1517350" y="3441421"/>
              <a:ext cx="88709" cy="84810"/>
            </a:xfrm>
            <a:prstGeom prst="rect">
              <a:avLst/>
            </a:prstGeom>
          </p:spPr>
        </p:pic>
        <p:sp>
          <p:nvSpPr>
            <p:cNvPr id="73" name="object 73"/>
            <p:cNvSpPr/>
            <p:nvPr/>
          </p:nvSpPr>
          <p:spPr>
            <a:xfrm>
              <a:off x="1402194" y="3326294"/>
              <a:ext cx="636905" cy="314325"/>
            </a:xfrm>
            <a:custGeom>
              <a:avLst/>
              <a:gdLst/>
              <a:ahLst/>
              <a:cxnLst/>
              <a:rect l="l" t="t" r="r" b="b"/>
              <a:pathLst>
                <a:path w="636905" h="314325">
                  <a:moveTo>
                    <a:pt x="593090" y="72504"/>
                  </a:moveTo>
                  <a:lnTo>
                    <a:pt x="590753" y="61226"/>
                  </a:lnTo>
                  <a:lnTo>
                    <a:pt x="585470" y="53479"/>
                  </a:lnTo>
                  <a:lnTo>
                    <a:pt x="585470" y="72504"/>
                  </a:lnTo>
                  <a:lnTo>
                    <a:pt x="585470" y="241452"/>
                  </a:lnTo>
                  <a:lnTo>
                    <a:pt x="583742" y="249796"/>
                  </a:lnTo>
                  <a:lnTo>
                    <a:pt x="579043" y="256705"/>
                  </a:lnTo>
                  <a:lnTo>
                    <a:pt x="572135" y="261391"/>
                  </a:lnTo>
                  <a:lnTo>
                    <a:pt x="563778" y="263131"/>
                  </a:lnTo>
                  <a:lnTo>
                    <a:pt x="72491" y="263131"/>
                  </a:lnTo>
                  <a:lnTo>
                    <a:pt x="64147" y="261391"/>
                  </a:lnTo>
                  <a:lnTo>
                    <a:pt x="57251" y="256705"/>
                  </a:lnTo>
                  <a:lnTo>
                    <a:pt x="52539" y="249796"/>
                  </a:lnTo>
                  <a:lnTo>
                    <a:pt x="50800" y="241452"/>
                  </a:lnTo>
                  <a:lnTo>
                    <a:pt x="50800" y="72504"/>
                  </a:lnTo>
                  <a:lnTo>
                    <a:pt x="52539" y="64160"/>
                  </a:lnTo>
                  <a:lnTo>
                    <a:pt x="57251" y="57251"/>
                  </a:lnTo>
                  <a:lnTo>
                    <a:pt x="64147" y="52552"/>
                  </a:lnTo>
                  <a:lnTo>
                    <a:pt x="72491" y="50825"/>
                  </a:lnTo>
                  <a:lnTo>
                    <a:pt x="563778" y="50825"/>
                  </a:lnTo>
                  <a:lnTo>
                    <a:pt x="572135" y="52552"/>
                  </a:lnTo>
                  <a:lnTo>
                    <a:pt x="579043" y="57251"/>
                  </a:lnTo>
                  <a:lnTo>
                    <a:pt x="583742" y="64160"/>
                  </a:lnTo>
                  <a:lnTo>
                    <a:pt x="585470" y="72504"/>
                  </a:lnTo>
                  <a:lnTo>
                    <a:pt x="585470" y="53479"/>
                  </a:lnTo>
                  <a:lnTo>
                    <a:pt x="584403" y="51904"/>
                  </a:lnTo>
                  <a:lnTo>
                    <a:pt x="582815" y="50825"/>
                  </a:lnTo>
                  <a:lnTo>
                    <a:pt x="575068" y="45542"/>
                  </a:lnTo>
                  <a:lnTo>
                    <a:pt x="563778" y="43205"/>
                  </a:lnTo>
                  <a:lnTo>
                    <a:pt x="72491" y="43205"/>
                  </a:lnTo>
                  <a:lnTo>
                    <a:pt x="61226" y="45542"/>
                  </a:lnTo>
                  <a:lnTo>
                    <a:pt x="51892" y="51904"/>
                  </a:lnTo>
                  <a:lnTo>
                    <a:pt x="45542" y="61226"/>
                  </a:lnTo>
                  <a:lnTo>
                    <a:pt x="43192" y="72504"/>
                  </a:lnTo>
                  <a:lnTo>
                    <a:pt x="43192" y="241452"/>
                  </a:lnTo>
                  <a:lnTo>
                    <a:pt x="45542" y="252730"/>
                  </a:lnTo>
                  <a:lnTo>
                    <a:pt x="51892" y="262051"/>
                  </a:lnTo>
                  <a:lnTo>
                    <a:pt x="61226" y="268401"/>
                  </a:lnTo>
                  <a:lnTo>
                    <a:pt x="72491" y="270751"/>
                  </a:lnTo>
                  <a:lnTo>
                    <a:pt x="563778" y="270751"/>
                  </a:lnTo>
                  <a:lnTo>
                    <a:pt x="575068" y="268401"/>
                  </a:lnTo>
                  <a:lnTo>
                    <a:pt x="582815" y="263131"/>
                  </a:lnTo>
                  <a:lnTo>
                    <a:pt x="584403" y="262051"/>
                  </a:lnTo>
                  <a:lnTo>
                    <a:pt x="590753" y="252730"/>
                  </a:lnTo>
                  <a:lnTo>
                    <a:pt x="593090" y="241452"/>
                  </a:lnTo>
                  <a:lnTo>
                    <a:pt x="593090" y="72504"/>
                  </a:lnTo>
                  <a:close/>
                </a:path>
                <a:path w="636905" h="314325">
                  <a:moveTo>
                    <a:pt x="636282" y="72491"/>
                  </a:moveTo>
                  <a:lnTo>
                    <a:pt x="630580" y="44297"/>
                  </a:lnTo>
                  <a:lnTo>
                    <a:pt x="628662" y="41465"/>
                  </a:lnTo>
                  <a:lnTo>
                    <a:pt x="628662" y="72491"/>
                  </a:lnTo>
                  <a:lnTo>
                    <a:pt x="628662" y="241452"/>
                  </a:lnTo>
                  <a:lnTo>
                    <a:pt x="623557" y="266687"/>
                  </a:lnTo>
                  <a:lnTo>
                    <a:pt x="609638" y="287312"/>
                  </a:lnTo>
                  <a:lnTo>
                    <a:pt x="589013" y="301231"/>
                  </a:lnTo>
                  <a:lnTo>
                    <a:pt x="563778" y="306336"/>
                  </a:lnTo>
                  <a:lnTo>
                    <a:pt x="72491" y="306336"/>
                  </a:lnTo>
                  <a:lnTo>
                    <a:pt x="47269" y="301231"/>
                  </a:lnTo>
                  <a:lnTo>
                    <a:pt x="26644" y="287312"/>
                  </a:lnTo>
                  <a:lnTo>
                    <a:pt x="12725" y="266687"/>
                  </a:lnTo>
                  <a:lnTo>
                    <a:pt x="7607" y="241452"/>
                  </a:lnTo>
                  <a:lnTo>
                    <a:pt x="7607" y="72491"/>
                  </a:lnTo>
                  <a:lnTo>
                    <a:pt x="12725" y="47269"/>
                  </a:lnTo>
                  <a:lnTo>
                    <a:pt x="26644" y="26644"/>
                  </a:lnTo>
                  <a:lnTo>
                    <a:pt x="47269" y="12725"/>
                  </a:lnTo>
                  <a:lnTo>
                    <a:pt x="72491" y="7620"/>
                  </a:lnTo>
                  <a:lnTo>
                    <a:pt x="563778" y="7620"/>
                  </a:lnTo>
                  <a:lnTo>
                    <a:pt x="589013" y="12725"/>
                  </a:lnTo>
                  <a:lnTo>
                    <a:pt x="609638" y="26644"/>
                  </a:lnTo>
                  <a:lnTo>
                    <a:pt x="623557" y="47269"/>
                  </a:lnTo>
                  <a:lnTo>
                    <a:pt x="628662" y="72491"/>
                  </a:lnTo>
                  <a:lnTo>
                    <a:pt x="628662" y="41465"/>
                  </a:lnTo>
                  <a:lnTo>
                    <a:pt x="615022" y="21259"/>
                  </a:lnTo>
                  <a:lnTo>
                    <a:pt x="594817" y="7620"/>
                  </a:lnTo>
                  <a:lnTo>
                    <a:pt x="591972" y="5702"/>
                  </a:lnTo>
                  <a:lnTo>
                    <a:pt x="563778" y="0"/>
                  </a:lnTo>
                  <a:lnTo>
                    <a:pt x="72491" y="0"/>
                  </a:lnTo>
                  <a:lnTo>
                    <a:pt x="44297" y="5702"/>
                  </a:lnTo>
                  <a:lnTo>
                    <a:pt x="21259" y="21259"/>
                  </a:lnTo>
                  <a:lnTo>
                    <a:pt x="5715" y="44297"/>
                  </a:lnTo>
                  <a:lnTo>
                    <a:pt x="0" y="72491"/>
                  </a:lnTo>
                  <a:lnTo>
                    <a:pt x="0" y="241452"/>
                  </a:lnTo>
                  <a:lnTo>
                    <a:pt x="5715" y="269646"/>
                  </a:lnTo>
                  <a:lnTo>
                    <a:pt x="21259" y="292696"/>
                  </a:lnTo>
                  <a:lnTo>
                    <a:pt x="44297" y="308254"/>
                  </a:lnTo>
                  <a:lnTo>
                    <a:pt x="72491" y="313956"/>
                  </a:lnTo>
                  <a:lnTo>
                    <a:pt x="563778" y="313956"/>
                  </a:lnTo>
                  <a:lnTo>
                    <a:pt x="615022" y="292696"/>
                  </a:lnTo>
                  <a:lnTo>
                    <a:pt x="636282" y="241452"/>
                  </a:lnTo>
                  <a:lnTo>
                    <a:pt x="636282" y="72491"/>
                  </a:lnTo>
                  <a:close/>
                </a:path>
              </a:pathLst>
            </a:custGeom>
            <a:solidFill>
              <a:srgbClr val="020303"/>
            </a:solidFill>
          </p:spPr>
          <p:txBody>
            <a:bodyPr wrap="square" lIns="0" tIns="0" rIns="0" bIns="0" rtlCol="0"/>
            <a:lstStyle/>
            <a:p>
              <a:endParaRPr sz="649"/>
            </a:p>
          </p:txBody>
        </p:sp>
        <p:pic>
          <p:nvPicPr>
            <p:cNvPr id="74" name="object 74"/>
            <p:cNvPicPr/>
            <p:nvPr/>
          </p:nvPicPr>
          <p:blipFill>
            <a:blip r:embed="rId22" cstate="print"/>
            <a:stretch>
              <a:fillRect/>
            </a:stretch>
          </p:blipFill>
          <p:spPr>
            <a:xfrm>
              <a:off x="2537362" y="3441392"/>
              <a:ext cx="89014" cy="84264"/>
            </a:xfrm>
            <a:prstGeom prst="rect">
              <a:avLst/>
            </a:prstGeom>
          </p:spPr>
        </p:pic>
        <p:pic>
          <p:nvPicPr>
            <p:cNvPr id="75" name="object 75"/>
            <p:cNvPicPr/>
            <p:nvPr/>
          </p:nvPicPr>
          <p:blipFill>
            <a:blip r:embed="rId23" cstate="print"/>
            <a:stretch>
              <a:fillRect/>
            </a:stretch>
          </p:blipFill>
          <p:spPr>
            <a:xfrm>
              <a:off x="2220041" y="3441421"/>
              <a:ext cx="88722" cy="84810"/>
            </a:xfrm>
            <a:prstGeom prst="rect">
              <a:avLst/>
            </a:prstGeom>
          </p:spPr>
        </p:pic>
        <p:sp>
          <p:nvSpPr>
            <p:cNvPr id="76" name="object 76"/>
            <p:cNvSpPr/>
            <p:nvPr/>
          </p:nvSpPr>
          <p:spPr>
            <a:xfrm>
              <a:off x="2104898" y="3326294"/>
              <a:ext cx="636905" cy="314325"/>
            </a:xfrm>
            <a:custGeom>
              <a:avLst/>
              <a:gdLst/>
              <a:ahLst/>
              <a:cxnLst/>
              <a:rect l="l" t="t" r="r" b="b"/>
              <a:pathLst>
                <a:path w="636905" h="314325">
                  <a:moveTo>
                    <a:pt x="593102" y="72504"/>
                  </a:moveTo>
                  <a:lnTo>
                    <a:pt x="590753" y="61226"/>
                  </a:lnTo>
                  <a:lnTo>
                    <a:pt x="585482" y="53492"/>
                  </a:lnTo>
                  <a:lnTo>
                    <a:pt x="585482" y="72504"/>
                  </a:lnTo>
                  <a:lnTo>
                    <a:pt x="585482" y="241452"/>
                  </a:lnTo>
                  <a:lnTo>
                    <a:pt x="583742" y="249796"/>
                  </a:lnTo>
                  <a:lnTo>
                    <a:pt x="579043" y="256705"/>
                  </a:lnTo>
                  <a:lnTo>
                    <a:pt x="572135" y="261391"/>
                  </a:lnTo>
                  <a:lnTo>
                    <a:pt x="563791" y="263131"/>
                  </a:lnTo>
                  <a:lnTo>
                    <a:pt x="72504" y="263131"/>
                  </a:lnTo>
                  <a:lnTo>
                    <a:pt x="64147" y="261391"/>
                  </a:lnTo>
                  <a:lnTo>
                    <a:pt x="57251" y="256705"/>
                  </a:lnTo>
                  <a:lnTo>
                    <a:pt x="52539" y="249796"/>
                  </a:lnTo>
                  <a:lnTo>
                    <a:pt x="50812" y="241452"/>
                  </a:lnTo>
                  <a:lnTo>
                    <a:pt x="50812" y="72504"/>
                  </a:lnTo>
                  <a:lnTo>
                    <a:pt x="52539" y="64160"/>
                  </a:lnTo>
                  <a:lnTo>
                    <a:pt x="57251" y="57251"/>
                  </a:lnTo>
                  <a:lnTo>
                    <a:pt x="64147" y="52552"/>
                  </a:lnTo>
                  <a:lnTo>
                    <a:pt x="72504" y="50825"/>
                  </a:lnTo>
                  <a:lnTo>
                    <a:pt x="563791" y="50825"/>
                  </a:lnTo>
                  <a:lnTo>
                    <a:pt x="572135" y="52552"/>
                  </a:lnTo>
                  <a:lnTo>
                    <a:pt x="579043" y="57251"/>
                  </a:lnTo>
                  <a:lnTo>
                    <a:pt x="583742" y="64160"/>
                  </a:lnTo>
                  <a:lnTo>
                    <a:pt x="585482" y="72504"/>
                  </a:lnTo>
                  <a:lnTo>
                    <a:pt x="585482" y="53492"/>
                  </a:lnTo>
                  <a:lnTo>
                    <a:pt x="584403" y="51904"/>
                  </a:lnTo>
                  <a:lnTo>
                    <a:pt x="582815" y="50825"/>
                  </a:lnTo>
                  <a:lnTo>
                    <a:pt x="575068" y="45542"/>
                  </a:lnTo>
                  <a:lnTo>
                    <a:pt x="563791" y="43205"/>
                  </a:lnTo>
                  <a:lnTo>
                    <a:pt x="72504" y="43205"/>
                  </a:lnTo>
                  <a:lnTo>
                    <a:pt x="61226" y="45542"/>
                  </a:lnTo>
                  <a:lnTo>
                    <a:pt x="51892" y="51904"/>
                  </a:lnTo>
                  <a:lnTo>
                    <a:pt x="45529" y="61226"/>
                  </a:lnTo>
                  <a:lnTo>
                    <a:pt x="43192" y="72504"/>
                  </a:lnTo>
                  <a:lnTo>
                    <a:pt x="43192" y="241452"/>
                  </a:lnTo>
                  <a:lnTo>
                    <a:pt x="45529" y="252730"/>
                  </a:lnTo>
                  <a:lnTo>
                    <a:pt x="51892" y="262051"/>
                  </a:lnTo>
                  <a:lnTo>
                    <a:pt x="61226" y="268401"/>
                  </a:lnTo>
                  <a:lnTo>
                    <a:pt x="72504" y="270751"/>
                  </a:lnTo>
                  <a:lnTo>
                    <a:pt x="563791" y="270751"/>
                  </a:lnTo>
                  <a:lnTo>
                    <a:pt x="593102" y="241452"/>
                  </a:lnTo>
                  <a:lnTo>
                    <a:pt x="593102" y="72504"/>
                  </a:lnTo>
                  <a:close/>
                </a:path>
                <a:path w="636905" h="314325">
                  <a:moveTo>
                    <a:pt x="636295" y="72491"/>
                  </a:moveTo>
                  <a:lnTo>
                    <a:pt x="630580" y="44297"/>
                  </a:lnTo>
                  <a:lnTo>
                    <a:pt x="628662" y="41465"/>
                  </a:lnTo>
                  <a:lnTo>
                    <a:pt x="628662" y="72491"/>
                  </a:lnTo>
                  <a:lnTo>
                    <a:pt x="628662" y="241452"/>
                  </a:lnTo>
                  <a:lnTo>
                    <a:pt x="623557" y="266687"/>
                  </a:lnTo>
                  <a:lnTo>
                    <a:pt x="609638" y="287312"/>
                  </a:lnTo>
                  <a:lnTo>
                    <a:pt x="589013" y="301231"/>
                  </a:lnTo>
                  <a:lnTo>
                    <a:pt x="563791" y="306336"/>
                  </a:lnTo>
                  <a:lnTo>
                    <a:pt x="72504" y="306336"/>
                  </a:lnTo>
                  <a:lnTo>
                    <a:pt x="47269" y="301231"/>
                  </a:lnTo>
                  <a:lnTo>
                    <a:pt x="26644" y="287312"/>
                  </a:lnTo>
                  <a:lnTo>
                    <a:pt x="12725" y="266687"/>
                  </a:lnTo>
                  <a:lnTo>
                    <a:pt x="7620" y="241452"/>
                  </a:lnTo>
                  <a:lnTo>
                    <a:pt x="7620" y="72491"/>
                  </a:lnTo>
                  <a:lnTo>
                    <a:pt x="12725" y="47269"/>
                  </a:lnTo>
                  <a:lnTo>
                    <a:pt x="26644" y="26644"/>
                  </a:lnTo>
                  <a:lnTo>
                    <a:pt x="47269" y="12725"/>
                  </a:lnTo>
                  <a:lnTo>
                    <a:pt x="72504" y="7620"/>
                  </a:lnTo>
                  <a:lnTo>
                    <a:pt x="563791" y="7620"/>
                  </a:lnTo>
                  <a:lnTo>
                    <a:pt x="589013" y="12725"/>
                  </a:lnTo>
                  <a:lnTo>
                    <a:pt x="609638" y="26644"/>
                  </a:lnTo>
                  <a:lnTo>
                    <a:pt x="623557" y="47269"/>
                  </a:lnTo>
                  <a:lnTo>
                    <a:pt x="628662" y="72491"/>
                  </a:lnTo>
                  <a:lnTo>
                    <a:pt x="628662" y="41465"/>
                  </a:lnTo>
                  <a:lnTo>
                    <a:pt x="615035" y="21259"/>
                  </a:lnTo>
                  <a:lnTo>
                    <a:pt x="594817" y="7620"/>
                  </a:lnTo>
                  <a:lnTo>
                    <a:pt x="591985" y="5702"/>
                  </a:lnTo>
                  <a:lnTo>
                    <a:pt x="563791" y="0"/>
                  </a:lnTo>
                  <a:lnTo>
                    <a:pt x="72504" y="0"/>
                  </a:lnTo>
                  <a:lnTo>
                    <a:pt x="44297" y="5702"/>
                  </a:lnTo>
                  <a:lnTo>
                    <a:pt x="21259" y="21259"/>
                  </a:lnTo>
                  <a:lnTo>
                    <a:pt x="5702" y="44297"/>
                  </a:lnTo>
                  <a:lnTo>
                    <a:pt x="0" y="72491"/>
                  </a:lnTo>
                  <a:lnTo>
                    <a:pt x="0" y="241452"/>
                  </a:lnTo>
                  <a:lnTo>
                    <a:pt x="5702" y="269646"/>
                  </a:lnTo>
                  <a:lnTo>
                    <a:pt x="21259" y="292696"/>
                  </a:lnTo>
                  <a:lnTo>
                    <a:pt x="44297" y="308254"/>
                  </a:lnTo>
                  <a:lnTo>
                    <a:pt x="72504" y="313956"/>
                  </a:lnTo>
                  <a:lnTo>
                    <a:pt x="563791" y="313956"/>
                  </a:lnTo>
                  <a:lnTo>
                    <a:pt x="591985" y="308254"/>
                  </a:lnTo>
                  <a:lnTo>
                    <a:pt x="594817" y="306336"/>
                  </a:lnTo>
                  <a:lnTo>
                    <a:pt x="615035" y="292696"/>
                  </a:lnTo>
                  <a:lnTo>
                    <a:pt x="630580" y="269646"/>
                  </a:lnTo>
                  <a:lnTo>
                    <a:pt x="636295" y="241452"/>
                  </a:lnTo>
                  <a:lnTo>
                    <a:pt x="636295" y="72491"/>
                  </a:lnTo>
                  <a:close/>
                </a:path>
              </a:pathLst>
            </a:custGeom>
            <a:solidFill>
              <a:srgbClr val="020303"/>
            </a:solidFill>
          </p:spPr>
          <p:txBody>
            <a:bodyPr wrap="square" lIns="0" tIns="0" rIns="0" bIns="0" rtlCol="0"/>
            <a:lstStyle/>
            <a:p>
              <a:endParaRPr sz="649"/>
            </a:p>
          </p:txBody>
        </p:sp>
        <p:pic>
          <p:nvPicPr>
            <p:cNvPr id="77" name="object 77"/>
            <p:cNvPicPr/>
            <p:nvPr/>
          </p:nvPicPr>
          <p:blipFill>
            <a:blip r:embed="rId24" cstate="print"/>
            <a:stretch>
              <a:fillRect/>
            </a:stretch>
          </p:blipFill>
          <p:spPr>
            <a:xfrm>
              <a:off x="3240059" y="3441392"/>
              <a:ext cx="89014" cy="84264"/>
            </a:xfrm>
            <a:prstGeom prst="rect">
              <a:avLst/>
            </a:prstGeom>
          </p:spPr>
        </p:pic>
        <p:pic>
          <p:nvPicPr>
            <p:cNvPr id="78" name="object 78"/>
            <p:cNvPicPr/>
            <p:nvPr/>
          </p:nvPicPr>
          <p:blipFill>
            <a:blip r:embed="rId21" cstate="print"/>
            <a:stretch>
              <a:fillRect/>
            </a:stretch>
          </p:blipFill>
          <p:spPr>
            <a:xfrm>
              <a:off x="2922752" y="3441421"/>
              <a:ext cx="88709" cy="84810"/>
            </a:xfrm>
            <a:prstGeom prst="rect">
              <a:avLst/>
            </a:prstGeom>
          </p:spPr>
        </p:pic>
        <p:sp>
          <p:nvSpPr>
            <p:cNvPr id="79" name="object 79"/>
            <p:cNvSpPr/>
            <p:nvPr/>
          </p:nvSpPr>
          <p:spPr>
            <a:xfrm>
              <a:off x="2807601" y="3326294"/>
              <a:ext cx="636905" cy="314325"/>
            </a:xfrm>
            <a:custGeom>
              <a:avLst/>
              <a:gdLst/>
              <a:ahLst/>
              <a:cxnLst/>
              <a:rect l="l" t="t" r="r" b="b"/>
              <a:pathLst>
                <a:path w="636904" h="314325">
                  <a:moveTo>
                    <a:pt x="593090" y="72504"/>
                  </a:moveTo>
                  <a:lnTo>
                    <a:pt x="590740" y="61226"/>
                  </a:lnTo>
                  <a:lnTo>
                    <a:pt x="585470" y="53492"/>
                  </a:lnTo>
                  <a:lnTo>
                    <a:pt x="585470" y="72504"/>
                  </a:lnTo>
                  <a:lnTo>
                    <a:pt x="585470" y="241452"/>
                  </a:lnTo>
                  <a:lnTo>
                    <a:pt x="583730" y="249796"/>
                  </a:lnTo>
                  <a:lnTo>
                    <a:pt x="579031" y="256705"/>
                  </a:lnTo>
                  <a:lnTo>
                    <a:pt x="572135" y="261391"/>
                  </a:lnTo>
                  <a:lnTo>
                    <a:pt x="563778" y="263131"/>
                  </a:lnTo>
                  <a:lnTo>
                    <a:pt x="72491" y="263131"/>
                  </a:lnTo>
                  <a:lnTo>
                    <a:pt x="64147" y="261391"/>
                  </a:lnTo>
                  <a:lnTo>
                    <a:pt x="57238" y="256705"/>
                  </a:lnTo>
                  <a:lnTo>
                    <a:pt x="52539" y="249796"/>
                  </a:lnTo>
                  <a:lnTo>
                    <a:pt x="50800" y="241452"/>
                  </a:lnTo>
                  <a:lnTo>
                    <a:pt x="50800" y="72504"/>
                  </a:lnTo>
                  <a:lnTo>
                    <a:pt x="52539" y="64160"/>
                  </a:lnTo>
                  <a:lnTo>
                    <a:pt x="57238" y="57251"/>
                  </a:lnTo>
                  <a:lnTo>
                    <a:pt x="64147" y="52552"/>
                  </a:lnTo>
                  <a:lnTo>
                    <a:pt x="72491" y="50825"/>
                  </a:lnTo>
                  <a:lnTo>
                    <a:pt x="563778" y="50825"/>
                  </a:lnTo>
                  <a:lnTo>
                    <a:pt x="572135" y="52552"/>
                  </a:lnTo>
                  <a:lnTo>
                    <a:pt x="579031" y="57251"/>
                  </a:lnTo>
                  <a:lnTo>
                    <a:pt x="583730" y="64160"/>
                  </a:lnTo>
                  <a:lnTo>
                    <a:pt x="585470" y="72504"/>
                  </a:lnTo>
                  <a:lnTo>
                    <a:pt x="585470" y="53492"/>
                  </a:lnTo>
                  <a:lnTo>
                    <a:pt x="584390" y="51904"/>
                  </a:lnTo>
                  <a:lnTo>
                    <a:pt x="582815" y="50825"/>
                  </a:lnTo>
                  <a:lnTo>
                    <a:pt x="575056" y="45542"/>
                  </a:lnTo>
                  <a:lnTo>
                    <a:pt x="563778" y="43205"/>
                  </a:lnTo>
                  <a:lnTo>
                    <a:pt x="72491" y="43205"/>
                  </a:lnTo>
                  <a:lnTo>
                    <a:pt x="61214" y="45542"/>
                  </a:lnTo>
                  <a:lnTo>
                    <a:pt x="51892" y="51904"/>
                  </a:lnTo>
                  <a:lnTo>
                    <a:pt x="45542" y="61226"/>
                  </a:lnTo>
                  <a:lnTo>
                    <a:pt x="43192" y="72504"/>
                  </a:lnTo>
                  <a:lnTo>
                    <a:pt x="43192" y="241452"/>
                  </a:lnTo>
                  <a:lnTo>
                    <a:pt x="45542" y="252730"/>
                  </a:lnTo>
                  <a:lnTo>
                    <a:pt x="51892" y="262051"/>
                  </a:lnTo>
                  <a:lnTo>
                    <a:pt x="61214" y="268401"/>
                  </a:lnTo>
                  <a:lnTo>
                    <a:pt x="72491" y="270751"/>
                  </a:lnTo>
                  <a:lnTo>
                    <a:pt x="563778" y="270751"/>
                  </a:lnTo>
                  <a:lnTo>
                    <a:pt x="593090" y="241452"/>
                  </a:lnTo>
                  <a:lnTo>
                    <a:pt x="593090" y="72504"/>
                  </a:lnTo>
                  <a:close/>
                </a:path>
                <a:path w="636904" h="314325">
                  <a:moveTo>
                    <a:pt x="636282" y="72491"/>
                  </a:moveTo>
                  <a:lnTo>
                    <a:pt x="630580" y="44297"/>
                  </a:lnTo>
                  <a:lnTo>
                    <a:pt x="628662" y="41465"/>
                  </a:lnTo>
                  <a:lnTo>
                    <a:pt x="628662" y="72491"/>
                  </a:lnTo>
                  <a:lnTo>
                    <a:pt x="628662" y="241452"/>
                  </a:lnTo>
                  <a:lnTo>
                    <a:pt x="623557" y="266687"/>
                  </a:lnTo>
                  <a:lnTo>
                    <a:pt x="609638" y="287312"/>
                  </a:lnTo>
                  <a:lnTo>
                    <a:pt x="589013" y="301231"/>
                  </a:lnTo>
                  <a:lnTo>
                    <a:pt x="563778" y="306336"/>
                  </a:lnTo>
                  <a:lnTo>
                    <a:pt x="72491" y="306336"/>
                  </a:lnTo>
                  <a:lnTo>
                    <a:pt x="47256" y="301231"/>
                  </a:lnTo>
                  <a:lnTo>
                    <a:pt x="26644" y="287312"/>
                  </a:lnTo>
                  <a:lnTo>
                    <a:pt x="12725" y="266687"/>
                  </a:lnTo>
                  <a:lnTo>
                    <a:pt x="7620" y="241452"/>
                  </a:lnTo>
                  <a:lnTo>
                    <a:pt x="7620" y="72491"/>
                  </a:lnTo>
                  <a:lnTo>
                    <a:pt x="12725" y="47269"/>
                  </a:lnTo>
                  <a:lnTo>
                    <a:pt x="26644" y="26644"/>
                  </a:lnTo>
                  <a:lnTo>
                    <a:pt x="47256" y="12725"/>
                  </a:lnTo>
                  <a:lnTo>
                    <a:pt x="72491" y="7620"/>
                  </a:lnTo>
                  <a:lnTo>
                    <a:pt x="563778" y="7620"/>
                  </a:lnTo>
                  <a:lnTo>
                    <a:pt x="589013" y="12725"/>
                  </a:lnTo>
                  <a:lnTo>
                    <a:pt x="609638" y="26644"/>
                  </a:lnTo>
                  <a:lnTo>
                    <a:pt x="623557" y="47269"/>
                  </a:lnTo>
                  <a:lnTo>
                    <a:pt x="628662" y="72491"/>
                  </a:lnTo>
                  <a:lnTo>
                    <a:pt x="628662" y="41465"/>
                  </a:lnTo>
                  <a:lnTo>
                    <a:pt x="615022" y="21259"/>
                  </a:lnTo>
                  <a:lnTo>
                    <a:pt x="594804" y="7620"/>
                  </a:lnTo>
                  <a:lnTo>
                    <a:pt x="591972" y="5702"/>
                  </a:lnTo>
                  <a:lnTo>
                    <a:pt x="563778" y="0"/>
                  </a:lnTo>
                  <a:lnTo>
                    <a:pt x="72491" y="0"/>
                  </a:lnTo>
                  <a:lnTo>
                    <a:pt x="44297" y="5702"/>
                  </a:lnTo>
                  <a:lnTo>
                    <a:pt x="21259" y="21259"/>
                  </a:lnTo>
                  <a:lnTo>
                    <a:pt x="5702" y="44297"/>
                  </a:lnTo>
                  <a:lnTo>
                    <a:pt x="0" y="72491"/>
                  </a:lnTo>
                  <a:lnTo>
                    <a:pt x="0" y="241452"/>
                  </a:lnTo>
                  <a:lnTo>
                    <a:pt x="5702" y="269646"/>
                  </a:lnTo>
                  <a:lnTo>
                    <a:pt x="21259" y="292696"/>
                  </a:lnTo>
                  <a:lnTo>
                    <a:pt x="44297" y="308254"/>
                  </a:lnTo>
                  <a:lnTo>
                    <a:pt x="72491" y="313956"/>
                  </a:lnTo>
                  <a:lnTo>
                    <a:pt x="563778" y="313956"/>
                  </a:lnTo>
                  <a:lnTo>
                    <a:pt x="591972" y="308254"/>
                  </a:lnTo>
                  <a:lnTo>
                    <a:pt x="594804" y="306336"/>
                  </a:lnTo>
                  <a:lnTo>
                    <a:pt x="615022" y="292696"/>
                  </a:lnTo>
                  <a:lnTo>
                    <a:pt x="630580" y="269646"/>
                  </a:lnTo>
                  <a:lnTo>
                    <a:pt x="636282" y="241452"/>
                  </a:lnTo>
                  <a:lnTo>
                    <a:pt x="636282" y="72491"/>
                  </a:lnTo>
                  <a:close/>
                </a:path>
              </a:pathLst>
            </a:custGeom>
            <a:solidFill>
              <a:srgbClr val="020303"/>
            </a:solidFill>
          </p:spPr>
          <p:txBody>
            <a:bodyPr wrap="square" lIns="0" tIns="0" rIns="0" bIns="0" rtlCol="0"/>
            <a:lstStyle/>
            <a:p>
              <a:endParaRPr sz="649"/>
            </a:p>
          </p:txBody>
        </p:sp>
        <p:sp>
          <p:nvSpPr>
            <p:cNvPr id="80" name="object 80"/>
            <p:cNvSpPr/>
            <p:nvPr/>
          </p:nvSpPr>
          <p:spPr>
            <a:xfrm>
              <a:off x="971031" y="3326287"/>
              <a:ext cx="311785" cy="314325"/>
            </a:xfrm>
            <a:custGeom>
              <a:avLst/>
              <a:gdLst/>
              <a:ahLst/>
              <a:cxnLst/>
              <a:rect l="l" t="t" r="r" b="b"/>
              <a:pathLst>
                <a:path w="311784" h="314325">
                  <a:moveTo>
                    <a:pt x="238810" y="0"/>
                  </a:moveTo>
                  <a:lnTo>
                    <a:pt x="72491" y="0"/>
                  </a:lnTo>
                  <a:lnTo>
                    <a:pt x="44298" y="5706"/>
                  </a:lnTo>
                  <a:lnTo>
                    <a:pt x="21253" y="21258"/>
                  </a:lnTo>
                  <a:lnTo>
                    <a:pt x="5704" y="44303"/>
                  </a:lnTo>
                  <a:lnTo>
                    <a:pt x="0" y="72491"/>
                  </a:lnTo>
                  <a:lnTo>
                    <a:pt x="0" y="241452"/>
                  </a:lnTo>
                  <a:lnTo>
                    <a:pt x="5704" y="269647"/>
                  </a:lnTo>
                  <a:lnTo>
                    <a:pt x="21253" y="292696"/>
                  </a:lnTo>
                  <a:lnTo>
                    <a:pt x="44298" y="308250"/>
                  </a:lnTo>
                  <a:lnTo>
                    <a:pt x="72491" y="313956"/>
                  </a:lnTo>
                  <a:lnTo>
                    <a:pt x="238810" y="313956"/>
                  </a:lnTo>
                  <a:lnTo>
                    <a:pt x="267004" y="308250"/>
                  </a:lnTo>
                  <a:lnTo>
                    <a:pt x="269838" y="306336"/>
                  </a:lnTo>
                  <a:lnTo>
                    <a:pt x="72491" y="306336"/>
                  </a:lnTo>
                  <a:lnTo>
                    <a:pt x="47260" y="301229"/>
                  </a:lnTo>
                  <a:lnTo>
                    <a:pt x="26633" y="287310"/>
                  </a:lnTo>
                  <a:lnTo>
                    <a:pt x="12714" y="266683"/>
                  </a:lnTo>
                  <a:lnTo>
                    <a:pt x="7607" y="241452"/>
                  </a:lnTo>
                  <a:lnTo>
                    <a:pt x="7607" y="72491"/>
                  </a:lnTo>
                  <a:lnTo>
                    <a:pt x="12714" y="47267"/>
                  </a:lnTo>
                  <a:lnTo>
                    <a:pt x="26633" y="26644"/>
                  </a:lnTo>
                  <a:lnTo>
                    <a:pt x="47260" y="12726"/>
                  </a:lnTo>
                  <a:lnTo>
                    <a:pt x="72491" y="7620"/>
                  </a:lnTo>
                  <a:lnTo>
                    <a:pt x="269839" y="7620"/>
                  </a:lnTo>
                  <a:lnTo>
                    <a:pt x="267004" y="5706"/>
                  </a:lnTo>
                  <a:lnTo>
                    <a:pt x="238810" y="0"/>
                  </a:lnTo>
                  <a:close/>
                </a:path>
                <a:path w="311784" h="314325">
                  <a:moveTo>
                    <a:pt x="269839" y="7620"/>
                  </a:moveTo>
                  <a:lnTo>
                    <a:pt x="238810" y="7620"/>
                  </a:lnTo>
                  <a:lnTo>
                    <a:pt x="264039" y="12726"/>
                  </a:lnTo>
                  <a:lnTo>
                    <a:pt x="284662" y="26644"/>
                  </a:lnTo>
                  <a:lnTo>
                    <a:pt x="298577" y="47267"/>
                  </a:lnTo>
                  <a:lnTo>
                    <a:pt x="303682" y="72491"/>
                  </a:lnTo>
                  <a:lnTo>
                    <a:pt x="303682" y="241452"/>
                  </a:lnTo>
                  <a:lnTo>
                    <a:pt x="298577" y="266683"/>
                  </a:lnTo>
                  <a:lnTo>
                    <a:pt x="284662" y="287310"/>
                  </a:lnTo>
                  <a:lnTo>
                    <a:pt x="264039" y="301229"/>
                  </a:lnTo>
                  <a:lnTo>
                    <a:pt x="238810" y="306336"/>
                  </a:lnTo>
                  <a:lnTo>
                    <a:pt x="269838" y="306336"/>
                  </a:lnTo>
                  <a:lnTo>
                    <a:pt x="290048" y="292696"/>
                  </a:lnTo>
                  <a:lnTo>
                    <a:pt x="305597" y="269647"/>
                  </a:lnTo>
                  <a:lnTo>
                    <a:pt x="311302" y="241452"/>
                  </a:lnTo>
                  <a:lnTo>
                    <a:pt x="311302" y="72491"/>
                  </a:lnTo>
                  <a:lnTo>
                    <a:pt x="305597" y="44303"/>
                  </a:lnTo>
                  <a:lnTo>
                    <a:pt x="290048" y="21258"/>
                  </a:lnTo>
                  <a:lnTo>
                    <a:pt x="269839" y="7620"/>
                  </a:lnTo>
                  <a:close/>
                </a:path>
              </a:pathLst>
            </a:custGeom>
            <a:solidFill>
              <a:srgbClr val="231F20"/>
            </a:solidFill>
          </p:spPr>
          <p:txBody>
            <a:bodyPr wrap="square" lIns="0" tIns="0" rIns="0" bIns="0" rtlCol="0"/>
            <a:lstStyle/>
            <a:p>
              <a:endParaRPr sz="649"/>
            </a:p>
          </p:txBody>
        </p:sp>
        <p:pic>
          <p:nvPicPr>
            <p:cNvPr id="81" name="object 81"/>
            <p:cNvPicPr/>
            <p:nvPr/>
          </p:nvPicPr>
          <p:blipFill>
            <a:blip r:embed="rId25" cstate="print"/>
            <a:stretch>
              <a:fillRect/>
            </a:stretch>
          </p:blipFill>
          <p:spPr>
            <a:xfrm>
              <a:off x="1015967" y="3369491"/>
              <a:ext cx="221424" cy="227545"/>
            </a:xfrm>
            <a:prstGeom prst="rect">
              <a:avLst/>
            </a:prstGeom>
          </p:spPr>
        </p:pic>
        <p:sp>
          <p:nvSpPr>
            <p:cNvPr id="82" name="object 82"/>
            <p:cNvSpPr/>
            <p:nvPr/>
          </p:nvSpPr>
          <p:spPr>
            <a:xfrm>
              <a:off x="2747275" y="3095933"/>
              <a:ext cx="752475" cy="752475"/>
            </a:xfrm>
            <a:custGeom>
              <a:avLst/>
              <a:gdLst/>
              <a:ahLst/>
              <a:cxnLst/>
              <a:rect l="l" t="t" r="r" b="b"/>
              <a:pathLst>
                <a:path w="752475" h="752475">
                  <a:moveTo>
                    <a:pt x="752297" y="376148"/>
                  </a:moveTo>
                  <a:lnTo>
                    <a:pt x="749366" y="423330"/>
                  </a:lnTo>
                  <a:lnTo>
                    <a:pt x="740809" y="468763"/>
                  </a:lnTo>
                  <a:lnTo>
                    <a:pt x="726978" y="512096"/>
                  </a:lnTo>
                  <a:lnTo>
                    <a:pt x="708226" y="552974"/>
                  </a:lnTo>
                  <a:lnTo>
                    <a:pt x="684905" y="591047"/>
                  </a:lnTo>
                  <a:lnTo>
                    <a:pt x="657367" y="625960"/>
                  </a:lnTo>
                  <a:lnTo>
                    <a:pt x="625966" y="657363"/>
                  </a:lnTo>
                  <a:lnTo>
                    <a:pt x="591052" y="684901"/>
                  </a:lnTo>
                  <a:lnTo>
                    <a:pt x="552980" y="708224"/>
                  </a:lnTo>
                  <a:lnTo>
                    <a:pt x="512101" y="726977"/>
                  </a:lnTo>
                  <a:lnTo>
                    <a:pt x="468768" y="740808"/>
                  </a:lnTo>
                  <a:lnTo>
                    <a:pt x="423332" y="749366"/>
                  </a:lnTo>
                  <a:lnTo>
                    <a:pt x="376148" y="752297"/>
                  </a:lnTo>
                  <a:lnTo>
                    <a:pt x="328964" y="749366"/>
                  </a:lnTo>
                  <a:lnTo>
                    <a:pt x="283529" y="740808"/>
                  </a:lnTo>
                  <a:lnTo>
                    <a:pt x="240195" y="726977"/>
                  </a:lnTo>
                  <a:lnTo>
                    <a:pt x="199316" y="708224"/>
                  </a:lnTo>
                  <a:lnTo>
                    <a:pt x="161244" y="684901"/>
                  </a:lnTo>
                  <a:lnTo>
                    <a:pt x="126331" y="657363"/>
                  </a:lnTo>
                  <a:lnTo>
                    <a:pt x="94929" y="625960"/>
                  </a:lnTo>
                  <a:lnTo>
                    <a:pt x="67391" y="591047"/>
                  </a:lnTo>
                  <a:lnTo>
                    <a:pt x="44070" y="552974"/>
                  </a:lnTo>
                  <a:lnTo>
                    <a:pt x="25318" y="512096"/>
                  </a:lnTo>
                  <a:lnTo>
                    <a:pt x="11487" y="468763"/>
                  </a:lnTo>
                  <a:lnTo>
                    <a:pt x="2930" y="423330"/>
                  </a:lnTo>
                  <a:lnTo>
                    <a:pt x="0" y="376148"/>
                  </a:lnTo>
                  <a:lnTo>
                    <a:pt x="2930" y="328966"/>
                  </a:lnTo>
                  <a:lnTo>
                    <a:pt x="11487" y="283533"/>
                  </a:lnTo>
                  <a:lnTo>
                    <a:pt x="25318" y="240201"/>
                  </a:lnTo>
                  <a:lnTo>
                    <a:pt x="44070" y="199322"/>
                  </a:lnTo>
                  <a:lnTo>
                    <a:pt x="67391" y="161249"/>
                  </a:lnTo>
                  <a:lnTo>
                    <a:pt x="94929" y="126336"/>
                  </a:lnTo>
                  <a:lnTo>
                    <a:pt x="126331" y="94933"/>
                  </a:lnTo>
                  <a:lnTo>
                    <a:pt x="161244" y="67395"/>
                  </a:lnTo>
                  <a:lnTo>
                    <a:pt x="199316" y="44073"/>
                  </a:lnTo>
                  <a:lnTo>
                    <a:pt x="240195" y="25319"/>
                  </a:lnTo>
                  <a:lnTo>
                    <a:pt x="283529" y="11488"/>
                  </a:lnTo>
                  <a:lnTo>
                    <a:pt x="328964" y="2930"/>
                  </a:lnTo>
                  <a:lnTo>
                    <a:pt x="376148" y="0"/>
                  </a:lnTo>
                  <a:lnTo>
                    <a:pt x="423332" y="2930"/>
                  </a:lnTo>
                  <a:lnTo>
                    <a:pt x="468768" y="11488"/>
                  </a:lnTo>
                  <a:lnTo>
                    <a:pt x="512101" y="25319"/>
                  </a:lnTo>
                  <a:lnTo>
                    <a:pt x="552980" y="44073"/>
                  </a:lnTo>
                  <a:lnTo>
                    <a:pt x="591052" y="67395"/>
                  </a:lnTo>
                  <a:lnTo>
                    <a:pt x="625966" y="94933"/>
                  </a:lnTo>
                  <a:lnTo>
                    <a:pt x="657367" y="126336"/>
                  </a:lnTo>
                  <a:lnTo>
                    <a:pt x="684905" y="161249"/>
                  </a:lnTo>
                  <a:lnTo>
                    <a:pt x="708226" y="199322"/>
                  </a:lnTo>
                  <a:lnTo>
                    <a:pt x="726978" y="240201"/>
                  </a:lnTo>
                  <a:lnTo>
                    <a:pt x="740809" y="283533"/>
                  </a:lnTo>
                  <a:lnTo>
                    <a:pt x="749366" y="328966"/>
                  </a:lnTo>
                  <a:lnTo>
                    <a:pt x="752297" y="376148"/>
                  </a:lnTo>
                  <a:close/>
                </a:path>
              </a:pathLst>
            </a:custGeom>
            <a:ln w="38100">
              <a:solidFill>
                <a:srgbClr val="E3873E"/>
              </a:solidFill>
            </a:ln>
          </p:spPr>
          <p:txBody>
            <a:bodyPr wrap="square" lIns="0" tIns="0" rIns="0" bIns="0" rtlCol="0"/>
            <a:lstStyle/>
            <a:p>
              <a:endParaRPr sz="649"/>
            </a:p>
          </p:txBody>
        </p:sp>
      </p:grpSp>
      <p:grpSp>
        <p:nvGrpSpPr>
          <p:cNvPr id="83" name="object 83"/>
          <p:cNvGrpSpPr/>
          <p:nvPr/>
        </p:nvGrpSpPr>
        <p:grpSpPr>
          <a:xfrm>
            <a:off x="5082363" y="1234606"/>
            <a:ext cx="985327" cy="800177"/>
            <a:chOff x="4838974" y="2565969"/>
            <a:chExt cx="2047875" cy="1663064"/>
          </a:xfrm>
        </p:grpSpPr>
        <p:sp>
          <p:nvSpPr>
            <p:cNvPr id="84" name="object 84"/>
            <p:cNvSpPr/>
            <p:nvPr/>
          </p:nvSpPr>
          <p:spPr>
            <a:xfrm>
              <a:off x="6075390" y="3535151"/>
              <a:ext cx="798830" cy="253365"/>
            </a:xfrm>
            <a:custGeom>
              <a:avLst/>
              <a:gdLst/>
              <a:ahLst/>
              <a:cxnLst/>
              <a:rect l="l" t="t" r="r" b="b"/>
              <a:pathLst>
                <a:path w="798829" h="253364">
                  <a:moveTo>
                    <a:pt x="196691" y="0"/>
                  </a:moveTo>
                  <a:lnTo>
                    <a:pt x="139137" y="620"/>
                  </a:lnTo>
                  <a:lnTo>
                    <a:pt x="38416" y="3140"/>
                  </a:lnTo>
                  <a:lnTo>
                    <a:pt x="0" y="3705"/>
                  </a:lnTo>
                  <a:lnTo>
                    <a:pt x="10172" y="125549"/>
                  </a:lnTo>
                  <a:lnTo>
                    <a:pt x="27910" y="121069"/>
                  </a:lnTo>
                  <a:lnTo>
                    <a:pt x="66750" y="116336"/>
                  </a:lnTo>
                  <a:lnTo>
                    <a:pt x="120405" y="111873"/>
                  </a:lnTo>
                  <a:lnTo>
                    <a:pt x="182589" y="108207"/>
                  </a:lnTo>
                  <a:lnTo>
                    <a:pt x="247014" y="105862"/>
                  </a:lnTo>
                  <a:lnTo>
                    <a:pt x="307393" y="105364"/>
                  </a:lnTo>
                  <a:lnTo>
                    <a:pt x="357440" y="107238"/>
                  </a:lnTo>
                  <a:lnTo>
                    <a:pt x="390867" y="112010"/>
                  </a:lnTo>
                  <a:lnTo>
                    <a:pt x="421973" y="123785"/>
                  </a:lnTo>
                  <a:lnTo>
                    <a:pt x="466198" y="144051"/>
                  </a:lnTo>
                  <a:lnTo>
                    <a:pt x="575662" y="196389"/>
                  </a:lnTo>
                  <a:lnTo>
                    <a:pt x="631728" y="221630"/>
                  </a:lnTo>
                  <a:lnTo>
                    <a:pt x="682568" y="241698"/>
                  </a:lnTo>
                  <a:lnTo>
                    <a:pt x="723596" y="253177"/>
                  </a:lnTo>
                  <a:lnTo>
                    <a:pt x="750227" y="252650"/>
                  </a:lnTo>
                  <a:lnTo>
                    <a:pt x="779987" y="232499"/>
                  </a:lnTo>
                  <a:lnTo>
                    <a:pt x="796599" y="205570"/>
                  </a:lnTo>
                  <a:lnTo>
                    <a:pt x="798502" y="176085"/>
                  </a:lnTo>
                  <a:lnTo>
                    <a:pt x="784136" y="148269"/>
                  </a:lnTo>
                  <a:lnTo>
                    <a:pt x="732415" y="117566"/>
                  </a:lnTo>
                  <a:lnTo>
                    <a:pt x="689400" y="99621"/>
                  </a:lnTo>
                  <a:lnTo>
                    <a:pt x="638836" y="81059"/>
                  </a:lnTo>
                  <a:lnTo>
                    <a:pt x="583642" y="62716"/>
                  </a:lnTo>
                  <a:lnTo>
                    <a:pt x="526734" y="45426"/>
                  </a:lnTo>
                  <a:lnTo>
                    <a:pt x="471028" y="30024"/>
                  </a:lnTo>
                  <a:lnTo>
                    <a:pt x="419442" y="17345"/>
                  </a:lnTo>
                  <a:lnTo>
                    <a:pt x="369625" y="8700"/>
                  </a:lnTo>
                  <a:lnTo>
                    <a:pt x="314310" y="3373"/>
                  </a:lnTo>
                  <a:lnTo>
                    <a:pt x="255874" y="695"/>
                  </a:lnTo>
                  <a:lnTo>
                    <a:pt x="196691" y="0"/>
                  </a:lnTo>
                  <a:close/>
                </a:path>
              </a:pathLst>
            </a:custGeom>
            <a:solidFill>
              <a:srgbClr val="F1F2F2"/>
            </a:solidFill>
          </p:spPr>
          <p:txBody>
            <a:bodyPr wrap="square" lIns="0" tIns="0" rIns="0" bIns="0" rtlCol="0"/>
            <a:lstStyle/>
            <a:p>
              <a:endParaRPr sz="649"/>
            </a:p>
          </p:txBody>
        </p:sp>
        <p:sp>
          <p:nvSpPr>
            <p:cNvPr id="85" name="object 85"/>
            <p:cNvSpPr/>
            <p:nvPr/>
          </p:nvSpPr>
          <p:spPr>
            <a:xfrm>
              <a:off x="6075390" y="3535151"/>
              <a:ext cx="798830" cy="253365"/>
            </a:xfrm>
            <a:custGeom>
              <a:avLst/>
              <a:gdLst/>
              <a:ahLst/>
              <a:cxnLst/>
              <a:rect l="l" t="t" r="r" b="b"/>
              <a:pathLst>
                <a:path w="798829" h="253364">
                  <a:moveTo>
                    <a:pt x="0" y="3705"/>
                  </a:moveTo>
                  <a:lnTo>
                    <a:pt x="38416" y="3140"/>
                  </a:lnTo>
                  <a:lnTo>
                    <a:pt x="85586" y="1889"/>
                  </a:lnTo>
                  <a:lnTo>
                    <a:pt x="139137" y="620"/>
                  </a:lnTo>
                  <a:lnTo>
                    <a:pt x="196691" y="0"/>
                  </a:lnTo>
                  <a:lnTo>
                    <a:pt x="255874" y="695"/>
                  </a:lnTo>
                  <a:lnTo>
                    <a:pt x="314310" y="3373"/>
                  </a:lnTo>
                  <a:lnTo>
                    <a:pt x="369625" y="8700"/>
                  </a:lnTo>
                  <a:lnTo>
                    <a:pt x="419442" y="17345"/>
                  </a:lnTo>
                  <a:lnTo>
                    <a:pt x="471028" y="30024"/>
                  </a:lnTo>
                  <a:lnTo>
                    <a:pt x="526734" y="45426"/>
                  </a:lnTo>
                  <a:lnTo>
                    <a:pt x="583642" y="62716"/>
                  </a:lnTo>
                  <a:lnTo>
                    <a:pt x="638836" y="81059"/>
                  </a:lnTo>
                  <a:lnTo>
                    <a:pt x="689400" y="99621"/>
                  </a:lnTo>
                  <a:lnTo>
                    <a:pt x="732415" y="117566"/>
                  </a:lnTo>
                  <a:lnTo>
                    <a:pt x="784136" y="148269"/>
                  </a:lnTo>
                  <a:lnTo>
                    <a:pt x="798502" y="176085"/>
                  </a:lnTo>
                  <a:lnTo>
                    <a:pt x="796599" y="205570"/>
                  </a:lnTo>
                  <a:lnTo>
                    <a:pt x="779987" y="232499"/>
                  </a:lnTo>
                  <a:lnTo>
                    <a:pt x="750227" y="252650"/>
                  </a:lnTo>
                  <a:lnTo>
                    <a:pt x="723596" y="253177"/>
                  </a:lnTo>
                  <a:lnTo>
                    <a:pt x="682568" y="241698"/>
                  </a:lnTo>
                  <a:lnTo>
                    <a:pt x="631728" y="221630"/>
                  </a:lnTo>
                  <a:lnTo>
                    <a:pt x="575662" y="196389"/>
                  </a:lnTo>
                  <a:lnTo>
                    <a:pt x="518957" y="169391"/>
                  </a:lnTo>
                  <a:lnTo>
                    <a:pt x="466198" y="144051"/>
                  </a:lnTo>
                  <a:lnTo>
                    <a:pt x="421973" y="123785"/>
                  </a:lnTo>
                  <a:lnTo>
                    <a:pt x="390867" y="112010"/>
                  </a:lnTo>
                  <a:lnTo>
                    <a:pt x="357440" y="107238"/>
                  </a:lnTo>
                  <a:lnTo>
                    <a:pt x="307393" y="105364"/>
                  </a:lnTo>
                  <a:lnTo>
                    <a:pt x="247014" y="105862"/>
                  </a:lnTo>
                  <a:lnTo>
                    <a:pt x="182589" y="108207"/>
                  </a:lnTo>
                  <a:lnTo>
                    <a:pt x="120405" y="111873"/>
                  </a:lnTo>
                  <a:lnTo>
                    <a:pt x="66750" y="116336"/>
                  </a:lnTo>
                  <a:lnTo>
                    <a:pt x="27910" y="121069"/>
                  </a:lnTo>
                  <a:lnTo>
                    <a:pt x="10172" y="125549"/>
                  </a:lnTo>
                </a:path>
              </a:pathLst>
            </a:custGeom>
            <a:ln w="25400">
              <a:solidFill>
                <a:srgbClr val="231F20"/>
              </a:solidFill>
            </a:ln>
          </p:spPr>
          <p:txBody>
            <a:bodyPr wrap="square" lIns="0" tIns="0" rIns="0" bIns="0" rtlCol="0"/>
            <a:lstStyle/>
            <a:p>
              <a:endParaRPr sz="649"/>
            </a:p>
          </p:txBody>
        </p:sp>
        <p:sp>
          <p:nvSpPr>
            <p:cNvPr id="86" name="object 86"/>
            <p:cNvSpPr/>
            <p:nvPr/>
          </p:nvSpPr>
          <p:spPr>
            <a:xfrm>
              <a:off x="5159484" y="3918436"/>
              <a:ext cx="923925" cy="304800"/>
            </a:xfrm>
            <a:custGeom>
              <a:avLst/>
              <a:gdLst/>
              <a:ahLst/>
              <a:cxnLst/>
              <a:rect l="l" t="t" r="r" b="b"/>
              <a:pathLst>
                <a:path w="923925" h="304800">
                  <a:moveTo>
                    <a:pt x="498814" y="0"/>
                  </a:moveTo>
                  <a:lnTo>
                    <a:pt x="499513" y="223469"/>
                  </a:lnTo>
                  <a:lnTo>
                    <a:pt x="500440" y="225869"/>
                  </a:lnTo>
                  <a:lnTo>
                    <a:pt x="923591" y="265480"/>
                  </a:lnTo>
                  <a:lnTo>
                    <a:pt x="923591" y="304215"/>
                  </a:lnTo>
                  <a:lnTo>
                    <a:pt x="2105" y="304215"/>
                  </a:lnTo>
                  <a:lnTo>
                    <a:pt x="627" y="281193"/>
                  </a:lnTo>
                  <a:lnTo>
                    <a:pt x="0" y="269484"/>
                  </a:lnTo>
                  <a:lnTo>
                    <a:pt x="101" y="265457"/>
                  </a:lnTo>
                  <a:lnTo>
                    <a:pt x="809" y="265480"/>
                  </a:lnTo>
                  <a:lnTo>
                    <a:pt x="424202" y="226517"/>
                  </a:lnTo>
                  <a:lnTo>
                    <a:pt x="424430" y="225513"/>
                  </a:lnTo>
                  <a:lnTo>
                    <a:pt x="424430" y="0"/>
                  </a:lnTo>
                </a:path>
              </a:pathLst>
            </a:custGeom>
            <a:ln w="12700">
              <a:solidFill>
                <a:srgbClr val="231F20"/>
              </a:solidFill>
            </a:ln>
          </p:spPr>
          <p:txBody>
            <a:bodyPr wrap="square" lIns="0" tIns="0" rIns="0" bIns="0" rtlCol="0"/>
            <a:lstStyle/>
            <a:p>
              <a:endParaRPr sz="649"/>
            </a:p>
          </p:txBody>
        </p:sp>
        <p:sp>
          <p:nvSpPr>
            <p:cNvPr id="87" name="object 87"/>
            <p:cNvSpPr/>
            <p:nvPr/>
          </p:nvSpPr>
          <p:spPr>
            <a:xfrm>
              <a:off x="5359552" y="3549226"/>
              <a:ext cx="908050" cy="492125"/>
            </a:xfrm>
            <a:custGeom>
              <a:avLst/>
              <a:gdLst/>
              <a:ahLst/>
              <a:cxnLst/>
              <a:rect l="l" t="t" r="r" b="b"/>
              <a:pathLst>
                <a:path w="908050" h="492125">
                  <a:moveTo>
                    <a:pt x="706677" y="0"/>
                  </a:moveTo>
                  <a:lnTo>
                    <a:pt x="657923" y="3303"/>
                  </a:lnTo>
                  <a:lnTo>
                    <a:pt x="592236" y="15249"/>
                  </a:lnTo>
                  <a:lnTo>
                    <a:pt x="501807" y="39621"/>
                  </a:lnTo>
                  <a:lnTo>
                    <a:pt x="324955" y="94770"/>
                  </a:lnTo>
                  <a:lnTo>
                    <a:pt x="0" y="199048"/>
                  </a:lnTo>
                  <a:lnTo>
                    <a:pt x="73228" y="468327"/>
                  </a:lnTo>
                  <a:lnTo>
                    <a:pt x="369819" y="398004"/>
                  </a:lnTo>
                  <a:lnTo>
                    <a:pt x="581250" y="347444"/>
                  </a:lnTo>
                  <a:lnTo>
                    <a:pt x="693166" y="319813"/>
                  </a:lnTo>
                  <a:lnTo>
                    <a:pt x="710337" y="246104"/>
                  </a:lnTo>
                  <a:lnTo>
                    <a:pt x="709756" y="188934"/>
                  </a:lnTo>
                  <a:lnTo>
                    <a:pt x="712028" y="140907"/>
                  </a:lnTo>
                  <a:lnTo>
                    <a:pt x="723874" y="119038"/>
                  </a:lnTo>
                  <a:lnTo>
                    <a:pt x="756520" y="130728"/>
                  </a:lnTo>
                  <a:lnTo>
                    <a:pt x="781203" y="168956"/>
                  </a:lnTo>
                  <a:lnTo>
                    <a:pt x="796088" y="220605"/>
                  </a:lnTo>
                  <a:lnTo>
                    <a:pt x="799338" y="272556"/>
                  </a:lnTo>
                  <a:lnTo>
                    <a:pt x="784248" y="309265"/>
                  </a:lnTo>
                  <a:lnTo>
                    <a:pt x="750036" y="335921"/>
                  </a:lnTo>
                  <a:lnTo>
                    <a:pt x="704782" y="354851"/>
                  </a:lnTo>
                  <a:lnTo>
                    <a:pt x="656568" y="368382"/>
                  </a:lnTo>
                  <a:lnTo>
                    <a:pt x="613473" y="378842"/>
                  </a:lnTo>
                  <a:lnTo>
                    <a:pt x="542334" y="393841"/>
                  </a:lnTo>
                  <a:lnTo>
                    <a:pt x="510035" y="400470"/>
                  </a:lnTo>
                  <a:lnTo>
                    <a:pt x="479539" y="408764"/>
                  </a:lnTo>
                  <a:lnTo>
                    <a:pt x="449465" y="429608"/>
                  </a:lnTo>
                  <a:lnTo>
                    <a:pt x="445762" y="456171"/>
                  </a:lnTo>
                  <a:lnTo>
                    <a:pt x="459820" y="479617"/>
                  </a:lnTo>
                  <a:lnTo>
                    <a:pt x="483031" y="491110"/>
                  </a:lnTo>
                  <a:lnTo>
                    <a:pt x="522768" y="491873"/>
                  </a:lnTo>
                  <a:lnTo>
                    <a:pt x="571176" y="487420"/>
                  </a:lnTo>
                  <a:lnTo>
                    <a:pt x="624805" y="478293"/>
                  </a:lnTo>
                  <a:lnTo>
                    <a:pt x="680205" y="465032"/>
                  </a:lnTo>
                  <a:lnTo>
                    <a:pt x="733927" y="448178"/>
                  </a:lnTo>
                  <a:lnTo>
                    <a:pt x="782523" y="428271"/>
                  </a:lnTo>
                  <a:lnTo>
                    <a:pt x="823111" y="404717"/>
                  </a:lnTo>
                  <a:lnTo>
                    <a:pt x="857843" y="374466"/>
                  </a:lnTo>
                  <a:lnTo>
                    <a:pt x="884770" y="337213"/>
                  </a:lnTo>
                  <a:lnTo>
                    <a:pt x="901949" y="292655"/>
                  </a:lnTo>
                  <a:lnTo>
                    <a:pt x="907432" y="240487"/>
                  </a:lnTo>
                  <a:lnTo>
                    <a:pt x="899274" y="180405"/>
                  </a:lnTo>
                  <a:lnTo>
                    <a:pt x="881624" y="126643"/>
                  </a:lnTo>
                  <a:lnTo>
                    <a:pt x="857513" y="82321"/>
                  </a:lnTo>
                  <a:lnTo>
                    <a:pt x="827452" y="47467"/>
                  </a:lnTo>
                  <a:lnTo>
                    <a:pt x="791952" y="22110"/>
                  </a:lnTo>
                  <a:lnTo>
                    <a:pt x="751523" y="6278"/>
                  </a:lnTo>
                  <a:lnTo>
                    <a:pt x="706677" y="0"/>
                  </a:lnTo>
                  <a:close/>
                </a:path>
              </a:pathLst>
            </a:custGeom>
            <a:solidFill>
              <a:srgbClr val="D1D3D4"/>
            </a:solidFill>
          </p:spPr>
          <p:txBody>
            <a:bodyPr wrap="square" lIns="0" tIns="0" rIns="0" bIns="0" rtlCol="0"/>
            <a:lstStyle/>
            <a:p>
              <a:endParaRPr sz="649"/>
            </a:p>
          </p:txBody>
        </p:sp>
        <p:sp>
          <p:nvSpPr>
            <p:cNvPr id="88" name="object 88"/>
            <p:cNvSpPr/>
            <p:nvPr/>
          </p:nvSpPr>
          <p:spPr>
            <a:xfrm>
              <a:off x="5359552" y="3549226"/>
              <a:ext cx="908050" cy="492125"/>
            </a:xfrm>
            <a:custGeom>
              <a:avLst/>
              <a:gdLst/>
              <a:ahLst/>
              <a:cxnLst/>
              <a:rect l="l" t="t" r="r" b="b"/>
              <a:pathLst>
                <a:path w="908050" h="492125">
                  <a:moveTo>
                    <a:pt x="0" y="199048"/>
                  </a:moveTo>
                  <a:lnTo>
                    <a:pt x="324955" y="94770"/>
                  </a:lnTo>
                  <a:lnTo>
                    <a:pt x="501807" y="39621"/>
                  </a:lnTo>
                  <a:lnTo>
                    <a:pt x="592236" y="15249"/>
                  </a:lnTo>
                  <a:lnTo>
                    <a:pt x="657923" y="3303"/>
                  </a:lnTo>
                  <a:lnTo>
                    <a:pt x="706677" y="0"/>
                  </a:lnTo>
                  <a:lnTo>
                    <a:pt x="751523" y="6278"/>
                  </a:lnTo>
                  <a:lnTo>
                    <a:pt x="791952" y="22110"/>
                  </a:lnTo>
                  <a:lnTo>
                    <a:pt x="827452" y="47467"/>
                  </a:lnTo>
                  <a:lnTo>
                    <a:pt x="857513" y="82321"/>
                  </a:lnTo>
                  <a:lnTo>
                    <a:pt x="881624" y="126643"/>
                  </a:lnTo>
                  <a:lnTo>
                    <a:pt x="899274" y="180405"/>
                  </a:lnTo>
                  <a:lnTo>
                    <a:pt x="907432" y="240487"/>
                  </a:lnTo>
                  <a:lnTo>
                    <a:pt x="901949" y="292655"/>
                  </a:lnTo>
                  <a:lnTo>
                    <a:pt x="884770" y="337213"/>
                  </a:lnTo>
                  <a:lnTo>
                    <a:pt x="857843" y="374466"/>
                  </a:lnTo>
                  <a:lnTo>
                    <a:pt x="823111" y="404717"/>
                  </a:lnTo>
                  <a:lnTo>
                    <a:pt x="782523" y="428271"/>
                  </a:lnTo>
                  <a:lnTo>
                    <a:pt x="733927" y="448178"/>
                  </a:lnTo>
                  <a:lnTo>
                    <a:pt x="680205" y="465032"/>
                  </a:lnTo>
                  <a:lnTo>
                    <a:pt x="624805" y="478293"/>
                  </a:lnTo>
                  <a:lnTo>
                    <a:pt x="571176" y="487420"/>
                  </a:lnTo>
                  <a:lnTo>
                    <a:pt x="522768" y="491873"/>
                  </a:lnTo>
                  <a:lnTo>
                    <a:pt x="483031" y="491110"/>
                  </a:lnTo>
                  <a:lnTo>
                    <a:pt x="445762" y="456171"/>
                  </a:lnTo>
                  <a:lnTo>
                    <a:pt x="479539" y="408764"/>
                  </a:lnTo>
                  <a:lnTo>
                    <a:pt x="542334" y="393841"/>
                  </a:lnTo>
                  <a:lnTo>
                    <a:pt x="576719" y="387193"/>
                  </a:lnTo>
                  <a:lnTo>
                    <a:pt x="613473" y="378842"/>
                  </a:lnTo>
                  <a:lnTo>
                    <a:pt x="656568" y="368382"/>
                  </a:lnTo>
                  <a:lnTo>
                    <a:pt x="704782" y="354851"/>
                  </a:lnTo>
                  <a:lnTo>
                    <a:pt x="750036" y="335921"/>
                  </a:lnTo>
                  <a:lnTo>
                    <a:pt x="784248" y="309265"/>
                  </a:lnTo>
                  <a:lnTo>
                    <a:pt x="799338" y="272556"/>
                  </a:lnTo>
                  <a:lnTo>
                    <a:pt x="796088" y="220605"/>
                  </a:lnTo>
                  <a:lnTo>
                    <a:pt x="781203" y="168956"/>
                  </a:lnTo>
                  <a:lnTo>
                    <a:pt x="756520" y="130728"/>
                  </a:lnTo>
                  <a:lnTo>
                    <a:pt x="723874" y="119038"/>
                  </a:lnTo>
                  <a:lnTo>
                    <a:pt x="712028" y="140907"/>
                  </a:lnTo>
                  <a:lnTo>
                    <a:pt x="709756" y="188934"/>
                  </a:lnTo>
                  <a:lnTo>
                    <a:pt x="710337" y="246104"/>
                  </a:lnTo>
                  <a:lnTo>
                    <a:pt x="707048" y="295403"/>
                  </a:lnTo>
                  <a:lnTo>
                    <a:pt x="693166" y="319813"/>
                  </a:lnTo>
                  <a:lnTo>
                    <a:pt x="581250" y="347444"/>
                  </a:lnTo>
                  <a:lnTo>
                    <a:pt x="369819" y="398004"/>
                  </a:lnTo>
                  <a:lnTo>
                    <a:pt x="165076" y="446596"/>
                  </a:lnTo>
                  <a:lnTo>
                    <a:pt x="73228" y="468327"/>
                  </a:lnTo>
                </a:path>
              </a:pathLst>
            </a:custGeom>
            <a:ln w="25400">
              <a:solidFill>
                <a:srgbClr val="231F20"/>
              </a:solidFill>
            </a:ln>
          </p:spPr>
          <p:txBody>
            <a:bodyPr wrap="square" lIns="0" tIns="0" rIns="0" bIns="0" rtlCol="0"/>
            <a:lstStyle/>
            <a:p>
              <a:endParaRPr sz="649"/>
            </a:p>
          </p:txBody>
        </p:sp>
        <p:sp>
          <p:nvSpPr>
            <p:cNvPr id="89" name="object 89"/>
            <p:cNvSpPr/>
            <p:nvPr/>
          </p:nvSpPr>
          <p:spPr>
            <a:xfrm>
              <a:off x="4851674" y="2578669"/>
              <a:ext cx="645160" cy="1441450"/>
            </a:xfrm>
            <a:custGeom>
              <a:avLst/>
              <a:gdLst/>
              <a:ahLst/>
              <a:cxnLst/>
              <a:rect l="l" t="t" r="r" b="b"/>
              <a:pathLst>
                <a:path w="645160" h="1441450">
                  <a:moveTo>
                    <a:pt x="94358" y="0"/>
                  </a:moveTo>
                  <a:lnTo>
                    <a:pt x="42835" y="3398"/>
                  </a:lnTo>
                  <a:lnTo>
                    <a:pt x="5870" y="14798"/>
                  </a:lnTo>
                  <a:lnTo>
                    <a:pt x="0" y="31874"/>
                  </a:lnTo>
                  <a:lnTo>
                    <a:pt x="3213" y="66469"/>
                  </a:lnTo>
                  <a:lnTo>
                    <a:pt x="13510" y="114091"/>
                  </a:lnTo>
                  <a:lnTo>
                    <a:pt x="28891" y="170248"/>
                  </a:lnTo>
                  <a:lnTo>
                    <a:pt x="47355" y="230451"/>
                  </a:lnTo>
                  <a:lnTo>
                    <a:pt x="66902" y="290207"/>
                  </a:lnTo>
                  <a:lnTo>
                    <a:pt x="85532" y="345025"/>
                  </a:lnTo>
                  <a:lnTo>
                    <a:pt x="117374" y="437103"/>
                  </a:lnTo>
                  <a:lnTo>
                    <a:pt x="154644" y="538390"/>
                  </a:lnTo>
                  <a:lnTo>
                    <a:pt x="263239" y="827767"/>
                  </a:lnTo>
                  <a:lnTo>
                    <a:pt x="385805" y="1150727"/>
                  </a:lnTo>
                  <a:lnTo>
                    <a:pt x="444869" y="1304404"/>
                  </a:lnTo>
                  <a:lnTo>
                    <a:pt x="471425" y="1372128"/>
                  </a:lnTo>
                  <a:lnTo>
                    <a:pt x="496074" y="1422069"/>
                  </a:lnTo>
                  <a:lnTo>
                    <a:pt x="543388" y="1441148"/>
                  </a:lnTo>
                  <a:lnTo>
                    <a:pt x="591314" y="1430112"/>
                  </a:lnTo>
                  <a:lnTo>
                    <a:pt x="608573" y="1423675"/>
                  </a:lnTo>
                  <a:lnTo>
                    <a:pt x="627184" y="1413503"/>
                  </a:lnTo>
                  <a:lnTo>
                    <a:pt x="641287" y="1398211"/>
                  </a:lnTo>
                  <a:lnTo>
                    <a:pt x="645022" y="1376416"/>
                  </a:lnTo>
                  <a:lnTo>
                    <a:pt x="642649" y="1353667"/>
                  </a:lnTo>
                  <a:lnTo>
                    <a:pt x="634159" y="1261301"/>
                  </a:lnTo>
                  <a:lnTo>
                    <a:pt x="628232" y="1200295"/>
                  </a:lnTo>
                  <a:lnTo>
                    <a:pt x="621311" y="1135146"/>
                  </a:lnTo>
                  <a:lnTo>
                    <a:pt x="613489" y="1070162"/>
                  </a:lnTo>
                  <a:lnTo>
                    <a:pt x="604862" y="1009646"/>
                  </a:lnTo>
                  <a:lnTo>
                    <a:pt x="595526" y="957904"/>
                  </a:lnTo>
                  <a:lnTo>
                    <a:pt x="585574" y="919241"/>
                  </a:lnTo>
                  <a:lnTo>
                    <a:pt x="552424" y="841012"/>
                  </a:lnTo>
                  <a:lnTo>
                    <a:pt x="527373" y="789185"/>
                  </a:lnTo>
                  <a:lnTo>
                    <a:pt x="498961" y="732918"/>
                  </a:lnTo>
                  <a:lnTo>
                    <a:pt x="468908" y="675236"/>
                  </a:lnTo>
                  <a:lnTo>
                    <a:pt x="438932" y="619165"/>
                  </a:lnTo>
                  <a:lnTo>
                    <a:pt x="410752" y="567731"/>
                  </a:lnTo>
                  <a:lnTo>
                    <a:pt x="386085" y="523959"/>
                  </a:lnTo>
                  <a:lnTo>
                    <a:pt x="366651" y="490874"/>
                  </a:lnTo>
                  <a:lnTo>
                    <a:pt x="325817" y="442495"/>
                  </a:lnTo>
                  <a:lnTo>
                    <a:pt x="290875" y="416074"/>
                  </a:lnTo>
                  <a:lnTo>
                    <a:pt x="248681" y="389410"/>
                  </a:lnTo>
                  <a:lnTo>
                    <a:pt x="283121" y="364672"/>
                  </a:lnTo>
                  <a:lnTo>
                    <a:pt x="302126" y="347570"/>
                  </a:lnTo>
                  <a:lnTo>
                    <a:pt x="312467" y="330135"/>
                  </a:lnTo>
                  <a:lnTo>
                    <a:pt x="320918" y="304396"/>
                  </a:lnTo>
                  <a:lnTo>
                    <a:pt x="326865" y="261478"/>
                  </a:lnTo>
                  <a:lnTo>
                    <a:pt x="321345" y="215888"/>
                  </a:lnTo>
                  <a:lnTo>
                    <a:pt x="306138" y="169629"/>
                  </a:lnTo>
                  <a:lnTo>
                    <a:pt x="283027" y="124705"/>
                  </a:lnTo>
                  <a:lnTo>
                    <a:pt x="253793" y="83121"/>
                  </a:lnTo>
                  <a:lnTo>
                    <a:pt x="220215" y="46880"/>
                  </a:lnTo>
                  <a:lnTo>
                    <a:pt x="184076" y="17986"/>
                  </a:lnTo>
                  <a:lnTo>
                    <a:pt x="146189" y="4797"/>
                  </a:lnTo>
                  <a:lnTo>
                    <a:pt x="94358" y="0"/>
                  </a:lnTo>
                  <a:close/>
                </a:path>
              </a:pathLst>
            </a:custGeom>
            <a:solidFill>
              <a:srgbClr val="D1D3D4"/>
            </a:solidFill>
          </p:spPr>
          <p:txBody>
            <a:bodyPr wrap="square" lIns="0" tIns="0" rIns="0" bIns="0" rtlCol="0"/>
            <a:lstStyle/>
            <a:p>
              <a:endParaRPr sz="649"/>
            </a:p>
          </p:txBody>
        </p:sp>
        <p:sp>
          <p:nvSpPr>
            <p:cNvPr id="90" name="object 90"/>
            <p:cNvSpPr/>
            <p:nvPr/>
          </p:nvSpPr>
          <p:spPr>
            <a:xfrm>
              <a:off x="4851674" y="2578669"/>
              <a:ext cx="645160" cy="1441450"/>
            </a:xfrm>
            <a:custGeom>
              <a:avLst/>
              <a:gdLst/>
              <a:ahLst/>
              <a:cxnLst/>
              <a:rect l="l" t="t" r="r" b="b"/>
              <a:pathLst>
                <a:path w="645160" h="1441450">
                  <a:moveTo>
                    <a:pt x="248681" y="389410"/>
                  </a:moveTo>
                  <a:lnTo>
                    <a:pt x="283121" y="364672"/>
                  </a:lnTo>
                  <a:lnTo>
                    <a:pt x="312467" y="330135"/>
                  </a:lnTo>
                  <a:lnTo>
                    <a:pt x="326865" y="261478"/>
                  </a:lnTo>
                  <a:lnTo>
                    <a:pt x="321345" y="215888"/>
                  </a:lnTo>
                  <a:lnTo>
                    <a:pt x="306138" y="169629"/>
                  </a:lnTo>
                  <a:lnTo>
                    <a:pt x="283027" y="124705"/>
                  </a:lnTo>
                  <a:lnTo>
                    <a:pt x="253793" y="83121"/>
                  </a:lnTo>
                  <a:lnTo>
                    <a:pt x="220215" y="46880"/>
                  </a:lnTo>
                  <a:lnTo>
                    <a:pt x="184076" y="17986"/>
                  </a:lnTo>
                  <a:lnTo>
                    <a:pt x="146189" y="4797"/>
                  </a:lnTo>
                  <a:lnTo>
                    <a:pt x="94358" y="0"/>
                  </a:lnTo>
                  <a:lnTo>
                    <a:pt x="42835" y="3398"/>
                  </a:lnTo>
                  <a:lnTo>
                    <a:pt x="5870" y="14798"/>
                  </a:lnTo>
                  <a:lnTo>
                    <a:pt x="0" y="31874"/>
                  </a:lnTo>
                  <a:lnTo>
                    <a:pt x="3213" y="66469"/>
                  </a:lnTo>
                  <a:lnTo>
                    <a:pt x="13510" y="114091"/>
                  </a:lnTo>
                  <a:lnTo>
                    <a:pt x="28891" y="170248"/>
                  </a:lnTo>
                  <a:lnTo>
                    <a:pt x="47355" y="230451"/>
                  </a:lnTo>
                  <a:lnTo>
                    <a:pt x="66902" y="290207"/>
                  </a:lnTo>
                  <a:lnTo>
                    <a:pt x="85532" y="345025"/>
                  </a:lnTo>
                  <a:lnTo>
                    <a:pt x="101246" y="390414"/>
                  </a:lnTo>
                  <a:lnTo>
                    <a:pt x="112042" y="421884"/>
                  </a:lnTo>
                  <a:lnTo>
                    <a:pt x="126523" y="462314"/>
                  </a:lnTo>
                  <a:lnTo>
                    <a:pt x="154644" y="538390"/>
                  </a:lnTo>
                  <a:lnTo>
                    <a:pt x="172802" y="587092"/>
                  </a:lnTo>
                  <a:lnTo>
                    <a:pt x="193147" y="641462"/>
                  </a:lnTo>
                  <a:lnTo>
                    <a:pt x="215274" y="700418"/>
                  </a:lnTo>
                  <a:lnTo>
                    <a:pt x="238774" y="762880"/>
                  </a:lnTo>
                  <a:lnTo>
                    <a:pt x="263239" y="827767"/>
                  </a:lnTo>
                  <a:lnTo>
                    <a:pt x="288264" y="893996"/>
                  </a:lnTo>
                  <a:lnTo>
                    <a:pt x="313440" y="960489"/>
                  </a:lnTo>
                  <a:lnTo>
                    <a:pt x="338361" y="1026162"/>
                  </a:lnTo>
                  <a:lnTo>
                    <a:pt x="362618" y="1089935"/>
                  </a:lnTo>
                  <a:lnTo>
                    <a:pt x="385805" y="1150727"/>
                  </a:lnTo>
                  <a:lnTo>
                    <a:pt x="407514" y="1207456"/>
                  </a:lnTo>
                  <a:lnTo>
                    <a:pt x="427337" y="1259042"/>
                  </a:lnTo>
                  <a:lnTo>
                    <a:pt x="444869" y="1304404"/>
                  </a:lnTo>
                  <a:lnTo>
                    <a:pt x="459700" y="1342460"/>
                  </a:lnTo>
                  <a:lnTo>
                    <a:pt x="479635" y="1392329"/>
                  </a:lnTo>
                  <a:lnTo>
                    <a:pt x="513768" y="1436797"/>
                  </a:lnTo>
                  <a:lnTo>
                    <a:pt x="543388" y="1441148"/>
                  </a:lnTo>
                  <a:lnTo>
                    <a:pt x="591314" y="1430112"/>
                  </a:lnTo>
                  <a:lnTo>
                    <a:pt x="608573" y="1423675"/>
                  </a:lnTo>
                  <a:lnTo>
                    <a:pt x="627184" y="1413503"/>
                  </a:lnTo>
                  <a:lnTo>
                    <a:pt x="641287" y="1398211"/>
                  </a:lnTo>
                  <a:lnTo>
                    <a:pt x="645022" y="1376416"/>
                  </a:lnTo>
                  <a:lnTo>
                    <a:pt x="642649" y="1353667"/>
                  </a:lnTo>
                  <a:lnTo>
                    <a:pt x="638997" y="1313861"/>
                  </a:lnTo>
                  <a:lnTo>
                    <a:pt x="634159" y="1261301"/>
                  </a:lnTo>
                  <a:lnTo>
                    <a:pt x="628232" y="1200295"/>
                  </a:lnTo>
                  <a:lnTo>
                    <a:pt x="621311" y="1135146"/>
                  </a:lnTo>
                  <a:lnTo>
                    <a:pt x="613489" y="1070162"/>
                  </a:lnTo>
                  <a:lnTo>
                    <a:pt x="604862" y="1009646"/>
                  </a:lnTo>
                  <a:lnTo>
                    <a:pt x="595526" y="957904"/>
                  </a:lnTo>
                  <a:lnTo>
                    <a:pt x="585574" y="919241"/>
                  </a:lnTo>
                  <a:lnTo>
                    <a:pt x="552424" y="841012"/>
                  </a:lnTo>
                  <a:lnTo>
                    <a:pt x="527373" y="789185"/>
                  </a:lnTo>
                  <a:lnTo>
                    <a:pt x="498961" y="732918"/>
                  </a:lnTo>
                  <a:lnTo>
                    <a:pt x="468908" y="675236"/>
                  </a:lnTo>
                  <a:lnTo>
                    <a:pt x="438932" y="619165"/>
                  </a:lnTo>
                  <a:lnTo>
                    <a:pt x="410752" y="567731"/>
                  </a:lnTo>
                  <a:lnTo>
                    <a:pt x="386085" y="523959"/>
                  </a:lnTo>
                  <a:lnTo>
                    <a:pt x="366651" y="490874"/>
                  </a:lnTo>
                  <a:lnTo>
                    <a:pt x="325817" y="442495"/>
                  </a:lnTo>
                  <a:lnTo>
                    <a:pt x="290875" y="416074"/>
                  </a:lnTo>
                  <a:lnTo>
                    <a:pt x="261207" y="396844"/>
                  </a:lnTo>
                  <a:lnTo>
                    <a:pt x="248681" y="389410"/>
                  </a:lnTo>
                  <a:close/>
                </a:path>
              </a:pathLst>
            </a:custGeom>
            <a:ln w="25400">
              <a:solidFill>
                <a:srgbClr val="231F20"/>
              </a:solidFill>
            </a:ln>
          </p:spPr>
          <p:txBody>
            <a:bodyPr wrap="square" lIns="0" tIns="0" rIns="0" bIns="0" rtlCol="0"/>
            <a:lstStyle/>
            <a:p>
              <a:endParaRPr sz="649"/>
            </a:p>
          </p:txBody>
        </p:sp>
        <p:sp>
          <p:nvSpPr>
            <p:cNvPr id="91" name="object 91"/>
            <p:cNvSpPr/>
            <p:nvPr/>
          </p:nvSpPr>
          <p:spPr>
            <a:xfrm>
              <a:off x="5142805" y="3394228"/>
              <a:ext cx="1094105" cy="665480"/>
            </a:xfrm>
            <a:custGeom>
              <a:avLst/>
              <a:gdLst/>
              <a:ahLst/>
              <a:cxnLst/>
              <a:rect l="l" t="t" r="r" b="b"/>
              <a:pathLst>
                <a:path w="1094104" h="665479">
                  <a:moveTo>
                    <a:pt x="682814" y="0"/>
                  </a:moveTo>
                  <a:lnTo>
                    <a:pt x="617887" y="418"/>
                  </a:lnTo>
                  <a:lnTo>
                    <a:pt x="549877" y="1477"/>
                  </a:lnTo>
                  <a:lnTo>
                    <a:pt x="480188" y="3137"/>
                  </a:lnTo>
                  <a:lnTo>
                    <a:pt x="410226" y="5357"/>
                  </a:lnTo>
                  <a:lnTo>
                    <a:pt x="341395" y="8099"/>
                  </a:lnTo>
                  <a:lnTo>
                    <a:pt x="275098" y="11323"/>
                  </a:lnTo>
                  <a:lnTo>
                    <a:pt x="212742" y="14988"/>
                  </a:lnTo>
                  <a:lnTo>
                    <a:pt x="155730" y="19055"/>
                  </a:lnTo>
                  <a:lnTo>
                    <a:pt x="105468" y="23484"/>
                  </a:lnTo>
                  <a:lnTo>
                    <a:pt x="63359" y="28235"/>
                  </a:lnTo>
                  <a:lnTo>
                    <a:pt x="9220" y="38547"/>
                  </a:lnTo>
                  <a:lnTo>
                    <a:pt x="0" y="44027"/>
                  </a:lnTo>
                  <a:lnTo>
                    <a:pt x="35" y="59485"/>
                  </a:lnTo>
                  <a:lnTo>
                    <a:pt x="18398" y="130509"/>
                  </a:lnTo>
                  <a:lnTo>
                    <a:pt x="34822" y="181209"/>
                  </a:lnTo>
                  <a:lnTo>
                    <a:pt x="54807" y="238792"/>
                  </a:lnTo>
                  <a:lnTo>
                    <a:pt x="77401" y="300824"/>
                  </a:lnTo>
                  <a:lnTo>
                    <a:pt x="101652" y="364874"/>
                  </a:lnTo>
                  <a:lnTo>
                    <a:pt x="126609" y="428508"/>
                  </a:lnTo>
                  <a:lnTo>
                    <a:pt x="151322" y="489295"/>
                  </a:lnTo>
                  <a:lnTo>
                    <a:pt x="174838" y="544801"/>
                  </a:lnTo>
                  <a:lnTo>
                    <a:pt x="196206" y="592595"/>
                  </a:lnTo>
                  <a:lnTo>
                    <a:pt x="214474" y="630243"/>
                  </a:lnTo>
                  <a:lnTo>
                    <a:pt x="237909" y="665375"/>
                  </a:lnTo>
                  <a:lnTo>
                    <a:pt x="249838" y="665118"/>
                  </a:lnTo>
                  <a:lnTo>
                    <a:pt x="310575" y="655892"/>
                  </a:lnTo>
                  <a:lnTo>
                    <a:pt x="356136" y="647569"/>
                  </a:lnTo>
                  <a:lnTo>
                    <a:pt x="409661" y="637203"/>
                  </a:lnTo>
                  <a:lnTo>
                    <a:pt x="469527" y="625118"/>
                  </a:lnTo>
                  <a:lnTo>
                    <a:pt x="534112" y="611637"/>
                  </a:lnTo>
                  <a:lnTo>
                    <a:pt x="601793" y="597082"/>
                  </a:lnTo>
                  <a:lnTo>
                    <a:pt x="670945" y="581777"/>
                  </a:lnTo>
                  <a:lnTo>
                    <a:pt x="739947" y="566045"/>
                  </a:lnTo>
                  <a:lnTo>
                    <a:pt x="807176" y="550209"/>
                  </a:lnTo>
                  <a:lnTo>
                    <a:pt x="871007" y="534592"/>
                  </a:lnTo>
                  <a:lnTo>
                    <a:pt x="929819" y="519517"/>
                  </a:lnTo>
                  <a:lnTo>
                    <a:pt x="981989" y="505308"/>
                  </a:lnTo>
                  <a:lnTo>
                    <a:pt x="1025893" y="492287"/>
                  </a:lnTo>
                  <a:lnTo>
                    <a:pt x="1082411" y="471102"/>
                  </a:lnTo>
                  <a:lnTo>
                    <a:pt x="1093683" y="438811"/>
                  </a:lnTo>
                  <a:lnTo>
                    <a:pt x="1088676" y="399114"/>
                  </a:lnTo>
                  <a:lnTo>
                    <a:pt x="1077836" y="348401"/>
                  </a:lnTo>
                  <a:lnTo>
                    <a:pt x="1062239" y="290579"/>
                  </a:lnTo>
                  <a:lnTo>
                    <a:pt x="1042960" y="229555"/>
                  </a:lnTo>
                  <a:lnTo>
                    <a:pt x="1021074" y="169237"/>
                  </a:lnTo>
                  <a:lnTo>
                    <a:pt x="997658" y="113532"/>
                  </a:lnTo>
                  <a:lnTo>
                    <a:pt x="973786" y="66347"/>
                  </a:lnTo>
                  <a:lnTo>
                    <a:pt x="950535" y="31589"/>
                  </a:lnTo>
                  <a:lnTo>
                    <a:pt x="912046" y="8907"/>
                  </a:lnTo>
                  <a:lnTo>
                    <a:pt x="845052" y="2985"/>
                  </a:lnTo>
                  <a:lnTo>
                    <a:pt x="797801" y="1243"/>
                  </a:lnTo>
                  <a:lnTo>
                    <a:pt x="743254" y="261"/>
                  </a:lnTo>
                  <a:lnTo>
                    <a:pt x="682814" y="0"/>
                  </a:lnTo>
                  <a:close/>
                </a:path>
              </a:pathLst>
            </a:custGeom>
            <a:solidFill>
              <a:srgbClr val="D1D3D4"/>
            </a:solidFill>
          </p:spPr>
          <p:txBody>
            <a:bodyPr wrap="square" lIns="0" tIns="0" rIns="0" bIns="0" rtlCol="0"/>
            <a:lstStyle/>
            <a:p>
              <a:endParaRPr sz="649"/>
            </a:p>
          </p:txBody>
        </p:sp>
        <p:sp>
          <p:nvSpPr>
            <p:cNvPr id="92" name="object 92"/>
            <p:cNvSpPr/>
            <p:nvPr/>
          </p:nvSpPr>
          <p:spPr>
            <a:xfrm>
              <a:off x="5142805" y="3394228"/>
              <a:ext cx="1094105" cy="665480"/>
            </a:xfrm>
            <a:custGeom>
              <a:avLst/>
              <a:gdLst/>
              <a:ahLst/>
              <a:cxnLst/>
              <a:rect l="l" t="t" r="r" b="b"/>
              <a:pathLst>
                <a:path w="1094104" h="665479">
                  <a:moveTo>
                    <a:pt x="1091780" y="463584"/>
                  </a:moveTo>
                  <a:lnTo>
                    <a:pt x="1088676" y="399114"/>
                  </a:lnTo>
                  <a:lnTo>
                    <a:pt x="1077836" y="348401"/>
                  </a:lnTo>
                  <a:lnTo>
                    <a:pt x="1062239" y="290579"/>
                  </a:lnTo>
                  <a:lnTo>
                    <a:pt x="1042960" y="229555"/>
                  </a:lnTo>
                  <a:lnTo>
                    <a:pt x="1021074" y="169237"/>
                  </a:lnTo>
                  <a:lnTo>
                    <a:pt x="997658" y="113532"/>
                  </a:lnTo>
                  <a:lnTo>
                    <a:pt x="973786" y="66347"/>
                  </a:lnTo>
                  <a:lnTo>
                    <a:pt x="950535" y="31589"/>
                  </a:lnTo>
                  <a:lnTo>
                    <a:pt x="912046" y="8907"/>
                  </a:lnTo>
                  <a:lnTo>
                    <a:pt x="845052" y="2985"/>
                  </a:lnTo>
                  <a:lnTo>
                    <a:pt x="797801" y="1243"/>
                  </a:lnTo>
                  <a:lnTo>
                    <a:pt x="743254" y="261"/>
                  </a:lnTo>
                  <a:lnTo>
                    <a:pt x="682814" y="0"/>
                  </a:lnTo>
                  <a:lnTo>
                    <a:pt x="617887" y="418"/>
                  </a:lnTo>
                  <a:lnTo>
                    <a:pt x="549877" y="1477"/>
                  </a:lnTo>
                  <a:lnTo>
                    <a:pt x="480188" y="3137"/>
                  </a:lnTo>
                  <a:lnTo>
                    <a:pt x="410226" y="5357"/>
                  </a:lnTo>
                  <a:lnTo>
                    <a:pt x="341395" y="8099"/>
                  </a:lnTo>
                  <a:lnTo>
                    <a:pt x="275098" y="11323"/>
                  </a:lnTo>
                  <a:lnTo>
                    <a:pt x="212742" y="14988"/>
                  </a:lnTo>
                  <a:lnTo>
                    <a:pt x="155730" y="19055"/>
                  </a:lnTo>
                  <a:lnTo>
                    <a:pt x="105468" y="23484"/>
                  </a:lnTo>
                  <a:lnTo>
                    <a:pt x="63359" y="28235"/>
                  </a:lnTo>
                  <a:lnTo>
                    <a:pt x="9220" y="38547"/>
                  </a:lnTo>
                  <a:lnTo>
                    <a:pt x="0" y="44027"/>
                  </a:lnTo>
                  <a:lnTo>
                    <a:pt x="35" y="59485"/>
                  </a:lnTo>
                  <a:lnTo>
                    <a:pt x="18398" y="130509"/>
                  </a:lnTo>
                  <a:lnTo>
                    <a:pt x="34822" y="181209"/>
                  </a:lnTo>
                  <a:lnTo>
                    <a:pt x="54807" y="238792"/>
                  </a:lnTo>
                  <a:lnTo>
                    <a:pt x="77401" y="300824"/>
                  </a:lnTo>
                  <a:lnTo>
                    <a:pt x="101652" y="364874"/>
                  </a:lnTo>
                  <a:lnTo>
                    <a:pt x="126609" y="428508"/>
                  </a:lnTo>
                  <a:lnTo>
                    <a:pt x="151322" y="489295"/>
                  </a:lnTo>
                  <a:lnTo>
                    <a:pt x="174838" y="544801"/>
                  </a:lnTo>
                  <a:lnTo>
                    <a:pt x="196206" y="592595"/>
                  </a:lnTo>
                  <a:lnTo>
                    <a:pt x="214474" y="630243"/>
                  </a:lnTo>
                  <a:lnTo>
                    <a:pt x="237909" y="665375"/>
                  </a:lnTo>
                  <a:lnTo>
                    <a:pt x="249838" y="665118"/>
                  </a:lnTo>
                  <a:lnTo>
                    <a:pt x="310575" y="655892"/>
                  </a:lnTo>
                  <a:lnTo>
                    <a:pt x="356136" y="647569"/>
                  </a:lnTo>
                  <a:lnTo>
                    <a:pt x="409661" y="637203"/>
                  </a:lnTo>
                  <a:lnTo>
                    <a:pt x="469527" y="625118"/>
                  </a:lnTo>
                  <a:lnTo>
                    <a:pt x="534112" y="611637"/>
                  </a:lnTo>
                  <a:lnTo>
                    <a:pt x="601793" y="597082"/>
                  </a:lnTo>
                  <a:lnTo>
                    <a:pt x="670945" y="581777"/>
                  </a:lnTo>
                  <a:lnTo>
                    <a:pt x="739947" y="566045"/>
                  </a:lnTo>
                  <a:lnTo>
                    <a:pt x="807176" y="550209"/>
                  </a:lnTo>
                  <a:lnTo>
                    <a:pt x="871007" y="534592"/>
                  </a:lnTo>
                  <a:lnTo>
                    <a:pt x="929819" y="519517"/>
                  </a:lnTo>
                  <a:lnTo>
                    <a:pt x="981989" y="505308"/>
                  </a:lnTo>
                  <a:lnTo>
                    <a:pt x="1025893" y="492287"/>
                  </a:lnTo>
                  <a:lnTo>
                    <a:pt x="1082411" y="471102"/>
                  </a:lnTo>
                  <a:lnTo>
                    <a:pt x="1091780" y="463584"/>
                  </a:lnTo>
                  <a:close/>
                </a:path>
              </a:pathLst>
            </a:custGeom>
            <a:ln w="25400">
              <a:solidFill>
                <a:srgbClr val="231F20"/>
              </a:solidFill>
            </a:ln>
          </p:spPr>
          <p:txBody>
            <a:bodyPr wrap="square" lIns="0" tIns="0" rIns="0" bIns="0" rtlCol="0"/>
            <a:lstStyle/>
            <a:p>
              <a:endParaRPr sz="649"/>
            </a:p>
          </p:txBody>
        </p:sp>
        <p:pic>
          <p:nvPicPr>
            <p:cNvPr id="93" name="object 93"/>
            <p:cNvPicPr/>
            <p:nvPr/>
          </p:nvPicPr>
          <p:blipFill>
            <a:blip r:embed="rId26" cstate="print"/>
            <a:stretch>
              <a:fillRect/>
            </a:stretch>
          </p:blipFill>
          <p:spPr>
            <a:xfrm>
              <a:off x="6180798" y="3783635"/>
              <a:ext cx="548741" cy="389407"/>
            </a:xfrm>
            <a:prstGeom prst="rect">
              <a:avLst/>
            </a:prstGeom>
          </p:spPr>
        </p:pic>
        <p:sp>
          <p:nvSpPr>
            <p:cNvPr id="94" name="object 94"/>
            <p:cNvSpPr/>
            <p:nvPr/>
          </p:nvSpPr>
          <p:spPr>
            <a:xfrm>
              <a:off x="6180801" y="3783628"/>
              <a:ext cx="549275" cy="389890"/>
            </a:xfrm>
            <a:custGeom>
              <a:avLst/>
              <a:gdLst/>
              <a:ahLst/>
              <a:cxnLst/>
              <a:rect l="l" t="t" r="r" b="b"/>
              <a:pathLst>
                <a:path w="549275" h="389889">
                  <a:moveTo>
                    <a:pt x="478739" y="108699"/>
                  </a:moveTo>
                  <a:lnTo>
                    <a:pt x="460239" y="154754"/>
                  </a:lnTo>
                  <a:lnTo>
                    <a:pt x="435270" y="196136"/>
                  </a:lnTo>
                  <a:lnTo>
                    <a:pt x="404619" y="232432"/>
                  </a:lnTo>
                  <a:lnTo>
                    <a:pt x="369071" y="263230"/>
                  </a:lnTo>
                  <a:lnTo>
                    <a:pt x="329412" y="288115"/>
                  </a:lnTo>
                  <a:lnTo>
                    <a:pt x="286428" y="306675"/>
                  </a:lnTo>
                  <a:lnTo>
                    <a:pt x="240903" y="318496"/>
                  </a:lnTo>
                  <a:lnTo>
                    <a:pt x="193626" y="323165"/>
                  </a:lnTo>
                  <a:lnTo>
                    <a:pt x="145380" y="320270"/>
                  </a:lnTo>
                  <a:lnTo>
                    <a:pt x="96951" y="309397"/>
                  </a:lnTo>
                  <a:lnTo>
                    <a:pt x="72085" y="389407"/>
                  </a:lnTo>
                  <a:lnTo>
                    <a:pt x="0" y="250062"/>
                  </a:lnTo>
                  <a:lnTo>
                    <a:pt x="141058" y="161569"/>
                  </a:lnTo>
                  <a:lnTo>
                    <a:pt x="118808" y="239102"/>
                  </a:lnTo>
                  <a:lnTo>
                    <a:pt x="164735" y="248453"/>
                  </a:lnTo>
                  <a:lnTo>
                    <a:pt x="210212" y="248469"/>
                  </a:lnTo>
                  <a:lnTo>
                    <a:pt x="254076" y="239765"/>
                  </a:lnTo>
                  <a:lnTo>
                    <a:pt x="295162" y="222951"/>
                  </a:lnTo>
                  <a:lnTo>
                    <a:pt x="332305" y="198640"/>
                  </a:lnTo>
                  <a:lnTo>
                    <a:pt x="364340" y="167443"/>
                  </a:lnTo>
                  <a:lnTo>
                    <a:pt x="390104" y="129973"/>
                  </a:lnTo>
                  <a:lnTo>
                    <a:pt x="408432" y="86842"/>
                  </a:lnTo>
                  <a:lnTo>
                    <a:pt x="337985" y="66763"/>
                  </a:lnTo>
                  <a:lnTo>
                    <a:pt x="474103" y="0"/>
                  </a:lnTo>
                  <a:lnTo>
                    <a:pt x="548741" y="133286"/>
                  </a:lnTo>
                  <a:lnTo>
                    <a:pt x="478739" y="108699"/>
                  </a:lnTo>
                  <a:close/>
                </a:path>
              </a:pathLst>
            </a:custGeom>
            <a:ln w="7619">
              <a:solidFill>
                <a:srgbClr val="E3873E"/>
              </a:solidFill>
            </a:ln>
          </p:spPr>
          <p:txBody>
            <a:bodyPr wrap="square" lIns="0" tIns="0" rIns="0" bIns="0" rtlCol="0"/>
            <a:lstStyle/>
            <a:p>
              <a:endParaRPr sz="649"/>
            </a:p>
          </p:txBody>
        </p:sp>
      </p:grpSp>
      <p:grpSp>
        <p:nvGrpSpPr>
          <p:cNvPr id="95" name="object 95"/>
          <p:cNvGrpSpPr/>
          <p:nvPr/>
        </p:nvGrpSpPr>
        <p:grpSpPr>
          <a:xfrm>
            <a:off x="3038158" y="4315838"/>
            <a:ext cx="1487004" cy="318971"/>
            <a:chOff x="590358" y="8969911"/>
            <a:chExt cx="3090545" cy="662940"/>
          </a:xfrm>
        </p:grpSpPr>
        <p:sp>
          <p:nvSpPr>
            <p:cNvPr id="96" name="object 96"/>
            <p:cNvSpPr/>
            <p:nvPr/>
          </p:nvSpPr>
          <p:spPr>
            <a:xfrm>
              <a:off x="590358" y="8969911"/>
              <a:ext cx="3090545" cy="662940"/>
            </a:xfrm>
            <a:custGeom>
              <a:avLst/>
              <a:gdLst/>
              <a:ahLst/>
              <a:cxnLst/>
              <a:rect l="l" t="t" r="r" b="b"/>
              <a:pathLst>
                <a:path w="3090545" h="662940">
                  <a:moveTo>
                    <a:pt x="2960522" y="0"/>
                  </a:moveTo>
                  <a:lnTo>
                    <a:pt x="129603" y="0"/>
                  </a:lnTo>
                  <a:lnTo>
                    <a:pt x="79279" y="10226"/>
                  </a:lnTo>
                  <a:lnTo>
                    <a:pt x="38069" y="38069"/>
                  </a:lnTo>
                  <a:lnTo>
                    <a:pt x="10226" y="79279"/>
                  </a:lnTo>
                  <a:lnTo>
                    <a:pt x="0" y="129603"/>
                  </a:lnTo>
                  <a:lnTo>
                    <a:pt x="0" y="532815"/>
                  </a:lnTo>
                  <a:lnTo>
                    <a:pt x="10226" y="583132"/>
                  </a:lnTo>
                  <a:lnTo>
                    <a:pt x="38069" y="624338"/>
                  </a:lnTo>
                  <a:lnTo>
                    <a:pt x="79279" y="652180"/>
                  </a:lnTo>
                  <a:lnTo>
                    <a:pt x="129603" y="662406"/>
                  </a:lnTo>
                  <a:lnTo>
                    <a:pt x="2960522" y="662406"/>
                  </a:lnTo>
                  <a:lnTo>
                    <a:pt x="3010840" y="652180"/>
                  </a:lnTo>
                  <a:lnTo>
                    <a:pt x="3052051" y="624338"/>
                  </a:lnTo>
                  <a:lnTo>
                    <a:pt x="3079898" y="583132"/>
                  </a:lnTo>
                  <a:lnTo>
                    <a:pt x="3090125" y="532815"/>
                  </a:lnTo>
                  <a:lnTo>
                    <a:pt x="3090125" y="129603"/>
                  </a:lnTo>
                  <a:lnTo>
                    <a:pt x="3079898" y="79279"/>
                  </a:lnTo>
                  <a:lnTo>
                    <a:pt x="3052051" y="38069"/>
                  </a:lnTo>
                  <a:lnTo>
                    <a:pt x="3010840" y="10226"/>
                  </a:lnTo>
                  <a:lnTo>
                    <a:pt x="2960522" y="0"/>
                  </a:lnTo>
                  <a:close/>
                </a:path>
              </a:pathLst>
            </a:custGeom>
            <a:solidFill>
              <a:srgbClr val="E2E3E4"/>
            </a:solidFill>
          </p:spPr>
          <p:txBody>
            <a:bodyPr wrap="square" lIns="0" tIns="0" rIns="0" bIns="0" rtlCol="0"/>
            <a:lstStyle/>
            <a:p>
              <a:endParaRPr sz="649"/>
            </a:p>
          </p:txBody>
        </p:sp>
        <p:pic>
          <p:nvPicPr>
            <p:cNvPr id="97" name="object 97"/>
            <p:cNvPicPr/>
            <p:nvPr/>
          </p:nvPicPr>
          <p:blipFill>
            <a:blip r:embed="rId27" cstate="print"/>
            <a:stretch>
              <a:fillRect/>
            </a:stretch>
          </p:blipFill>
          <p:spPr>
            <a:xfrm>
              <a:off x="1834657" y="9254493"/>
              <a:ext cx="89014" cy="84251"/>
            </a:xfrm>
            <a:prstGeom prst="rect">
              <a:avLst/>
            </a:prstGeom>
          </p:spPr>
        </p:pic>
        <p:pic>
          <p:nvPicPr>
            <p:cNvPr id="98" name="object 98"/>
            <p:cNvPicPr/>
            <p:nvPr/>
          </p:nvPicPr>
          <p:blipFill>
            <a:blip r:embed="rId28" cstate="print"/>
            <a:stretch>
              <a:fillRect/>
            </a:stretch>
          </p:blipFill>
          <p:spPr>
            <a:xfrm>
              <a:off x="1517349" y="9254529"/>
              <a:ext cx="88709" cy="84810"/>
            </a:xfrm>
            <a:prstGeom prst="rect">
              <a:avLst/>
            </a:prstGeom>
          </p:spPr>
        </p:pic>
        <p:sp>
          <p:nvSpPr>
            <p:cNvPr id="99" name="object 99"/>
            <p:cNvSpPr/>
            <p:nvPr/>
          </p:nvSpPr>
          <p:spPr>
            <a:xfrm>
              <a:off x="1402181" y="9139390"/>
              <a:ext cx="636905" cy="314325"/>
            </a:xfrm>
            <a:custGeom>
              <a:avLst/>
              <a:gdLst/>
              <a:ahLst/>
              <a:cxnLst/>
              <a:rect l="l" t="t" r="r" b="b"/>
              <a:pathLst>
                <a:path w="636905" h="314325">
                  <a:moveTo>
                    <a:pt x="593102" y="72504"/>
                  </a:moveTo>
                  <a:lnTo>
                    <a:pt x="590765" y="61226"/>
                  </a:lnTo>
                  <a:lnTo>
                    <a:pt x="585482" y="53479"/>
                  </a:lnTo>
                  <a:lnTo>
                    <a:pt x="585482" y="72504"/>
                  </a:lnTo>
                  <a:lnTo>
                    <a:pt x="585482" y="241452"/>
                  </a:lnTo>
                  <a:lnTo>
                    <a:pt x="583755" y="249796"/>
                  </a:lnTo>
                  <a:lnTo>
                    <a:pt x="579043" y="256705"/>
                  </a:lnTo>
                  <a:lnTo>
                    <a:pt x="572147" y="261404"/>
                  </a:lnTo>
                  <a:lnTo>
                    <a:pt x="563791" y="263131"/>
                  </a:lnTo>
                  <a:lnTo>
                    <a:pt x="72504" y="263131"/>
                  </a:lnTo>
                  <a:lnTo>
                    <a:pt x="64160" y="261404"/>
                  </a:lnTo>
                  <a:lnTo>
                    <a:pt x="57251" y="256705"/>
                  </a:lnTo>
                  <a:lnTo>
                    <a:pt x="52552" y="249796"/>
                  </a:lnTo>
                  <a:lnTo>
                    <a:pt x="50812" y="241452"/>
                  </a:lnTo>
                  <a:lnTo>
                    <a:pt x="50812" y="72504"/>
                  </a:lnTo>
                  <a:lnTo>
                    <a:pt x="52552" y="64160"/>
                  </a:lnTo>
                  <a:lnTo>
                    <a:pt x="57251" y="57251"/>
                  </a:lnTo>
                  <a:lnTo>
                    <a:pt x="64160" y="52565"/>
                  </a:lnTo>
                  <a:lnTo>
                    <a:pt x="72504" y="50825"/>
                  </a:lnTo>
                  <a:lnTo>
                    <a:pt x="563791" y="50825"/>
                  </a:lnTo>
                  <a:lnTo>
                    <a:pt x="572147" y="52565"/>
                  </a:lnTo>
                  <a:lnTo>
                    <a:pt x="579043" y="57251"/>
                  </a:lnTo>
                  <a:lnTo>
                    <a:pt x="583755" y="64160"/>
                  </a:lnTo>
                  <a:lnTo>
                    <a:pt x="585482" y="72504"/>
                  </a:lnTo>
                  <a:lnTo>
                    <a:pt x="585482" y="53479"/>
                  </a:lnTo>
                  <a:lnTo>
                    <a:pt x="584415" y="51904"/>
                  </a:lnTo>
                  <a:lnTo>
                    <a:pt x="582828" y="50825"/>
                  </a:lnTo>
                  <a:lnTo>
                    <a:pt x="575081" y="45554"/>
                  </a:lnTo>
                  <a:lnTo>
                    <a:pt x="563791" y="43205"/>
                  </a:lnTo>
                  <a:lnTo>
                    <a:pt x="72504" y="43205"/>
                  </a:lnTo>
                  <a:lnTo>
                    <a:pt x="61226" y="45554"/>
                  </a:lnTo>
                  <a:lnTo>
                    <a:pt x="51892" y="51904"/>
                  </a:lnTo>
                  <a:lnTo>
                    <a:pt x="45542" y="61226"/>
                  </a:lnTo>
                  <a:lnTo>
                    <a:pt x="43192" y="72504"/>
                  </a:lnTo>
                  <a:lnTo>
                    <a:pt x="43192" y="241452"/>
                  </a:lnTo>
                  <a:lnTo>
                    <a:pt x="45542" y="252730"/>
                  </a:lnTo>
                  <a:lnTo>
                    <a:pt x="51892" y="262051"/>
                  </a:lnTo>
                  <a:lnTo>
                    <a:pt x="61226" y="268401"/>
                  </a:lnTo>
                  <a:lnTo>
                    <a:pt x="72504" y="270738"/>
                  </a:lnTo>
                  <a:lnTo>
                    <a:pt x="563791" y="270738"/>
                  </a:lnTo>
                  <a:lnTo>
                    <a:pt x="575081" y="268401"/>
                  </a:lnTo>
                  <a:lnTo>
                    <a:pt x="582815" y="263131"/>
                  </a:lnTo>
                  <a:lnTo>
                    <a:pt x="584415" y="262051"/>
                  </a:lnTo>
                  <a:lnTo>
                    <a:pt x="590765" y="252730"/>
                  </a:lnTo>
                  <a:lnTo>
                    <a:pt x="593102" y="241452"/>
                  </a:lnTo>
                  <a:lnTo>
                    <a:pt x="593102" y="72504"/>
                  </a:lnTo>
                  <a:close/>
                </a:path>
                <a:path w="636905" h="314325">
                  <a:moveTo>
                    <a:pt x="636295" y="72491"/>
                  </a:moveTo>
                  <a:lnTo>
                    <a:pt x="630593" y="44310"/>
                  </a:lnTo>
                  <a:lnTo>
                    <a:pt x="628662" y="41452"/>
                  </a:lnTo>
                  <a:lnTo>
                    <a:pt x="628662" y="72491"/>
                  </a:lnTo>
                  <a:lnTo>
                    <a:pt x="628662" y="241452"/>
                  </a:lnTo>
                  <a:lnTo>
                    <a:pt x="623557" y="266687"/>
                  </a:lnTo>
                  <a:lnTo>
                    <a:pt x="609638" y="287299"/>
                  </a:lnTo>
                  <a:lnTo>
                    <a:pt x="589026" y="301218"/>
                  </a:lnTo>
                  <a:lnTo>
                    <a:pt x="563791" y="306324"/>
                  </a:lnTo>
                  <a:lnTo>
                    <a:pt x="72504" y="306324"/>
                  </a:lnTo>
                  <a:lnTo>
                    <a:pt x="47282" y="301218"/>
                  </a:lnTo>
                  <a:lnTo>
                    <a:pt x="26657" y="287299"/>
                  </a:lnTo>
                  <a:lnTo>
                    <a:pt x="12738" y="266687"/>
                  </a:lnTo>
                  <a:lnTo>
                    <a:pt x="7620" y="241452"/>
                  </a:lnTo>
                  <a:lnTo>
                    <a:pt x="7620" y="72491"/>
                  </a:lnTo>
                  <a:lnTo>
                    <a:pt x="12738" y="47269"/>
                  </a:lnTo>
                  <a:lnTo>
                    <a:pt x="26657" y="26644"/>
                  </a:lnTo>
                  <a:lnTo>
                    <a:pt x="47282" y="12738"/>
                  </a:lnTo>
                  <a:lnTo>
                    <a:pt x="72504" y="7620"/>
                  </a:lnTo>
                  <a:lnTo>
                    <a:pt x="563791" y="7620"/>
                  </a:lnTo>
                  <a:lnTo>
                    <a:pt x="589026" y="12738"/>
                  </a:lnTo>
                  <a:lnTo>
                    <a:pt x="609638" y="26644"/>
                  </a:lnTo>
                  <a:lnTo>
                    <a:pt x="623557" y="47269"/>
                  </a:lnTo>
                  <a:lnTo>
                    <a:pt x="628662" y="72491"/>
                  </a:lnTo>
                  <a:lnTo>
                    <a:pt x="628662" y="41452"/>
                  </a:lnTo>
                  <a:lnTo>
                    <a:pt x="615035" y="21259"/>
                  </a:lnTo>
                  <a:lnTo>
                    <a:pt x="594829" y="7620"/>
                  </a:lnTo>
                  <a:lnTo>
                    <a:pt x="591985" y="5715"/>
                  </a:lnTo>
                  <a:lnTo>
                    <a:pt x="563791" y="0"/>
                  </a:lnTo>
                  <a:lnTo>
                    <a:pt x="72504" y="0"/>
                  </a:lnTo>
                  <a:lnTo>
                    <a:pt x="44310" y="5715"/>
                  </a:lnTo>
                  <a:lnTo>
                    <a:pt x="21259" y="21259"/>
                  </a:lnTo>
                  <a:lnTo>
                    <a:pt x="5715" y="44310"/>
                  </a:lnTo>
                  <a:lnTo>
                    <a:pt x="0" y="72491"/>
                  </a:lnTo>
                  <a:lnTo>
                    <a:pt x="0" y="241452"/>
                  </a:lnTo>
                  <a:lnTo>
                    <a:pt x="5715" y="269646"/>
                  </a:lnTo>
                  <a:lnTo>
                    <a:pt x="21259" y="292696"/>
                  </a:lnTo>
                  <a:lnTo>
                    <a:pt x="44310" y="308254"/>
                  </a:lnTo>
                  <a:lnTo>
                    <a:pt x="72504" y="313956"/>
                  </a:lnTo>
                  <a:lnTo>
                    <a:pt x="563791" y="313956"/>
                  </a:lnTo>
                  <a:lnTo>
                    <a:pt x="591985" y="308254"/>
                  </a:lnTo>
                  <a:lnTo>
                    <a:pt x="594842" y="306324"/>
                  </a:lnTo>
                  <a:lnTo>
                    <a:pt x="615035" y="292696"/>
                  </a:lnTo>
                  <a:lnTo>
                    <a:pt x="630593" y="269646"/>
                  </a:lnTo>
                  <a:lnTo>
                    <a:pt x="636295" y="241452"/>
                  </a:lnTo>
                  <a:lnTo>
                    <a:pt x="636295" y="72491"/>
                  </a:lnTo>
                  <a:close/>
                </a:path>
              </a:pathLst>
            </a:custGeom>
            <a:solidFill>
              <a:srgbClr val="020303"/>
            </a:solidFill>
          </p:spPr>
          <p:txBody>
            <a:bodyPr wrap="square" lIns="0" tIns="0" rIns="0" bIns="0" rtlCol="0"/>
            <a:lstStyle/>
            <a:p>
              <a:endParaRPr sz="649"/>
            </a:p>
          </p:txBody>
        </p:sp>
        <p:pic>
          <p:nvPicPr>
            <p:cNvPr id="100" name="object 100"/>
            <p:cNvPicPr/>
            <p:nvPr/>
          </p:nvPicPr>
          <p:blipFill>
            <a:blip r:embed="rId29" cstate="print"/>
            <a:stretch>
              <a:fillRect/>
            </a:stretch>
          </p:blipFill>
          <p:spPr>
            <a:xfrm>
              <a:off x="2537355" y="9254493"/>
              <a:ext cx="89014" cy="84251"/>
            </a:xfrm>
            <a:prstGeom prst="rect">
              <a:avLst/>
            </a:prstGeom>
          </p:spPr>
        </p:pic>
        <p:pic>
          <p:nvPicPr>
            <p:cNvPr id="101" name="object 101"/>
            <p:cNvPicPr/>
            <p:nvPr/>
          </p:nvPicPr>
          <p:blipFill>
            <a:blip r:embed="rId30" cstate="print"/>
            <a:stretch>
              <a:fillRect/>
            </a:stretch>
          </p:blipFill>
          <p:spPr>
            <a:xfrm>
              <a:off x="2220047" y="9254529"/>
              <a:ext cx="88709" cy="84810"/>
            </a:xfrm>
            <a:prstGeom prst="rect">
              <a:avLst/>
            </a:prstGeom>
          </p:spPr>
        </p:pic>
        <p:sp>
          <p:nvSpPr>
            <p:cNvPr id="102" name="object 102"/>
            <p:cNvSpPr/>
            <p:nvPr/>
          </p:nvSpPr>
          <p:spPr>
            <a:xfrm>
              <a:off x="2104898" y="9139390"/>
              <a:ext cx="636905" cy="314325"/>
            </a:xfrm>
            <a:custGeom>
              <a:avLst/>
              <a:gdLst/>
              <a:ahLst/>
              <a:cxnLst/>
              <a:rect l="l" t="t" r="r" b="b"/>
              <a:pathLst>
                <a:path w="636905" h="314325">
                  <a:moveTo>
                    <a:pt x="593090" y="72504"/>
                  </a:moveTo>
                  <a:lnTo>
                    <a:pt x="590740" y="61226"/>
                  </a:lnTo>
                  <a:lnTo>
                    <a:pt x="585482" y="53517"/>
                  </a:lnTo>
                  <a:lnTo>
                    <a:pt x="585482" y="72504"/>
                  </a:lnTo>
                  <a:lnTo>
                    <a:pt x="585482" y="241452"/>
                  </a:lnTo>
                  <a:lnTo>
                    <a:pt x="583742" y="249796"/>
                  </a:lnTo>
                  <a:lnTo>
                    <a:pt x="579031" y="256705"/>
                  </a:lnTo>
                  <a:lnTo>
                    <a:pt x="572135" y="261404"/>
                  </a:lnTo>
                  <a:lnTo>
                    <a:pt x="563791" y="263131"/>
                  </a:lnTo>
                  <a:lnTo>
                    <a:pt x="72504" y="263131"/>
                  </a:lnTo>
                  <a:lnTo>
                    <a:pt x="64147" y="261404"/>
                  </a:lnTo>
                  <a:lnTo>
                    <a:pt x="57238" y="256705"/>
                  </a:lnTo>
                  <a:lnTo>
                    <a:pt x="52539" y="249796"/>
                  </a:lnTo>
                  <a:lnTo>
                    <a:pt x="50812" y="241452"/>
                  </a:lnTo>
                  <a:lnTo>
                    <a:pt x="50812" y="72504"/>
                  </a:lnTo>
                  <a:lnTo>
                    <a:pt x="52539" y="64160"/>
                  </a:lnTo>
                  <a:lnTo>
                    <a:pt x="57238" y="57251"/>
                  </a:lnTo>
                  <a:lnTo>
                    <a:pt x="64147" y="52565"/>
                  </a:lnTo>
                  <a:lnTo>
                    <a:pt x="72504" y="50825"/>
                  </a:lnTo>
                  <a:lnTo>
                    <a:pt x="563791" y="50825"/>
                  </a:lnTo>
                  <a:lnTo>
                    <a:pt x="572135" y="52565"/>
                  </a:lnTo>
                  <a:lnTo>
                    <a:pt x="579031" y="57251"/>
                  </a:lnTo>
                  <a:lnTo>
                    <a:pt x="583742" y="64160"/>
                  </a:lnTo>
                  <a:lnTo>
                    <a:pt x="585482" y="72504"/>
                  </a:lnTo>
                  <a:lnTo>
                    <a:pt x="585482" y="53517"/>
                  </a:lnTo>
                  <a:lnTo>
                    <a:pt x="584390" y="51904"/>
                  </a:lnTo>
                  <a:lnTo>
                    <a:pt x="582815" y="50825"/>
                  </a:lnTo>
                  <a:lnTo>
                    <a:pt x="575068" y="45554"/>
                  </a:lnTo>
                  <a:lnTo>
                    <a:pt x="563791" y="43205"/>
                  </a:lnTo>
                  <a:lnTo>
                    <a:pt x="72504" y="43205"/>
                  </a:lnTo>
                  <a:lnTo>
                    <a:pt x="61214" y="45554"/>
                  </a:lnTo>
                  <a:lnTo>
                    <a:pt x="51879" y="51904"/>
                  </a:lnTo>
                  <a:lnTo>
                    <a:pt x="45529" y="61226"/>
                  </a:lnTo>
                  <a:lnTo>
                    <a:pt x="43192" y="72504"/>
                  </a:lnTo>
                  <a:lnTo>
                    <a:pt x="43192" y="241452"/>
                  </a:lnTo>
                  <a:lnTo>
                    <a:pt x="45529" y="252730"/>
                  </a:lnTo>
                  <a:lnTo>
                    <a:pt x="51879" y="262051"/>
                  </a:lnTo>
                  <a:lnTo>
                    <a:pt x="61214" y="268401"/>
                  </a:lnTo>
                  <a:lnTo>
                    <a:pt x="72504" y="270738"/>
                  </a:lnTo>
                  <a:lnTo>
                    <a:pt x="563791" y="270738"/>
                  </a:lnTo>
                  <a:lnTo>
                    <a:pt x="575068" y="268401"/>
                  </a:lnTo>
                  <a:lnTo>
                    <a:pt x="582803" y="263131"/>
                  </a:lnTo>
                  <a:lnTo>
                    <a:pt x="584390" y="262051"/>
                  </a:lnTo>
                  <a:lnTo>
                    <a:pt x="590740" y="252730"/>
                  </a:lnTo>
                  <a:lnTo>
                    <a:pt x="593090" y="241452"/>
                  </a:lnTo>
                  <a:lnTo>
                    <a:pt x="593090" y="72504"/>
                  </a:lnTo>
                  <a:close/>
                </a:path>
                <a:path w="636905" h="314325">
                  <a:moveTo>
                    <a:pt x="636295" y="72491"/>
                  </a:moveTo>
                  <a:lnTo>
                    <a:pt x="630580" y="44310"/>
                  </a:lnTo>
                  <a:lnTo>
                    <a:pt x="628662" y="41478"/>
                  </a:lnTo>
                  <a:lnTo>
                    <a:pt x="628662" y="72491"/>
                  </a:lnTo>
                  <a:lnTo>
                    <a:pt x="628662" y="241452"/>
                  </a:lnTo>
                  <a:lnTo>
                    <a:pt x="623544" y="266687"/>
                  </a:lnTo>
                  <a:lnTo>
                    <a:pt x="609638" y="287299"/>
                  </a:lnTo>
                  <a:lnTo>
                    <a:pt x="589013" y="301218"/>
                  </a:lnTo>
                  <a:lnTo>
                    <a:pt x="563791" y="306324"/>
                  </a:lnTo>
                  <a:lnTo>
                    <a:pt x="72504" y="306324"/>
                  </a:lnTo>
                  <a:lnTo>
                    <a:pt x="47269" y="301218"/>
                  </a:lnTo>
                  <a:lnTo>
                    <a:pt x="26644" y="287299"/>
                  </a:lnTo>
                  <a:lnTo>
                    <a:pt x="12725" y="266687"/>
                  </a:lnTo>
                  <a:lnTo>
                    <a:pt x="7620" y="241452"/>
                  </a:lnTo>
                  <a:lnTo>
                    <a:pt x="7620" y="72491"/>
                  </a:lnTo>
                  <a:lnTo>
                    <a:pt x="12725" y="47269"/>
                  </a:lnTo>
                  <a:lnTo>
                    <a:pt x="26644" y="26644"/>
                  </a:lnTo>
                  <a:lnTo>
                    <a:pt x="47269" y="12738"/>
                  </a:lnTo>
                  <a:lnTo>
                    <a:pt x="72504" y="7620"/>
                  </a:lnTo>
                  <a:lnTo>
                    <a:pt x="563791" y="7620"/>
                  </a:lnTo>
                  <a:lnTo>
                    <a:pt x="589013" y="12738"/>
                  </a:lnTo>
                  <a:lnTo>
                    <a:pt x="609638" y="26644"/>
                  </a:lnTo>
                  <a:lnTo>
                    <a:pt x="623544" y="47269"/>
                  </a:lnTo>
                  <a:lnTo>
                    <a:pt x="628662" y="72491"/>
                  </a:lnTo>
                  <a:lnTo>
                    <a:pt x="628662" y="41478"/>
                  </a:lnTo>
                  <a:lnTo>
                    <a:pt x="615035" y="21259"/>
                  </a:lnTo>
                  <a:lnTo>
                    <a:pt x="594817" y="7620"/>
                  </a:lnTo>
                  <a:lnTo>
                    <a:pt x="591985" y="5715"/>
                  </a:lnTo>
                  <a:lnTo>
                    <a:pt x="563791" y="0"/>
                  </a:lnTo>
                  <a:lnTo>
                    <a:pt x="72504" y="0"/>
                  </a:lnTo>
                  <a:lnTo>
                    <a:pt x="44297" y="5715"/>
                  </a:lnTo>
                  <a:lnTo>
                    <a:pt x="21259" y="21259"/>
                  </a:lnTo>
                  <a:lnTo>
                    <a:pt x="5702" y="44310"/>
                  </a:lnTo>
                  <a:lnTo>
                    <a:pt x="0" y="72491"/>
                  </a:lnTo>
                  <a:lnTo>
                    <a:pt x="0" y="241452"/>
                  </a:lnTo>
                  <a:lnTo>
                    <a:pt x="5702" y="269646"/>
                  </a:lnTo>
                  <a:lnTo>
                    <a:pt x="21259" y="292696"/>
                  </a:lnTo>
                  <a:lnTo>
                    <a:pt x="44297" y="308254"/>
                  </a:lnTo>
                  <a:lnTo>
                    <a:pt x="72504" y="313956"/>
                  </a:lnTo>
                  <a:lnTo>
                    <a:pt x="563791" y="313956"/>
                  </a:lnTo>
                  <a:lnTo>
                    <a:pt x="591985" y="308254"/>
                  </a:lnTo>
                  <a:lnTo>
                    <a:pt x="594829" y="306324"/>
                  </a:lnTo>
                  <a:lnTo>
                    <a:pt x="615035" y="292696"/>
                  </a:lnTo>
                  <a:lnTo>
                    <a:pt x="630580" y="269646"/>
                  </a:lnTo>
                  <a:lnTo>
                    <a:pt x="636295" y="241452"/>
                  </a:lnTo>
                  <a:lnTo>
                    <a:pt x="636295" y="72491"/>
                  </a:lnTo>
                  <a:close/>
                </a:path>
              </a:pathLst>
            </a:custGeom>
            <a:solidFill>
              <a:srgbClr val="020303"/>
            </a:solidFill>
          </p:spPr>
          <p:txBody>
            <a:bodyPr wrap="square" lIns="0" tIns="0" rIns="0" bIns="0" rtlCol="0"/>
            <a:lstStyle/>
            <a:p>
              <a:endParaRPr sz="649"/>
            </a:p>
          </p:txBody>
        </p:sp>
        <p:pic>
          <p:nvPicPr>
            <p:cNvPr id="103" name="object 103"/>
            <p:cNvPicPr/>
            <p:nvPr/>
          </p:nvPicPr>
          <p:blipFill>
            <a:blip r:embed="rId31" cstate="print"/>
            <a:stretch>
              <a:fillRect/>
            </a:stretch>
          </p:blipFill>
          <p:spPr>
            <a:xfrm>
              <a:off x="3240059" y="9254493"/>
              <a:ext cx="89014" cy="84251"/>
            </a:xfrm>
            <a:prstGeom prst="rect">
              <a:avLst/>
            </a:prstGeom>
          </p:spPr>
        </p:pic>
        <p:pic>
          <p:nvPicPr>
            <p:cNvPr id="104" name="object 104"/>
            <p:cNvPicPr/>
            <p:nvPr/>
          </p:nvPicPr>
          <p:blipFill>
            <a:blip r:embed="rId28" cstate="print"/>
            <a:stretch>
              <a:fillRect/>
            </a:stretch>
          </p:blipFill>
          <p:spPr>
            <a:xfrm>
              <a:off x="2922752" y="9254529"/>
              <a:ext cx="88709" cy="84810"/>
            </a:xfrm>
            <a:prstGeom prst="rect">
              <a:avLst/>
            </a:prstGeom>
          </p:spPr>
        </p:pic>
        <p:sp>
          <p:nvSpPr>
            <p:cNvPr id="105" name="object 105"/>
            <p:cNvSpPr/>
            <p:nvPr/>
          </p:nvSpPr>
          <p:spPr>
            <a:xfrm>
              <a:off x="2807601" y="9139390"/>
              <a:ext cx="636905" cy="314325"/>
            </a:xfrm>
            <a:custGeom>
              <a:avLst/>
              <a:gdLst/>
              <a:ahLst/>
              <a:cxnLst/>
              <a:rect l="l" t="t" r="r" b="b"/>
              <a:pathLst>
                <a:path w="636904" h="314325">
                  <a:moveTo>
                    <a:pt x="593090" y="72504"/>
                  </a:moveTo>
                  <a:lnTo>
                    <a:pt x="590740" y="61226"/>
                  </a:lnTo>
                  <a:lnTo>
                    <a:pt x="585470" y="53492"/>
                  </a:lnTo>
                  <a:lnTo>
                    <a:pt x="585470" y="72504"/>
                  </a:lnTo>
                  <a:lnTo>
                    <a:pt x="585470" y="241452"/>
                  </a:lnTo>
                  <a:lnTo>
                    <a:pt x="583730" y="249796"/>
                  </a:lnTo>
                  <a:lnTo>
                    <a:pt x="579031" y="256705"/>
                  </a:lnTo>
                  <a:lnTo>
                    <a:pt x="572122" y="261404"/>
                  </a:lnTo>
                  <a:lnTo>
                    <a:pt x="563778" y="263131"/>
                  </a:lnTo>
                  <a:lnTo>
                    <a:pt x="72491" y="263131"/>
                  </a:lnTo>
                  <a:lnTo>
                    <a:pt x="64135" y="261404"/>
                  </a:lnTo>
                  <a:lnTo>
                    <a:pt x="57238" y="256705"/>
                  </a:lnTo>
                  <a:lnTo>
                    <a:pt x="52539" y="249796"/>
                  </a:lnTo>
                  <a:lnTo>
                    <a:pt x="50800" y="241452"/>
                  </a:lnTo>
                  <a:lnTo>
                    <a:pt x="50800" y="72504"/>
                  </a:lnTo>
                  <a:lnTo>
                    <a:pt x="52539" y="64160"/>
                  </a:lnTo>
                  <a:lnTo>
                    <a:pt x="57238" y="57251"/>
                  </a:lnTo>
                  <a:lnTo>
                    <a:pt x="64135" y="52565"/>
                  </a:lnTo>
                  <a:lnTo>
                    <a:pt x="72491" y="50825"/>
                  </a:lnTo>
                  <a:lnTo>
                    <a:pt x="563778" y="50825"/>
                  </a:lnTo>
                  <a:lnTo>
                    <a:pt x="572122" y="52565"/>
                  </a:lnTo>
                  <a:lnTo>
                    <a:pt x="579031" y="57251"/>
                  </a:lnTo>
                  <a:lnTo>
                    <a:pt x="583730" y="64160"/>
                  </a:lnTo>
                  <a:lnTo>
                    <a:pt x="585470" y="72504"/>
                  </a:lnTo>
                  <a:lnTo>
                    <a:pt x="585470" y="53492"/>
                  </a:lnTo>
                  <a:lnTo>
                    <a:pt x="584390" y="51904"/>
                  </a:lnTo>
                  <a:lnTo>
                    <a:pt x="582815" y="50825"/>
                  </a:lnTo>
                  <a:lnTo>
                    <a:pt x="575056" y="45554"/>
                  </a:lnTo>
                  <a:lnTo>
                    <a:pt x="563778" y="43205"/>
                  </a:lnTo>
                  <a:lnTo>
                    <a:pt x="72491" y="43205"/>
                  </a:lnTo>
                  <a:lnTo>
                    <a:pt x="61214" y="45554"/>
                  </a:lnTo>
                  <a:lnTo>
                    <a:pt x="51879" y="51904"/>
                  </a:lnTo>
                  <a:lnTo>
                    <a:pt x="45529" y="61226"/>
                  </a:lnTo>
                  <a:lnTo>
                    <a:pt x="43180" y="72504"/>
                  </a:lnTo>
                  <a:lnTo>
                    <a:pt x="43180" y="241452"/>
                  </a:lnTo>
                  <a:lnTo>
                    <a:pt x="45529" y="252730"/>
                  </a:lnTo>
                  <a:lnTo>
                    <a:pt x="51879" y="262051"/>
                  </a:lnTo>
                  <a:lnTo>
                    <a:pt x="61214" y="268401"/>
                  </a:lnTo>
                  <a:lnTo>
                    <a:pt x="72491" y="270738"/>
                  </a:lnTo>
                  <a:lnTo>
                    <a:pt x="563778" y="270738"/>
                  </a:lnTo>
                  <a:lnTo>
                    <a:pt x="575056" y="268401"/>
                  </a:lnTo>
                  <a:lnTo>
                    <a:pt x="582803" y="263131"/>
                  </a:lnTo>
                  <a:lnTo>
                    <a:pt x="584390" y="262051"/>
                  </a:lnTo>
                  <a:lnTo>
                    <a:pt x="590740" y="252730"/>
                  </a:lnTo>
                  <a:lnTo>
                    <a:pt x="593090" y="241452"/>
                  </a:lnTo>
                  <a:lnTo>
                    <a:pt x="593090" y="72504"/>
                  </a:lnTo>
                  <a:close/>
                </a:path>
                <a:path w="636904" h="314325">
                  <a:moveTo>
                    <a:pt x="636282" y="72491"/>
                  </a:moveTo>
                  <a:lnTo>
                    <a:pt x="630580" y="44310"/>
                  </a:lnTo>
                  <a:lnTo>
                    <a:pt x="628662" y="41478"/>
                  </a:lnTo>
                  <a:lnTo>
                    <a:pt x="628662" y="72491"/>
                  </a:lnTo>
                  <a:lnTo>
                    <a:pt x="628662" y="241452"/>
                  </a:lnTo>
                  <a:lnTo>
                    <a:pt x="623557" y="266687"/>
                  </a:lnTo>
                  <a:lnTo>
                    <a:pt x="609638" y="287299"/>
                  </a:lnTo>
                  <a:lnTo>
                    <a:pt x="589013" y="301218"/>
                  </a:lnTo>
                  <a:lnTo>
                    <a:pt x="563778" y="306324"/>
                  </a:lnTo>
                  <a:lnTo>
                    <a:pt x="72491" y="306324"/>
                  </a:lnTo>
                  <a:lnTo>
                    <a:pt x="47256" y="301218"/>
                  </a:lnTo>
                  <a:lnTo>
                    <a:pt x="26644" y="287299"/>
                  </a:lnTo>
                  <a:lnTo>
                    <a:pt x="12725" y="266687"/>
                  </a:lnTo>
                  <a:lnTo>
                    <a:pt x="7620" y="241452"/>
                  </a:lnTo>
                  <a:lnTo>
                    <a:pt x="7620" y="72491"/>
                  </a:lnTo>
                  <a:lnTo>
                    <a:pt x="12725" y="47269"/>
                  </a:lnTo>
                  <a:lnTo>
                    <a:pt x="26644" y="26644"/>
                  </a:lnTo>
                  <a:lnTo>
                    <a:pt x="47256" y="12738"/>
                  </a:lnTo>
                  <a:lnTo>
                    <a:pt x="72491" y="7620"/>
                  </a:lnTo>
                  <a:lnTo>
                    <a:pt x="563778" y="7620"/>
                  </a:lnTo>
                  <a:lnTo>
                    <a:pt x="589013" y="12738"/>
                  </a:lnTo>
                  <a:lnTo>
                    <a:pt x="609638" y="26644"/>
                  </a:lnTo>
                  <a:lnTo>
                    <a:pt x="623557" y="47269"/>
                  </a:lnTo>
                  <a:lnTo>
                    <a:pt x="628662" y="72491"/>
                  </a:lnTo>
                  <a:lnTo>
                    <a:pt x="628662" y="41478"/>
                  </a:lnTo>
                  <a:lnTo>
                    <a:pt x="615022" y="21259"/>
                  </a:lnTo>
                  <a:lnTo>
                    <a:pt x="594804" y="7620"/>
                  </a:lnTo>
                  <a:lnTo>
                    <a:pt x="591972" y="5715"/>
                  </a:lnTo>
                  <a:lnTo>
                    <a:pt x="563778" y="0"/>
                  </a:lnTo>
                  <a:lnTo>
                    <a:pt x="72491" y="0"/>
                  </a:lnTo>
                  <a:lnTo>
                    <a:pt x="44297" y="5715"/>
                  </a:lnTo>
                  <a:lnTo>
                    <a:pt x="21259" y="21259"/>
                  </a:lnTo>
                  <a:lnTo>
                    <a:pt x="5702" y="44310"/>
                  </a:lnTo>
                  <a:lnTo>
                    <a:pt x="0" y="72491"/>
                  </a:lnTo>
                  <a:lnTo>
                    <a:pt x="0" y="241452"/>
                  </a:lnTo>
                  <a:lnTo>
                    <a:pt x="5702" y="269646"/>
                  </a:lnTo>
                  <a:lnTo>
                    <a:pt x="21259" y="292696"/>
                  </a:lnTo>
                  <a:lnTo>
                    <a:pt x="44297" y="308254"/>
                  </a:lnTo>
                  <a:lnTo>
                    <a:pt x="72491" y="313956"/>
                  </a:lnTo>
                  <a:lnTo>
                    <a:pt x="563778" y="313956"/>
                  </a:lnTo>
                  <a:lnTo>
                    <a:pt x="591972" y="308254"/>
                  </a:lnTo>
                  <a:lnTo>
                    <a:pt x="594829" y="306324"/>
                  </a:lnTo>
                  <a:lnTo>
                    <a:pt x="615022" y="292696"/>
                  </a:lnTo>
                  <a:lnTo>
                    <a:pt x="630580" y="269646"/>
                  </a:lnTo>
                  <a:lnTo>
                    <a:pt x="636282" y="241452"/>
                  </a:lnTo>
                  <a:lnTo>
                    <a:pt x="636282" y="72491"/>
                  </a:lnTo>
                  <a:close/>
                </a:path>
              </a:pathLst>
            </a:custGeom>
            <a:solidFill>
              <a:srgbClr val="020303"/>
            </a:solidFill>
          </p:spPr>
          <p:txBody>
            <a:bodyPr wrap="square" lIns="0" tIns="0" rIns="0" bIns="0" rtlCol="0"/>
            <a:lstStyle/>
            <a:p>
              <a:endParaRPr sz="649"/>
            </a:p>
          </p:txBody>
        </p:sp>
        <p:sp>
          <p:nvSpPr>
            <p:cNvPr id="106" name="object 106"/>
            <p:cNvSpPr/>
            <p:nvPr/>
          </p:nvSpPr>
          <p:spPr>
            <a:xfrm>
              <a:off x="971019" y="9139389"/>
              <a:ext cx="311785" cy="314325"/>
            </a:xfrm>
            <a:custGeom>
              <a:avLst/>
              <a:gdLst/>
              <a:ahLst/>
              <a:cxnLst/>
              <a:rect l="l" t="t" r="r" b="b"/>
              <a:pathLst>
                <a:path w="311784" h="314325">
                  <a:moveTo>
                    <a:pt x="238810" y="0"/>
                  </a:moveTo>
                  <a:lnTo>
                    <a:pt x="72504" y="0"/>
                  </a:lnTo>
                  <a:lnTo>
                    <a:pt x="44309" y="5706"/>
                  </a:lnTo>
                  <a:lnTo>
                    <a:pt x="21259" y="21258"/>
                  </a:lnTo>
                  <a:lnTo>
                    <a:pt x="5706" y="44303"/>
                  </a:lnTo>
                  <a:lnTo>
                    <a:pt x="0" y="72491"/>
                  </a:lnTo>
                  <a:lnTo>
                    <a:pt x="0" y="241452"/>
                  </a:lnTo>
                  <a:lnTo>
                    <a:pt x="5706" y="269642"/>
                  </a:lnTo>
                  <a:lnTo>
                    <a:pt x="21259" y="292692"/>
                  </a:lnTo>
                  <a:lnTo>
                    <a:pt x="44309" y="308248"/>
                  </a:lnTo>
                  <a:lnTo>
                    <a:pt x="72504" y="313956"/>
                  </a:lnTo>
                  <a:lnTo>
                    <a:pt x="238810" y="313956"/>
                  </a:lnTo>
                  <a:lnTo>
                    <a:pt x="267005" y="308248"/>
                  </a:lnTo>
                  <a:lnTo>
                    <a:pt x="269857" y="306324"/>
                  </a:lnTo>
                  <a:lnTo>
                    <a:pt x="72504" y="306324"/>
                  </a:lnTo>
                  <a:lnTo>
                    <a:pt x="47273" y="301217"/>
                  </a:lnTo>
                  <a:lnTo>
                    <a:pt x="26646" y="287299"/>
                  </a:lnTo>
                  <a:lnTo>
                    <a:pt x="12727" y="266676"/>
                  </a:lnTo>
                  <a:lnTo>
                    <a:pt x="7620" y="241452"/>
                  </a:lnTo>
                  <a:lnTo>
                    <a:pt x="7620" y="72491"/>
                  </a:lnTo>
                  <a:lnTo>
                    <a:pt x="12727" y="47267"/>
                  </a:lnTo>
                  <a:lnTo>
                    <a:pt x="26646" y="26644"/>
                  </a:lnTo>
                  <a:lnTo>
                    <a:pt x="47273" y="12726"/>
                  </a:lnTo>
                  <a:lnTo>
                    <a:pt x="72504" y="7620"/>
                  </a:lnTo>
                  <a:lnTo>
                    <a:pt x="269842" y="7620"/>
                  </a:lnTo>
                  <a:lnTo>
                    <a:pt x="267005" y="5706"/>
                  </a:lnTo>
                  <a:lnTo>
                    <a:pt x="238810" y="0"/>
                  </a:lnTo>
                  <a:close/>
                </a:path>
                <a:path w="311784" h="314325">
                  <a:moveTo>
                    <a:pt x="269842" y="7620"/>
                  </a:moveTo>
                  <a:lnTo>
                    <a:pt x="238810" y="7620"/>
                  </a:lnTo>
                  <a:lnTo>
                    <a:pt x="264041" y="12726"/>
                  </a:lnTo>
                  <a:lnTo>
                    <a:pt x="284668" y="26644"/>
                  </a:lnTo>
                  <a:lnTo>
                    <a:pt x="298587" y="47267"/>
                  </a:lnTo>
                  <a:lnTo>
                    <a:pt x="303695" y="72491"/>
                  </a:lnTo>
                  <a:lnTo>
                    <a:pt x="303695" y="241452"/>
                  </a:lnTo>
                  <a:lnTo>
                    <a:pt x="298587" y="266676"/>
                  </a:lnTo>
                  <a:lnTo>
                    <a:pt x="284668" y="287299"/>
                  </a:lnTo>
                  <a:lnTo>
                    <a:pt x="264041" y="301217"/>
                  </a:lnTo>
                  <a:lnTo>
                    <a:pt x="238810" y="306324"/>
                  </a:lnTo>
                  <a:lnTo>
                    <a:pt x="269857" y="306324"/>
                  </a:lnTo>
                  <a:lnTo>
                    <a:pt x="290055" y="292692"/>
                  </a:lnTo>
                  <a:lnTo>
                    <a:pt x="305608" y="269642"/>
                  </a:lnTo>
                  <a:lnTo>
                    <a:pt x="311315" y="241452"/>
                  </a:lnTo>
                  <a:lnTo>
                    <a:pt x="311315" y="72491"/>
                  </a:lnTo>
                  <a:lnTo>
                    <a:pt x="305608" y="44303"/>
                  </a:lnTo>
                  <a:lnTo>
                    <a:pt x="290055" y="21258"/>
                  </a:lnTo>
                  <a:lnTo>
                    <a:pt x="269842" y="7620"/>
                  </a:lnTo>
                  <a:close/>
                </a:path>
              </a:pathLst>
            </a:custGeom>
            <a:solidFill>
              <a:srgbClr val="231F20"/>
            </a:solidFill>
          </p:spPr>
          <p:txBody>
            <a:bodyPr wrap="square" lIns="0" tIns="0" rIns="0" bIns="0" rtlCol="0"/>
            <a:lstStyle/>
            <a:p>
              <a:endParaRPr sz="649"/>
            </a:p>
          </p:txBody>
        </p:sp>
        <p:pic>
          <p:nvPicPr>
            <p:cNvPr id="107" name="object 107"/>
            <p:cNvPicPr/>
            <p:nvPr/>
          </p:nvPicPr>
          <p:blipFill>
            <a:blip r:embed="rId32" cstate="print"/>
            <a:stretch>
              <a:fillRect/>
            </a:stretch>
          </p:blipFill>
          <p:spPr>
            <a:xfrm>
              <a:off x="1015967" y="9182591"/>
              <a:ext cx="221424" cy="227533"/>
            </a:xfrm>
            <a:prstGeom prst="rect">
              <a:avLst/>
            </a:prstGeom>
          </p:spPr>
        </p:pic>
        <p:sp>
          <p:nvSpPr>
            <p:cNvPr id="108" name="object 108"/>
            <p:cNvSpPr/>
            <p:nvPr/>
          </p:nvSpPr>
          <p:spPr>
            <a:xfrm>
              <a:off x="902408" y="9078131"/>
              <a:ext cx="445134" cy="445134"/>
            </a:xfrm>
            <a:custGeom>
              <a:avLst/>
              <a:gdLst/>
              <a:ahLst/>
              <a:cxnLst/>
              <a:rect l="l" t="t" r="r" b="b"/>
              <a:pathLst>
                <a:path w="445134" h="445134">
                  <a:moveTo>
                    <a:pt x="444550" y="222275"/>
                  </a:moveTo>
                  <a:lnTo>
                    <a:pt x="440034" y="267071"/>
                  </a:lnTo>
                  <a:lnTo>
                    <a:pt x="427083" y="308794"/>
                  </a:lnTo>
                  <a:lnTo>
                    <a:pt x="406589" y="346551"/>
                  </a:lnTo>
                  <a:lnTo>
                    <a:pt x="379447" y="379447"/>
                  </a:lnTo>
                  <a:lnTo>
                    <a:pt x="346551" y="406589"/>
                  </a:lnTo>
                  <a:lnTo>
                    <a:pt x="308794" y="427083"/>
                  </a:lnTo>
                  <a:lnTo>
                    <a:pt x="267071" y="440034"/>
                  </a:lnTo>
                  <a:lnTo>
                    <a:pt x="222275" y="444550"/>
                  </a:lnTo>
                  <a:lnTo>
                    <a:pt x="177479" y="440034"/>
                  </a:lnTo>
                  <a:lnTo>
                    <a:pt x="135756" y="427083"/>
                  </a:lnTo>
                  <a:lnTo>
                    <a:pt x="97999" y="406589"/>
                  </a:lnTo>
                  <a:lnTo>
                    <a:pt x="65103" y="379447"/>
                  </a:lnTo>
                  <a:lnTo>
                    <a:pt x="37961" y="346551"/>
                  </a:lnTo>
                  <a:lnTo>
                    <a:pt x="17467" y="308794"/>
                  </a:lnTo>
                  <a:lnTo>
                    <a:pt x="4515" y="267071"/>
                  </a:lnTo>
                  <a:lnTo>
                    <a:pt x="0" y="222275"/>
                  </a:lnTo>
                  <a:lnTo>
                    <a:pt x="4515" y="177479"/>
                  </a:lnTo>
                  <a:lnTo>
                    <a:pt x="17467" y="135756"/>
                  </a:lnTo>
                  <a:lnTo>
                    <a:pt x="37961" y="97999"/>
                  </a:lnTo>
                  <a:lnTo>
                    <a:pt x="65103" y="65103"/>
                  </a:lnTo>
                  <a:lnTo>
                    <a:pt x="97999" y="37961"/>
                  </a:lnTo>
                  <a:lnTo>
                    <a:pt x="135756" y="17467"/>
                  </a:lnTo>
                  <a:lnTo>
                    <a:pt x="177479" y="4515"/>
                  </a:lnTo>
                  <a:lnTo>
                    <a:pt x="222275" y="0"/>
                  </a:lnTo>
                  <a:lnTo>
                    <a:pt x="267071" y="4515"/>
                  </a:lnTo>
                  <a:lnTo>
                    <a:pt x="308794" y="17467"/>
                  </a:lnTo>
                  <a:lnTo>
                    <a:pt x="346551" y="37961"/>
                  </a:lnTo>
                  <a:lnTo>
                    <a:pt x="379447" y="65103"/>
                  </a:lnTo>
                  <a:lnTo>
                    <a:pt x="406589" y="97999"/>
                  </a:lnTo>
                  <a:lnTo>
                    <a:pt x="427083" y="135756"/>
                  </a:lnTo>
                  <a:lnTo>
                    <a:pt x="440034" y="177479"/>
                  </a:lnTo>
                  <a:lnTo>
                    <a:pt x="444550" y="222275"/>
                  </a:lnTo>
                  <a:close/>
                </a:path>
              </a:pathLst>
            </a:custGeom>
            <a:ln w="38100">
              <a:solidFill>
                <a:srgbClr val="E3873E"/>
              </a:solidFill>
            </a:ln>
          </p:spPr>
          <p:txBody>
            <a:bodyPr wrap="square" lIns="0" tIns="0" rIns="0" bIns="0" rtlCol="0"/>
            <a:lstStyle/>
            <a:p>
              <a:endParaRPr sz="649"/>
            </a:p>
          </p:txBody>
        </p:sp>
      </p:grpSp>
      <p:grpSp>
        <p:nvGrpSpPr>
          <p:cNvPr id="109" name="object 109"/>
          <p:cNvGrpSpPr/>
          <p:nvPr/>
        </p:nvGrpSpPr>
        <p:grpSpPr>
          <a:xfrm>
            <a:off x="4716284" y="4021841"/>
            <a:ext cx="1405428" cy="809954"/>
            <a:chOff x="4078126" y="8358877"/>
            <a:chExt cx="2921000" cy="1683385"/>
          </a:xfrm>
        </p:grpSpPr>
        <p:sp>
          <p:nvSpPr>
            <p:cNvPr id="110" name="object 110"/>
            <p:cNvSpPr/>
            <p:nvPr/>
          </p:nvSpPr>
          <p:spPr>
            <a:xfrm>
              <a:off x="4106598" y="9272313"/>
              <a:ext cx="447040" cy="292735"/>
            </a:xfrm>
            <a:custGeom>
              <a:avLst/>
              <a:gdLst/>
              <a:ahLst/>
              <a:cxnLst/>
              <a:rect l="l" t="t" r="r" b="b"/>
              <a:pathLst>
                <a:path w="447039" h="292734">
                  <a:moveTo>
                    <a:pt x="202390" y="0"/>
                  </a:moveTo>
                  <a:lnTo>
                    <a:pt x="153451" y="6205"/>
                  </a:lnTo>
                  <a:lnTo>
                    <a:pt x="106083" y="24543"/>
                  </a:lnTo>
                  <a:lnTo>
                    <a:pt x="73393" y="50810"/>
                  </a:lnTo>
                  <a:lnTo>
                    <a:pt x="38101" y="91952"/>
                  </a:lnTo>
                  <a:lnTo>
                    <a:pt x="10280" y="136718"/>
                  </a:lnTo>
                  <a:lnTo>
                    <a:pt x="0" y="173857"/>
                  </a:lnTo>
                  <a:lnTo>
                    <a:pt x="5219" y="186083"/>
                  </a:lnTo>
                  <a:lnTo>
                    <a:pt x="43375" y="207113"/>
                  </a:lnTo>
                  <a:lnTo>
                    <a:pt x="121385" y="228164"/>
                  </a:lnTo>
                  <a:lnTo>
                    <a:pt x="176423" y="240415"/>
                  </a:lnTo>
                  <a:lnTo>
                    <a:pt x="320737" y="271807"/>
                  </a:lnTo>
                  <a:lnTo>
                    <a:pt x="410883" y="292323"/>
                  </a:lnTo>
                  <a:lnTo>
                    <a:pt x="446913" y="154795"/>
                  </a:lnTo>
                  <a:lnTo>
                    <a:pt x="427211" y="127183"/>
                  </a:lnTo>
                  <a:lnTo>
                    <a:pt x="413792" y="109732"/>
                  </a:lnTo>
                  <a:lnTo>
                    <a:pt x="381139" y="75623"/>
                  </a:lnTo>
                  <a:lnTo>
                    <a:pt x="342275" y="43738"/>
                  </a:lnTo>
                  <a:lnTo>
                    <a:pt x="298438" y="19810"/>
                  </a:lnTo>
                  <a:lnTo>
                    <a:pt x="251264" y="4882"/>
                  </a:lnTo>
                  <a:lnTo>
                    <a:pt x="202390" y="0"/>
                  </a:lnTo>
                  <a:close/>
                </a:path>
              </a:pathLst>
            </a:custGeom>
            <a:solidFill>
              <a:srgbClr val="F1F2F2"/>
            </a:solidFill>
          </p:spPr>
          <p:txBody>
            <a:bodyPr wrap="square" lIns="0" tIns="0" rIns="0" bIns="0" rtlCol="0"/>
            <a:lstStyle/>
            <a:p>
              <a:endParaRPr sz="649"/>
            </a:p>
          </p:txBody>
        </p:sp>
        <p:sp>
          <p:nvSpPr>
            <p:cNvPr id="111" name="object 111"/>
            <p:cNvSpPr/>
            <p:nvPr/>
          </p:nvSpPr>
          <p:spPr>
            <a:xfrm>
              <a:off x="4106598" y="9272313"/>
              <a:ext cx="447040" cy="292735"/>
            </a:xfrm>
            <a:custGeom>
              <a:avLst/>
              <a:gdLst/>
              <a:ahLst/>
              <a:cxnLst/>
              <a:rect l="l" t="t" r="r" b="b"/>
              <a:pathLst>
                <a:path w="447039" h="292734">
                  <a:moveTo>
                    <a:pt x="446913" y="154795"/>
                  </a:moveTo>
                  <a:lnTo>
                    <a:pt x="413792" y="109732"/>
                  </a:lnTo>
                  <a:lnTo>
                    <a:pt x="381139" y="75623"/>
                  </a:lnTo>
                  <a:lnTo>
                    <a:pt x="342275" y="43738"/>
                  </a:lnTo>
                  <a:lnTo>
                    <a:pt x="298438" y="19810"/>
                  </a:lnTo>
                  <a:lnTo>
                    <a:pt x="251264" y="4882"/>
                  </a:lnTo>
                  <a:lnTo>
                    <a:pt x="202390" y="0"/>
                  </a:lnTo>
                  <a:lnTo>
                    <a:pt x="153451" y="6205"/>
                  </a:lnTo>
                  <a:lnTo>
                    <a:pt x="106083" y="24543"/>
                  </a:lnTo>
                  <a:lnTo>
                    <a:pt x="73393" y="50810"/>
                  </a:lnTo>
                  <a:lnTo>
                    <a:pt x="38101" y="91952"/>
                  </a:lnTo>
                  <a:lnTo>
                    <a:pt x="10280" y="136718"/>
                  </a:lnTo>
                  <a:lnTo>
                    <a:pt x="0" y="173857"/>
                  </a:lnTo>
                  <a:lnTo>
                    <a:pt x="5219" y="186083"/>
                  </a:lnTo>
                  <a:lnTo>
                    <a:pt x="43375" y="207113"/>
                  </a:lnTo>
                  <a:lnTo>
                    <a:pt x="121385" y="228164"/>
                  </a:lnTo>
                  <a:lnTo>
                    <a:pt x="176423" y="240415"/>
                  </a:lnTo>
                  <a:lnTo>
                    <a:pt x="242729" y="254733"/>
                  </a:lnTo>
                  <a:lnTo>
                    <a:pt x="320737" y="271807"/>
                  </a:lnTo>
                  <a:lnTo>
                    <a:pt x="410883" y="292323"/>
                  </a:lnTo>
                </a:path>
              </a:pathLst>
            </a:custGeom>
            <a:ln w="25400">
              <a:solidFill>
                <a:srgbClr val="231F20"/>
              </a:solidFill>
            </a:ln>
          </p:spPr>
          <p:txBody>
            <a:bodyPr wrap="square" lIns="0" tIns="0" rIns="0" bIns="0" rtlCol="0"/>
            <a:lstStyle/>
            <a:p>
              <a:endParaRPr sz="649"/>
            </a:p>
          </p:txBody>
        </p:sp>
        <p:sp>
          <p:nvSpPr>
            <p:cNvPr id="112" name="object 112"/>
            <p:cNvSpPr/>
            <p:nvPr/>
          </p:nvSpPr>
          <p:spPr>
            <a:xfrm>
              <a:off x="4263675" y="9073959"/>
              <a:ext cx="1348105" cy="784225"/>
            </a:xfrm>
            <a:custGeom>
              <a:avLst/>
              <a:gdLst/>
              <a:ahLst/>
              <a:cxnLst/>
              <a:rect l="l" t="t" r="r" b="b"/>
              <a:pathLst>
                <a:path w="1348104" h="784225">
                  <a:moveTo>
                    <a:pt x="158661" y="0"/>
                  </a:moveTo>
                  <a:lnTo>
                    <a:pt x="108658" y="11820"/>
                  </a:lnTo>
                  <a:lnTo>
                    <a:pt x="57865" y="34829"/>
                  </a:lnTo>
                  <a:lnTo>
                    <a:pt x="17805" y="64068"/>
                  </a:lnTo>
                  <a:lnTo>
                    <a:pt x="0" y="94576"/>
                  </a:lnTo>
                  <a:lnTo>
                    <a:pt x="4709" y="117459"/>
                  </a:lnTo>
                  <a:lnTo>
                    <a:pt x="19870" y="156689"/>
                  </a:lnTo>
                  <a:lnTo>
                    <a:pt x="43260" y="207470"/>
                  </a:lnTo>
                  <a:lnTo>
                    <a:pt x="72655" y="265007"/>
                  </a:lnTo>
                  <a:lnTo>
                    <a:pt x="105834" y="324502"/>
                  </a:lnTo>
                  <a:lnTo>
                    <a:pt x="140572" y="381161"/>
                  </a:lnTo>
                  <a:lnTo>
                    <a:pt x="174646" y="430187"/>
                  </a:lnTo>
                  <a:lnTo>
                    <a:pt x="205835" y="466783"/>
                  </a:lnTo>
                  <a:lnTo>
                    <a:pt x="248052" y="491943"/>
                  </a:lnTo>
                  <a:lnTo>
                    <a:pt x="310085" y="511676"/>
                  </a:lnTo>
                  <a:lnTo>
                    <a:pt x="404374" y="540183"/>
                  </a:lnTo>
                  <a:lnTo>
                    <a:pt x="522009" y="574941"/>
                  </a:lnTo>
                  <a:lnTo>
                    <a:pt x="722753" y="633285"/>
                  </a:lnTo>
                  <a:lnTo>
                    <a:pt x="988985" y="709421"/>
                  </a:lnTo>
                  <a:lnTo>
                    <a:pt x="1148617" y="754249"/>
                  </a:lnTo>
                  <a:lnTo>
                    <a:pt x="1219268" y="773559"/>
                  </a:lnTo>
                  <a:lnTo>
                    <a:pt x="1274542" y="783923"/>
                  </a:lnTo>
                  <a:lnTo>
                    <a:pt x="1297231" y="778629"/>
                  </a:lnTo>
                  <a:lnTo>
                    <a:pt x="1318831" y="757367"/>
                  </a:lnTo>
                  <a:lnTo>
                    <a:pt x="1339189" y="711923"/>
                  </a:lnTo>
                  <a:lnTo>
                    <a:pt x="1344514" y="694062"/>
                  </a:lnTo>
                  <a:lnTo>
                    <a:pt x="1347658" y="672825"/>
                  </a:lnTo>
                  <a:lnTo>
                    <a:pt x="1343924" y="652100"/>
                  </a:lnTo>
                  <a:lnTo>
                    <a:pt x="1328610" y="635774"/>
                  </a:lnTo>
                  <a:lnTo>
                    <a:pt x="1308789" y="623802"/>
                  </a:lnTo>
                  <a:lnTo>
                    <a:pt x="1229024" y="574264"/>
                  </a:lnTo>
                  <a:lnTo>
                    <a:pt x="1176147" y="541802"/>
                  </a:lnTo>
                  <a:lnTo>
                    <a:pt x="1119320" y="507616"/>
                  </a:lnTo>
                  <a:lnTo>
                    <a:pt x="1062077" y="474256"/>
                  </a:lnTo>
                  <a:lnTo>
                    <a:pt x="1007951" y="444275"/>
                  </a:lnTo>
                  <a:lnTo>
                    <a:pt x="960476" y="420225"/>
                  </a:lnTo>
                  <a:lnTo>
                    <a:pt x="923188" y="404660"/>
                  </a:lnTo>
                  <a:lnTo>
                    <a:pt x="839778" y="383661"/>
                  </a:lnTo>
                  <a:lnTo>
                    <a:pt x="782634" y="372246"/>
                  </a:lnTo>
                  <a:lnTo>
                    <a:pt x="719853" y="360833"/>
                  </a:lnTo>
                  <a:lnTo>
                    <a:pt x="654927" y="349883"/>
                  </a:lnTo>
                  <a:lnTo>
                    <a:pt x="591349" y="339854"/>
                  </a:lnTo>
                  <a:lnTo>
                    <a:pt x="532611" y="331207"/>
                  </a:lnTo>
                  <a:lnTo>
                    <a:pt x="482205" y="324400"/>
                  </a:lnTo>
                  <a:lnTo>
                    <a:pt x="443623" y="319894"/>
                  </a:lnTo>
                  <a:lnTo>
                    <a:pt x="420357" y="318147"/>
                  </a:lnTo>
                  <a:lnTo>
                    <a:pt x="379626" y="323327"/>
                  </a:lnTo>
                  <a:lnTo>
                    <a:pt x="336961" y="335405"/>
                  </a:lnTo>
                  <a:lnTo>
                    <a:pt x="303323" y="347613"/>
                  </a:lnTo>
                  <a:lnTo>
                    <a:pt x="289674" y="353186"/>
                  </a:lnTo>
                  <a:lnTo>
                    <a:pt x="294182" y="311649"/>
                  </a:lnTo>
                  <a:lnTo>
                    <a:pt x="296216" y="285678"/>
                  </a:lnTo>
                  <a:lnTo>
                    <a:pt x="296251" y="264363"/>
                  </a:lnTo>
                  <a:lnTo>
                    <a:pt x="294767" y="236791"/>
                  </a:lnTo>
                  <a:lnTo>
                    <a:pt x="291058" y="196264"/>
                  </a:lnTo>
                  <a:lnTo>
                    <a:pt x="283718" y="150716"/>
                  </a:lnTo>
                  <a:lnTo>
                    <a:pt x="271778" y="104499"/>
                  </a:lnTo>
                  <a:lnTo>
                    <a:pt x="254270" y="61966"/>
                  </a:lnTo>
                  <a:lnTo>
                    <a:pt x="230226" y="27470"/>
                  </a:lnTo>
                  <a:lnTo>
                    <a:pt x="198679" y="5364"/>
                  </a:lnTo>
                  <a:lnTo>
                    <a:pt x="158661" y="0"/>
                  </a:lnTo>
                  <a:close/>
                </a:path>
              </a:pathLst>
            </a:custGeom>
            <a:solidFill>
              <a:srgbClr val="D1D3D4"/>
            </a:solidFill>
          </p:spPr>
          <p:txBody>
            <a:bodyPr wrap="square" lIns="0" tIns="0" rIns="0" bIns="0" rtlCol="0"/>
            <a:lstStyle/>
            <a:p>
              <a:endParaRPr sz="649"/>
            </a:p>
          </p:txBody>
        </p:sp>
        <p:sp>
          <p:nvSpPr>
            <p:cNvPr id="113" name="object 113"/>
            <p:cNvSpPr/>
            <p:nvPr/>
          </p:nvSpPr>
          <p:spPr>
            <a:xfrm>
              <a:off x="4263675" y="9073959"/>
              <a:ext cx="1348105" cy="784225"/>
            </a:xfrm>
            <a:custGeom>
              <a:avLst/>
              <a:gdLst/>
              <a:ahLst/>
              <a:cxnLst/>
              <a:rect l="l" t="t" r="r" b="b"/>
              <a:pathLst>
                <a:path w="1348104" h="784225">
                  <a:moveTo>
                    <a:pt x="289674" y="353186"/>
                  </a:moveTo>
                  <a:lnTo>
                    <a:pt x="294182" y="311649"/>
                  </a:lnTo>
                  <a:lnTo>
                    <a:pt x="296251" y="264363"/>
                  </a:lnTo>
                  <a:lnTo>
                    <a:pt x="291058" y="196264"/>
                  </a:lnTo>
                  <a:lnTo>
                    <a:pt x="283718" y="150716"/>
                  </a:lnTo>
                  <a:lnTo>
                    <a:pt x="271778" y="104499"/>
                  </a:lnTo>
                  <a:lnTo>
                    <a:pt x="254270" y="61966"/>
                  </a:lnTo>
                  <a:lnTo>
                    <a:pt x="230226" y="27470"/>
                  </a:lnTo>
                  <a:lnTo>
                    <a:pt x="198679" y="5364"/>
                  </a:lnTo>
                  <a:lnTo>
                    <a:pt x="158661" y="0"/>
                  </a:lnTo>
                  <a:lnTo>
                    <a:pt x="108658" y="11820"/>
                  </a:lnTo>
                  <a:lnTo>
                    <a:pt x="57865" y="34829"/>
                  </a:lnTo>
                  <a:lnTo>
                    <a:pt x="17805" y="64068"/>
                  </a:lnTo>
                  <a:lnTo>
                    <a:pt x="0" y="94576"/>
                  </a:lnTo>
                  <a:lnTo>
                    <a:pt x="4709" y="117459"/>
                  </a:lnTo>
                  <a:lnTo>
                    <a:pt x="19870" y="156689"/>
                  </a:lnTo>
                  <a:lnTo>
                    <a:pt x="43260" y="207470"/>
                  </a:lnTo>
                  <a:lnTo>
                    <a:pt x="72655" y="265007"/>
                  </a:lnTo>
                  <a:lnTo>
                    <a:pt x="105834" y="324502"/>
                  </a:lnTo>
                  <a:lnTo>
                    <a:pt x="140572" y="381161"/>
                  </a:lnTo>
                  <a:lnTo>
                    <a:pt x="174646" y="430187"/>
                  </a:lnTo>
                  <a:lnTo>
                    <a:pt x="205835" y="466783"/>
                  </a:lnTo>
                  <a:lnTo>
                    <a:pt x="248052" y="491943"/>
                  </a:lnTo>
                  <a:lnTo>
                    <a:pt x="310085" y="511676"/>
                  </a:lnTo>
                  <a:lnTo>
                    <a:pt x="353754" y="524990"/>
                  </a:lnTo>
                  <a:lnTo>
                    <a:pt x="404374" y="540183"/>
                  </a:lnTo>
                  <a:lnTo>
                    <a:pt x="460830" y="556938"/>
                  </a:lnTo>
                  <a:lnTo>
                    <a:pt x="522009" y="574941"/>
                  </a:lnTo>
                  <a:lnTo>
                    <a:pt x="586799" y="593877"/>
                  </a:lnTo>
                  <a:lnTo>
                    <a:pt x="654084" y="613430"/>
                  </a:lnTo>
                  <a:lnTo>
                    <a:pt x="722753" y="633285"/>
                  </a:lnTo>
                  <a:lnTo>
                    <a:pt x="791691" y="653127"/>
                  </a:lnTo>
                  <a:lnTo>
                    <a:pt x="859784" y="672641"/>
                  </a:lnTo>
                  <a:lnTo>
                    <a:pt x="925920" y="691511"/>
                  </a:lnTo>
                  <a:lnTo>
                    <a:pt x="988985" y="709421"/>
                  </a:lnTo>
                  <a:lnTo>
                    <a:pt x="1047865" y="726058"/>
                  </a:lnTo>
                  <a:lnTo>
                    <a:pt x="1101447" y="741106"/>
                  </a:lnTo>
                  <a:lnTo>
                    <a:pt x="1148617" y="754249"/>
                  </a:lnTo>
                  <a:lnTo>
                    <a:pt x="1188262" y="765171"/>
                  </a:lnTo>
                  <a:lnTo>
                    <a:pt x="1240523" y="779097"/>
                  </a:lnTo>
                  <a:lnTo>
                    <a:pt x="1274542" y="783923"/>
                  </a:lnTo>
                  <a:lnTo>
                    <a:pt x="1297231" y="778629"/>
                  </a:lnTo>
                  <a:lnTo>
                    <a:pt x="1318831" y="757367"/>
                  </a:lnTo>
                  <a:lnTo>
                    <a:pt x="1339189" y="711923"/>
                  </a:lnTo>
                  <a:lnTo>
                    <a:pt x="1344514" y="694062"/>
                  </a:lnTo>
                  <a:lnTo>
                    <a:pt x="1347658" y="672825"/>
                  </a:lnTo>
                  <a:lnTo>
                    <a:pt x="1343924" y="652100"/>
                  </a:lnTo>
                  <a:lnTo>
                    <a:pt x="1328610" y="635774"/>
                  </a:lnTo>
                  <a:lnTo>
                    <a:pt x="1308789" y="623802"/>
                  </a:lnTo>
                  <a:lnTo>
                    <a:pt x="1274416" y="602448"/>
                  </a:lnTo>
                  <a:lnTo>
                    <a:pt x="1229024" y="574264"/>
                  </a:lnTo>
                  <a:lnTo>
                    <a:pt x="1176147" y="541802"/>
                  </a:lnTo>
                  <a:lnTo>
                    <a:pt x="1119320" y="507616"/>
                  </a:lnTo>
                  <a:lnTo>
                    <a:pt x="1062077" y="474256"/>
                  </a:lnTo>
                  <a:lnTo>
                    <a:pt x="1007951" y="444275"/>
                  </a:lnTo>
                  <a:lnTo>
                    <a:pt x="960476" y="420225"/>
                  </a:lnTo>
                  <a:lnTo>
                    <a:pt x="923188" y="404660"/>
                  </a:lnTo>
                  <a:lnTo>
                    <a:pt x="839778" y="383661"/>
                  </a:lnTo>
                  <a:lnTo>
                    <a:pt x="782634" y="372246"/>
                  </a:lnTo>
                  <a:lnTo>
                    <a:pt x="719853" y="360833"/>
                  </a:lnTo>
                  <a:lnTo>
                    <a:pt x="654927" y="349883"/>
                  </a:lnTo>
                  <a:lnTo>
                    <a:pt x="591349" y="339854"/>
                  </a:lnTo>
                  <a:lnTo>
                    <a:pt x="532611" y="331207"/>
                  </a:lnTo>
                  <a:lnTo>
                    <a:pt x="482205" y="324400"/>
                  </a:lnTo>
                  <a:lnTo>
                    <a:pt x="443623" y="319894"/>
                  </a:lnTo>
                  <a:lnTo>
                    <a:pt x="420357" y="318147"/>
                  </a:lnTo>
                  <a:lnTo>
                    <a:pt x="379626" y="323327"/>
                  </a:lnTo>
                  <a:lnTo>
                    <a:pt x="336961" y="335405"/>
                  </a:lnTo>
                  <a:lnTo>
                    <a:pt x="303323" y="347613"/>
                  </a:lnTo>
                  <a:lnTo>
                    <a:pt x="289674" y="353186"/>
                  </a:lnTo>
                  <a:close/>
                </a:path>
              </a:pathLst>
            </a:custGeom>
            <a:ln w="25400">
              <a:solidFill>
                <a:srgbClr val="231F20"/>
              </a:solidFill>
            </a:ln>
          </p:spPr>
          <p:txBody>
            <a:bodyPr wrap="square" lIns="0" tIns="0" rIns="0" bIns="0" rtlCol="0"/>
            <a:lstStyle/>
            <a:p>
              <a:endParaRPr sz="649"/>
            </a:p>
          </p:txBody>
        </p:sp>
        <p:sp>
          <p:nvSpPr>
            <p:cNvPr id="114" name="object 114"/>
            <p:cNvSpPr/>
            <p:nvPr/>
          </p:nvSpPr>
          <p:spPr>
            <a:xfrm>
              <a:off x="5250469" y="9727791"/>
              <a:ext cx="935355" cy="307975"/>
            </a:xfrm>
            <a:custGeom>
              <a:avLst/>
              <a:gdLst/>
              <a:ahLst/>
              <a:cxnLst/>
              <a:rect l="l" t="t" r="r" b="b"/>
              <a:pathLst>
                <a:path w="935354" h="307975">
                  <a:moveTo>
                    <a:pt x="504940" y="0"/>
                  </a:moveTo>
                  <a:lnTo>
                    <a:pt x="429642" y="0"/>
                  </a:lnTo>
                  <a:lnTo>
                    <a:pt x="429642" y="228295"/>
                  </a:lnTo>
                  <a:lnTo>
                    <a:pt x="429426" y="229311"/>
                  </a:lnTo>
                  <a:lnTo>
                    <a:pt x="104" y="268721"/>
                  </a:lnTo>
                  <a:lnTo>
                    <a:pt x="0" y="272799"/>
                  </a:lnTo>
                  <a:lnTo>
                    <a:pt x="2135" y="307962"/>
                  </a:lnTo>
                  <a:lnTo>
                    <a:pt x="934937" y="307962"/>
                  </a:lnTo>
                  <a:lnTo>
                    <a:pt x="934937" y="268744"/>
                  </a:lnTo>
                  <a:lnTo>
                    <a:pt x="506591" y="228650"/>
                  </a:lnTo>
                  <a:lnTo>
                    <a:pt x="505652" y="226212"/>
                  </a:lnTo>
                  <a:lnTo>
                    <a:pt x="504940" y="0"/>
                  </a:lnTo>
                  <a:close/>
                </a:path>
              </a:pathLst>
            </a:custGeom>
            <a:solidFill>
              <a:srgbClr val="FFFFFF"/>
            </a:solidFill>
          </p:spPr>
          <p:txBody>
            <a:bodyPr wrap="square" lIns="0" tIns="0" rIns="0" bIns="0" rtlCol="0"/>
            <a:lstStyle/>
            <a:p>
              <a:endParaRPr sz="649"/>
            </a:p>
          </p:txBody>
        </p:sp>
        <p:sp>
          <p:nvSpPr>
            <p:cNvPr id="115" name="object 115"/>
            <p:cNvSpPr/>
            <p:nvPr/>
          </p:nvSpPr>
          <p:spPr>
            <a:xfrm>
              <a:off x="5250469" y="9727791"/>
              <a:ext cx="935355" cy="307975"/>
            </a:xfrm>
            <a:custGeom>
              <a:avLst/>
              <a:gdLst/>
              <a:ahLst/>
              <a:cxnLst/>
              <a:rect l="l" t="t" r="r" b="b"/>
              <a:pathLst>
                <a:path w="935354" h="307975">
                  <a:moveTo>
                    <a:pt x="504940" y="0"/>
                  </a:moveTo>
                  <a:lnTo>
                    <a:pt x="505652" y="226212"/>
                  </a:lnTo>
                  <a:lnTo>
                    <a:pt x="506591" y="228650"/>
                  </a:lnTo>
                  <a:lnTo>
                    <a:pt x="934937" y="268744"/>
                  </a:lnTo>
                  <a:lnTo>
                    <a:pt x="934937" y="307962"/>
                  </a:lnTo>
                  <a:lnTo>
                    <a:pt x="2135" y="307962"/>
                  </a:lnTo>
                  <a:lnTo>
                    <a:pt x="635" y="284653"/>
                  </a:lnTo>
                  <a:lnTo>
                    <a:pt x="0" y="272799"/>
                  </a:lnTo>
                  <a:lnTo>
                    <a:pt x="104" y="268721"/>
                  </a:lnTo>
                  <a:lnTo>
                    <a:pt x="827" y="268744"/>
                  </a:lnTo>
                  <a:lnTo>
                    <a:pt x="429426" y="229311"/>
                  </a:lnTo>
                  <a:lnTo>
                    <a:pt x="429642" y="228295"/>
                  </a:lnTo>
                  <a:lnTo>
                    <a:pt x="429642" y="0"/>
                  </a:lnTo>
                </a:path>
              </a:pathLst>
            </a:custGeom>
            <a:ln w="12700">
              <a:solidFill>
                <a:srgbClr val="231F20"/>
              </a:solidFill>
            </a:ln>
          </p:spPr>
          <p:txBody>
            <a:bodyPr wrap="square" lIns="0" tIns="0" rIns="0" bIns="0" rtlCol="0"/>
            <a:lstStyle/>
            <a:p>
              <a:endParaRPr sz="649"/>
            </a:p>
          </p:txBody>
        </p:sp>
        <p:sp>
          <p:nvSpPr>
            <p:cNvPr id="116" name="object 116"/>
            <p:cNvSpPr/>
            <p:nvPr/>
          </p:nvSpPr>
          <p:spPr>
            <a:xfrm>
              <a:off x="6177622" y="9339807"/>
              <a:ext cx="808355" cy="256540"/>
            </a:xfrm>
            <a:custGeom>
              <a:avLst/>
              <a:gdLst/>
              <a:ahLst/>
              <a:cxnLst/>
              <a:rect l="l" t="t" r="r" b="b"/>
              <a:pathLst>
                <a:path w="808354" h="256540">
                  <a:moveTo>
                    <a:pt x="199113" y="0"/>
                  </a:moveTo>
                  <a:lnTo>
                    <a:pt x="140850" y="626"/>
                  </a:lnTo>
                  <a:lnTo>
                    <a:pt x="38889" y="3174"/>
                  </a:lnTo>
                  <a:lnTo>
                    <a:pt x="0" y="3746"/>
                  </a:lnTo>
                  <a:lnTo>
                    <a:pt x="10312" y="127088"/>
                  </a:lnTo>
                  <a:lnTo>
                    <a:pt x="28271" y="122553"/>
                  </a:lnTo>
                  <a:lnTo>
                    <a:pt x="67590" y="117761"/>
                  </a:lnTo>
                  <a:lnTo>
                    <a:pt x="121904" y="113242"/>
                  </a:lnTo>
                  <a:lnTo>
                    <a:pt x="184851" y="109531"/>
                  </a:lnTo>
                  <a:lnTo>
                    <a:pt x="250066" y="107157"/>
                  </a:lnTo>
                  <a:lnTo>
                    <a:pt x="311185" y="106654"/>
                  </a:lnTo>
                  <a:lnTo>
                    <a:pt x="361845" y="108552"/>
                  </a:lnTo>
                  <a:lnTo>
                    <a:pt x="395681" y="113385"/>
                  </a:lnTo>
                  <a:lnTo>
                    <a:pt x="427171" y="125304"/>
                  </a:lnTo>
                  <a:lnTo>
                    <a:pt x="471940" y="145819"/>
                  </a:lnTo>
                  <a:lnTo>
                    <a:pt x="582747" y="198804"/>
                  </a:lnTo>
                  <a:lnTo>
                    <a:pt x="639501" y="224356"/>
                  </a:lnTo>
                  <a:lnTo>
                    <a:pt x="690966" y="244671"/>
                  </a:lnTo>
                  <a:lnTo>
                    <a:pt x="732499" y="256289"/>
                  </a:lnTo>
                  <a:lnTo>
                    <a:pt x="759460" y="255752"/>
                  </a:lnTo>
                  <a:lnTo>
                    <a:pt x="789578" y="235356"/>
                  </a:lnTo>
                  <a:lnTo>
                    <a:pt x="806394" y="208091"/>
                  </a:lnTo>
                  <a:lnTo>
                    <a:pt x="808325" y="178237"/>
                  </a:lnTo>
                  <a:lnTo>
                    <a:pt x="793788" y="150075"/>
                  </a:lnTo>
                  <a:lnTo>
                    <a:pt x="741428" y="119003"/>
                  </a:lnTo>
                  <a:lnTo>
                    <a:pt x="697881" y="100839"/>
                  </a:lnTo>
                  <a:lnTo>
                    <a:pt x="646695" y="82051"/>
                  </a:lnTo>
                  <a:lnTo>
                    <a:pt x="590821" y="63483"/>
                  </a:lnTo>
                  <a:lnTo>
                    <a:pt x="533214" y="45980"/>
                  </a:lnTo>
                  <a:lnTo>
                    <a:pt x="476826" y="30388"/>
                  </a:lnTo>
                  <a:lnTo>
                    <a:pt x="424611" y="17551"/>
                  </a:lnTo>
                  <a:lnTo>
                    <a:pt x="374179" y="8805"/>
                  </a:lnTo>
                  <a:lnTo>
                    <a:pt x="318182" y="3414"/>
                  </a:lnTo>
                  <a:lnTo>
                    <a:pt x="259025" y="704"/>
                  </a:lnTo>
                  <a:lnTo>
                    <a:pt x="199113" y="0"/>
                  </a:lnTo>
                  <a:close/>
                </a:path>
              </a:pathLst>
            </a:custGeom>
            <a:solidFill>
              <a:srgbClr val="F1F2F2"/>
            </a:solidFill>
          </p:spPr>
          <p:txBody>
            <a:bodyPr wrap="square" lIns="0" tIns="0" rIns="0" bIns="0" rtlCol="0"/>
            <a:lstStyle/>
            <a:p>
              <a:endParaRPr sz="649"/>
            </a:p>
          </p:txBody>
        </p:sp>
        <p:sp>
          <p:nvSpPr>
            <p:cNvPr id="117" name="object 117"/>
            <p:cNvSpPr/>
            <p:nvPr/>
          </p:nvSpPr>
          <p:spPr>
            <a:xfrm>
              <a:off x="6177622" y="9339807"/>
              <a:ext cx="808355" cy="256540"/>
            </a:xfrm>
            <a:custGeom>
              <a:avLst/>
              <a:gdLst/>
              <a:ahLst/>
              <a:cxnLst/>
              <a:rect l="l" t="t" r="r" b="b"/>
              <a:pathLst>
                <a:path w="808354" h="256540">
                  <a:moveTo>
                    <a:pt x="0" y="3746"/>
                  </a:moveTo>
                  <a:lnTo>
                    <a:pt x="38889" y="3174"/>
                  </a:lnTo>
                  <a:lnTo>
                    <a:pt x="86640" y="1910"/>
                  </a:lnTo>
                  <a:lnTo>
                    <a:pt x="140850" y="626"/>
                  </a:lnTo>
                  <a:lnTo>
                    <a:pt x="199113" y="0"/>
                  </a:lnTo>
                  <a:lnTo>
                    <a:pt x="259025" y="704"/>
                  </a:lnTo>
                  <a:lnTo>
                    <a:pt x="318182" y="3414"/>
                  </a:lnTo>
                  <a:lnTo>
                    <a:pt x="374179" y="8805"/>
                  </a:lnTo>
                  <a:lnTo>
                    <a:pt x="424611" y="17551"/>
                  </a:lnTo>
                  <a:lnTo>
                    <a:pt x="476826" y="30388"/>
                  </a:lnTo>
                  <a:lnTo>
                    <a:pt x="533214" y="45980"/>
                  </a:lnTo>
                  <a:lnTo>
                    <a:pt x="590821" y="63483"/>
                  </a:lnTo>
                  <a:lnTo>
                    <a:pt x="646695" y="82051"/>
                  </a:lnTo>
                  <a:lnTo>
                    <a:pt x="697881" y="100839"/>
                  </a:lnTo>
                  <a:lnTo>
                    <a:pt x="741428" y="119003"/>
                  </a:lnTo>
                  <a:lnTo>
                    <a:pt x="793788" y="150075"/>
                  </a:lnTo>
                  <a:lnTo>
                    <a:pt x="808325" y="178237"/>
                  </a:lnTo>
                  <a:lnTo>
                    <a:pt x="806394" y="208091"/>
                  </a:lnTo>
                  <a:lnTo>
                    <a:pt x="789578" y="235356"/>
                  </a:lnTo>
                  <a:lnTo>
                    <a:pt x="759460" y="255752"/>
                  </a:lnTo>
                  <a:lnTo>
                    <a:pt x="732499" y="256289"/>
                  </a:lnTo>
                  <a:lnTo>
                    <a:pt x="690966" y="244671"/>
                  </a:lnTo>
                  <a:lnTo>
                    <a:pt x="639501" y="224356"/>
                  </a:lnTo>
                  <a:lnTo>
                    <a:pt x="582747" y="198804"/>
                  </a:lnTo>
                  <a:lnTo>
                    <a:pt x="525346" y="171472"/>
                  </a:lnTo>
                  <a:lnTo>
                    <a:pt x="471940" y="145819"/>
                  </a:lnTo>
                  <a:lnTo>
                    <a:pt x="427171" y="125304"/>
                  </a:lnTo>
                  <a:lnTo>
                    <a:pt x="395681" y="113385"/>
                  </a:lnTo>
                  <a:lnTo>
                    <a:pt x="361845" y="108552"/>
                  </a:lnTo>
                  <a:lnTo>
                    <a:pt x="311185" y="106654"/>
                  </a:lnTo>
                  <a:lnTo>
                    <a:pt x="250066" y="107157"/>
                  </a:lnTo>
                  <a:lnTo>
                    <a:pt x="184851" y="109531"/>
                  </a:lnTo>
                  <a:lnTo>
                    <a:pt x="121904" y="113242"/>
                  </a:lnTo>
                  <a:lnTo>
                    <a:pt x="67590" y="117761"/>
                  </a:lnTo>
                  <a:lnTo>
                    <a:pt x="28271" y="122553"/>
                  </a:lnTo>
                  <a:lnTo>
                    <a:pt x="10312" y="127088"/>
                  </a:lnTo>
                </a:path>
              </a:pathLst>
            </a:custGeom>
            <a:ln w="25400">
              <a:solidFill>
                <a:srgbClr val="231F20"/>
              </a:solidFill>
            </a:ln>
          </p:spPr>
          <p:txBody>
            <a:bodyPr wrap="square" lIns="0" tIns="0" rIns="0" bIns="0" rtlCol="0"/>
            <a:lstStyle/>
            <a:p>
              <a:endParaRPr sz="649"/>
            </a:p>
          </p:txBody>
        </p:sp>
        <p:sp>
          <p:nvSpPr>
            <p:cNvPr id="118" name="object 118"/>
            <p:cNvSpPr/>
            <p:nvPr/>
          </p:nvSpPr>
          <p:spPr>
            <a:xfrm>
              <a:off x="5452991" y="9354046"/>
              <a:ext cx="918844" cy="498475"/>
            </a:xfrm>
            <a:custGeom>
              <a:avLst/>
              <a:gdLst/>
              <a:ahLst/>
              <a:cxnLst/>
              <a:rect l="l" t="t" r="r" b="b"/>
              <a:pathLst>
                <a:path w="918845" h="498475">
                  <a:moveTo>
                    <a:pt x="715369" y="0"/>
                  </a:moveTo>
                  <a:lnTo>
                    <a:pt x="666013" y="3342"/>
                  </a:lnTo>
                  <a:lnTo>
                    <a:pt x="599514" y="15440"/>
                  </a:lnTo>
                  <a:lnTo>
                    <a:pt x="507971" y="40114"/>
                  </a:lnTo>
                  <a:lnTo>
                    <a:pt x="328946" y="95941"/>
                  </a:lnTo>
                  <a:lnTo>
                    <a:pt x="0" y="201500"/>
                  </a:lnTo>
                  <a:lnTo>
                    <a:pt x="74129" y="474093"/>
                  </a:lnTo>
                  <a:lnTo>
                    <a:pt x="374361" y="402908"/>
                  </a:lnTo>
                  <a:lnTo>
                    <a:pt x="588394" y="351726"/>
                  </a:lnTo>
                  <a:lnTo>
                    <a:pt x="701700" y="323751"/>
                  </a:lnTo>
                  <a:lnTo>
                    <a:pt x="719078" y="249128"/>
                  </a:lnTo>
                  <a:lnTo>
                    <a:pt x="718489" y="191254"/>
                  </a:lnTo>
                  <a:lnTo>
                    <a:pt x="720787" y="142636"/>
                  </a:lnTo>
                  <a:lnTo>
                    <a:pt x="732777" y="120500"/>
                  </a:lnTo>
                  <a:lnTo>
                    <a:pt x="765823" y="132336"/>
                  </a:lnTo>
                  <a:lnTo>
                    <a:pt x="790814" y="171033"/>
                  </a:lnTo>
                  <a:lnTo>
                    <a:pt x="805888" y="223313"/>
                  </a:lnTo>
                  <a:lnTo>
                    <a:pt x="809180" y="275897"/>
                  </a:lnTo>
                  <a:lnTo>
                    <a:pt x="793903" y="313066"/>
                  </a:lnTo>
                  <a:lnTo>
                    <a:pt x="759269" y="340053"/>
                  </a:lnTo>
                  <a:lnTo>
                    <a:pt x="713457" y="359216"/>
                  </a:lnTo>
                  <a:lnTo>
                    <a:pt x="664647" y="372914"/>
                  </a:lnTo>
                  <a:lnTo>
                    <a:pt x="621017" y="383504"/>
                  </a:lnTo>
                  <a:lnTo>
                    <a:pt x="583807" y="391955"/>
                  </a:lnTo>
                  <a:lnTo>
                    <a:pt x="549001" y="398687"/>
                  </a:lnTo>
                  <a:lnTo>
                    <a:pt x="516311" y="405400"/>
                  </a:lnTo>
                  <a:lnTo>
                    <a:pt x="485444" y="413794"/>
                  </a:lnTo>
                  <a:lnTo>
                    <a:pt x="454997" y="434886"/>
                  </a:lnTo>
                  <a:lnTo>
                    <a:pt x="451248" y="461776"/>
                  </a:lnTo>
                  <a:lnTo>
                    <a:pt x="465479" y="485515"/>
                  </a:lnTo>
                  <a:lnTo>
                    <a:pt x="488975" y="497156"/>
                  </a:lnTo>
                  <a:lnTo>
                    <a:pt x="529199" y="497924"/>
                  </a:lnTo>
                  <a:lnTo>
                    <a:pt x="578201" y="493415"/>
                  </a:lnTo>
                  <a:lnTo>
                    <a:pt x="632490" y="484175"/>
                  </a:lnTo>
                  <a:lnTo>
                    <a:pt x="688572" y="470753"/>
                  </a:lnTo>
                  <a:lnTo>
                    <a:pt x="742956" y="453693"/>
                  </a:lnTo>
                  <a:lnTo>
                    <a:pt x="792149" y="433542"/>
                  </a:lnTo>
                  <a:lnTo>
                    <a:pt x="827680" y="413510"/>
                  </a:lnTo>
                  <a:lnTo>
                    <a:pt x="859063" y="388530"/>
                  </a:lnTo>
                  <a:lnTo>
                    <a:pt x="885058" y="358410"/>
                  </a:lnTo>
                  <a:lnTo>
                    <a:pt x="904422" y="322954"/>
                  </a:lnTo>
                  <a:lnTo>
                    <a:pt x="915915" y="281968"/>
                  </a:lnTo>
                  <a:lnTo>
                    <a:pt x="918296" y="235257"/>
                  </a:lnTo>
                  <a:lnTo>
                    <a:pt x="910323" y="182628"/>
                  </a:lnTo>
                  <a:lnTo>
                    <a:pt x="892458" y="128205"/>
                  </a:lnTo>
                  <a:lnTo>
                    <a:pt x="868053" y="83338"/>
                  </a:lnTo>
                  <a:lnTo>
                    <a:pt x="837626" y="48054"/>
                  </a:lnTo>
                  <a:lnTo>
                    <a:pt x="801692" y="22384"/>
                  </a:lnTo>
                  <a:lnTo>
                    <a:pt x="760767" y="6356"/>
                  </a:lnTo>
                  <a:lnTo>
                    <a:pt x="715369" y="0"/>
                  </a:lnTo>
                  <a:close/>
                </a:path>
              </a:pathLst>
            </a:custGeom>
            <a:solidFill>
              <a:srgbClr val="D1D3D4"/>
            </a:solidFill>
          </p:spPr>
          <p:txBody>
            <a:bodyPr wrap="square" lIns="0" tIns="0" rIns="0" bIns="0" rtlCol="0"/>
            <a:lstStyle/>
            <a:p>
              <a:endParaRPr sz="649"/>
            </a:p>
          </p:txBody>
        </p:sp>
        <p:sp>
          <p:nvSpPr>
            <p:cNvPr id="119" name="object 119"/>
            <p:cNvSpPr/>
            <p:nvPr/>
          </p:nvSpPr>
          <p:spPr>
            <a:xfrm>
              <a:off x="5452991" y="9354046"/>
              <a:ext cx="918844" cy="498475"/>
            </a:xfrm>
            <a:custGeom>
              <a:avLst/>
              <a:gdLst/>
              <a:ahLst/>
              <a:cxnLst/>
              <a:rect l="l" t="t" r="r" b="b"/>
              <a:pathLst>
                <a:path w="918845" h="498475">
                  <a:moveTo>
                    <a:pt x="0" y="201500"/>
                  </a:moveTo>
                  <a:lnTo>
                    <a:pt x="328946" y="95941"/>
                  </a:lnTo>
                  <a:lnTo>
                    <a:pt x="507971" y="40114"/>
                  </a:lnTo>
                  <a:lnTo>
                    <a:pt x="599514" y="15440"/>
                  </a:lnTo>
                  <a:lnTo>
                    <a:pt x="666013" y="3342"/>
                  </a:lnTo>
                  <a:lnTo>
                    <a:pt x="715369" y="0"/>
                  </a:lnTo>
                  <a:lnTo>
                    <a:pt x="760767" y="6356"/>
                  </a:lnTo>
                  <a:lnTo>
                    <a:pt x="801692" y="22384"/>
                  </a:lnTo>
                  <a:lnTo>
                    <a:pt x="837626" y="48054"/>
                  </a:lnTo>
                  <a:lnTo>
                    <a:pt x="868053" y="83338"/>
                  </a:lnTo>
                  <a:lnTo>
                    <a:pt x="892458" y="128205"/>
                  </a:lnTo>
                  <a:lnTo>
                    <a:pt x="910323" y="182628"/>
                  </a:lnTo>
                  <a:lnTo>
                    <a:pt x="918296" y="235257"/>
                  </a:lnTo>
                  <a:lnTo>
                    <a:pt x="915915" y="281968"/>
                  </a:lnTo>
                  <a:lnTo>
                    <a:pt x="904422" y="322954"/>
                  </a:lnTo>
                  <a:lnTo>
                    <a:pt x="885058" y="358410"/>
                  </a:lnTo>
                  <a:lnTo>
                    <a:pt x="859063" y="388530"/>
                  </a:lnTo>
                  <a:lnTo>
                    <a:pt x="827680" y="413510"/>
                  </a:lnTo>
                  <a:lnTo>
                    <a:pt x="792149" y="433542"/>
                  </a:lnTo>
                  <a:lnTo>
                    <a:pt x="742956" y="453693"/>
                  </a:lnTo>
                  <a:lnTo>
                    <a:pt x="688572" y="470753"/>
                  </a:lnTo>
                  <a:lnTo>
                    <a:pt x="632490" y="484175"/>
                  </a:lnTo>
                  <a:lnTo>
                    <a:pt x="578201" y="493415"/>
                  </a:lnTo>
                  <a:lnTo>
                    <a:pt x="529199" y="497924"/>
                  </a:lnTo>
                  <a:lnTo>
                    <a:pt x="488975" y="497156"/>
                  </a:lnTo>
                  <a:lnTo>
                    <a:pt x="451248" y="461776"/>
                  </a:lnTo>
                  <a:lnTo>
                    <a:pt x="485444" y="413794"/>
                  </a:lnTo>
                  <a:lnTo>
                    <a:pt x="549001" y="398687"/>
                  </a:lnTo>
                  <a:lnTo>
                    <a:pt x="583807" y="391955"/>
                  </a:lnTo>
                  <a:lnTo>
                    <a:pt x="621017" y="383504"/>
                  </a:lnTo>
                  <a:lnTo>
                    <a:pt x="664647" y="372914"/>
                  </a:lnTo>
                  <a:lnTo>
                    <a:pt x="713457" y="359216"/>
                  </a:lnTo>
                  <a:lnTo>
                    <a:pt x="759269" y="340053"/>
                  </a:lnTo>
                  <a:lnTo>
                    <a:pt x="793903" y="313066"/>
                  </a:lnTo>
                  <a:lnTo>
                    <a:pt x="809180" y="275897"/>
                  </a:lnTo>
                  <a:lnTo>
                    <a:pt x="805888" y="223313"/>
                  </a:lnTo>
                  <a:lnTo>
                    <a:pt x="790814" y="171033"/>
                  </a:lnTo>
                  <a:lnTo>
                    <a:pt x="765823" y="132336"/>
                  </a:lnTo>
                  <a:lnTo>
                    <a:pt x="732777" y="120500"/>
                  </a:lnTo>
                  <a:lnTo>
                    <a:pt x="720787" y="142636"/>
                  </a:lnTo>
                  <a:lnTo>
                    <a:pt x="718489" y="191254"/>
                  </a:lnTo>
                  <a:lnTo>
                    <a:pt x="719078" y="249128"/>
                  </a:lnTo>
                  <a:lnTo>
                    <a:pt x="715750" y="299035"/>
                  </a:lnTo>
                  <a:lnTo>
                    <a:pt x="701700" y="323751"/>
                  </a:lnTo>
                  <a:lnTo>
                    <a:pt x="588394" y="351726"/>
                  </a:lnTo>
                  <a:lnTo>
                    <a:pt x="374361" y="402908"/>
                  </a:lnTo>
                  <a:lnTo>
                    <a:pt x="167105" y="452097"/>
                  </a:lnTo>
                  <a:lnTo>
                    <a:pt x="74129" y="474093"/>
                  </a:lnTo>
                </a:path>
              </a:pathLst>
            </a:custGeom>
            <a:ln w="25400">
              <a:solidFill>
                <a:srgbClr val="231F20"/>
              </a:solidFill>
            </a:ln>
          </p:spPr>
          <p:txBody>
            <a:bodyPr wrap="square" lIns="0" tIns="0" rIns="0" bIns="0" rtlCol="0"/>
            <a:lstStyle/>
            <a:p>
              <a:endParaRPr sz="649"/>
            </a:p>
          </p:txBody>
        </p:sp>
        <p:sp>
          <p:nvSpPr>
            <p:cNvPr id="120" name="object 120"/>
            <p:cNvSpPr/>
            <p:nvPr/>
          </p:nvSpPr>
          <p:spPr>
            <a:xfrm>
              <a:off x="4938881" y="8371577"/>
              <a:ext cx="653415" cy="1459230"/>
            </a:xfrm>
            <a:custGeom>
              <a:avLst/>
              <a:gdLst/>
              <a:ahLst/>
              <a:cxnLst/>
              <a:rect l="l" t="t" r="r" b="b"/>
              <a:pathLst>
                <a:path w="653414" h="1459229">
                  <a:moveTo>
                    <a:pt x="95514" y="0"/>
                  </a:moveTo>
                  <a:lnTo>
                    <a:pt x="43359" y="3439"/>
                  </a:lnTo>
                  <a:lnTo>
                    <a:pt x="5941" y="14979"/>
                  </a:lnTo>
                  <a:lnTo>
                    <a:pt x="0" y="32265"/>
                  </a:lnTo>
                  <a:lnTo>
                    <a:pt x="3252" y="67284"/>
                  </a:lnTo>
                  <a:lnTo>
                    <a:pt x="13675" y="115489"/>
                  </a:lnTo>
                  <a:lnTo>
                    <a:pt x="29244" y="172335"/>
                  </a:lnTo>
                  <a:lnTo>
                    <a:pt x="47933" y="233275"/>
                  </a:lnTo>
                  <a:lnTo>
                    <a:pt x="67719" y="293763"/>
                  </a:lnTo>
                  <a:lnTo>
                    <a:pt x="86576" y="349253"/>
                  </a:lnTo>
                  <a:lnTo>
                    <a:pt x="118808" y="442462"/>
                  </a:lnTo>
                  <a:lnTo>
                    <a:pt x="156540" y="544995"/>
                  </a:lnTo>
                  <a:lnTo>
                    <a:pt x="266474" y="837928"/>
                  </a:lnTo>
                  <a:lnTo>
                    <a:pt x="390548" y="1164857"/>
                  </a:lnTo>
                  <a:lnTo>
                    <a:pt x="450339" y="1320425"/>
                  </a:lnTo>
                  <a:lnTo>
                    <a:pt x="477222" y="1388983"/>
                  </a:lnTo>
                  <a:lnTo>
                    <a:pt x="502175" y="1439539"/>
                  </a:lnTo>
                  <a:lnTo>
                    <a:pt x="550073" y="1458850"/>
                  </a:lnTo>
                  <a:lnTo>
                    <a:pt x="598600" y="1447679"/>
                  </a:lnTo>
                  <a:lnTo>
                    <a:pt x="616051" y="1441161"/>
                  </a:lnTo>
                  <a:lnTo>
                    <a:pt x="634882" y="1430864"/>
                  </a:lnTo>
                  <a:lnTo>
                    <a:pt x="649158" y="1415386"/>
                  </a:lnTo>
                  <a:lnTo>
                    <a:pt x="652943" y="1393323"/>
                  </a:lnTo>
                  <a:lnTo>
                    <a:pt x="650541" y="1370295"/>
                  </a:lnTo>
                  <a:lnTo>
                    <a:pt x="641949" y="1276792"/>
                  </a:lnTo>
                  <a:lnTo>
                    <a:pt x="635951" y="1215035"/>
                  </a:lnTo>
                  <a:lnTo>
                    <a:pt x="628947" y="1149086"/>
                  </a:lnTo>
                  <a:lnTo>
                    <a:pt x="621032" y="1083303"/>
                  </a:lnTo>
                  <a:lnTo>
                    <a:pt x="612302" y="1022044"/>
                  </a:lnTo>
                  <a:lnTo>
                    <a:pt x="602854" y="969669"/>
                  </a:lnTo>
                  <a:lnTo>
                    <a:pt x="592783" y="930535"/>
                  </a:lnTo>
                  <a:lnTo>
                    <a:pt x="559223" y="851344"/>
                  </a:lnTo>
                  <a:lnTo>
                    <a:pt x="533861" y="798881"/>
                  </a:lnTo>
                  <a:lnTo>
                    <a:pt x="505098" y="741922"/>
                  </a:lnTo>
                  <a:lnTo>
                    <a:pt x="474673" y="683531"/>
                  </a:lnTo>
                  <a:lnTo>
                    <a:pt x="444326" y="626770"/>
                  </a:lnTo>
                  <a:lnTo>
                    <a:pt x="415796" y="574703"/>
                  </a:lnTo>
                  <a:lnTo>
                    <a:pt x="390823" y="530391"/>
                  </a:lnTo>
                  <a:lnTo>
                    <a:pt x="371146" y="496897"/>
                  </a:lnTo>
                  <a:lnTo>
                    <a:pt x="329811" y="447922"/>
                  </a:lnTo>
                  <a:lnTo>
                    <a:pt x="294444" y="421178"/>
                  </a:lnTo>
                  <a:lnTo>
                    <a:pt x="251737" y="394188"/>
                  </a:lnTo>
                  <a:lnTo>
                    <a:pt x="286605" y="369148"/>
                  </a:lnTo>
                  <a:lnTo>
                    <a:pt x="305846" y="351837"/>
                  </a:lnTo>
                  <a:lnTo>
                    <a:pt x="316313" y="334188"/>
                  </a:lnTo>
                  <a:lnTo>
                    <a:pt x="324864" y="308133"/>
                  </a:lnTo>
                  <a:lnTo>
                    <a:pt x="330884" y="264685"/>
                  </a:lnTo>
                  <a:lnTo>
                    <a:pt x="325295" y="218533"/>
                  </a:lnTo>
                  <a:lnTo>
                    <a:pt x="309901" y="171705"/>
                  </a:lnTo>
                  <a:lnTo>
                    <a:pt x="286505" y="126230"/>
                  </a:lnTo>
                  <a:lnTo>
                    <a:pt x="256912" y="84137"/>
                  </a:lnTo>
                  <a:lnTo>
                    <a:pt x="222924" y="47452"/>
                  </a:lnTo>
                  <a:lnTo>
                    <a:pt x="186345" y="18205"/>
                  </a:lnTo>
                  <a:lnTo>
                    <a:pt x="147984" y="4856"/>
                  </a:lnTo>
                  <a:lnTo>
                    <a:pt x="95514" y="0"/>
                  </a:lnTo>
                  <a:close/>
                </a:path>
              </a:pathLst>
            </a:custGeom>
            <a:solidFill>
              <a:srgbClr val="D1D3D4"/>
            </a:solidFill>
          </p:spPr>
          <p:txBody>
            <a:bodyPr wrap="square" lIns="0" tIns="0" rIns="0" bIns="0" rtlCol="0"/>
            <a:lstStyle/>
            <a:p>
              <a:endParaRPr sz="649"/>
            </a:p>
          </p:txBody>
        </p:sp>
        <p:sp>
          <p:nvSpPr>
            <p:cNvPr id="121" name="object 121"/>
            <p:cNvSpPr/>
            <p:nvPr/>
          </p:nvSpPr>
          <p:spPr>
            <a:xfrm>
              <a:off x="4938881" y="8371577"/>
              <a:ext cx="653415" cy="1459230"/>
            </a:xfrm>
            <a:custGeom>
              <a:avLst/>
              <a:gdLst/>
              <a:ahLst/>
              <a:cxnLst/>
              <a:rect l="l" t="t" r="r" b="b"/>
              <a:pathLst>
                <a:path w="653414" h="1459229">
                  <a:moveTo>
                    <a:pt x="251737" y="394188"/>
                  </a:moveTo>
                  <a:lnTo>
                    <a:pt x="286605" y="369148"/>
                  </a:lnTo>
                  <a:lnTo>
                    <a:pt x="316313" y="334188"/>
                  </a:lnTo>
                  <a:lnTo>
                    <a:pt x="330884" y="264685"/>
                  </a:lnTo>
                  <a:lnTo>
                    <a:pt x="325295" y="218533"/>
                  </a:lnTo>
                  <a:lnTo>
                    <a:pt x="309901" y="171705"/>
                  </a:lnTo>
                  <a:lnTo>
                    <a:pt x="286505" y="126230"/>
                  </a:lnTo>
                  <a:lnTo>
                    <a:pt x="256912" y="84137"/>
                  </a:lnTo>
                  <a:lnTo>
                    <a:pt x="222924" y="47452"/>
                  </a:lnTo>
                  <a:lnTo>
                    <a:pt x="186345" y="18205"/>
                  </a:lnTo>
                  <a:lnTo>
                    <a:pt x="147984" y="4856"/>
                  </a:lnTo>
                  <a:lnTo>
                    <a:pt x="95514" y="0"/>
                  </a:lnTo>
                  <a:lnTo>
                    <a:pt x="43359" y="3439"/>
                  </a:lnTo>
                  <a:lnTo>
                    <a:pt x="5941" y="14979"/>
                  </a:lnTo>
                  <a:lnTo>
                    <a:pt x="0" y="32265"/>
                  </a:lnTo>
                  <a:lnTo>
                    <a:pt x="3252" y="67284"/>
                  </a:lnTo>
                  <a:lnTo>
                    <a:pt x="13675" y="115489"/>
                  </a:lnTo>
                  <a:lnTo>
                    <a:pt x="29244" y="172335"/>
                  </a:lnTo>
                  <a:lnTo>
                    <a:pt x="47933" y="233275"/>
                  </a:lnTo>
                  <a:lnTo>
                    <a:pt x="67719" y="293763"/>
                  </a:lnTo>
                  <a:lnTo>
                    <a:pt x="86576" y="349253"/>
                  </a:lnTo>
                  <a:lnTo>
                    <a:pt x="102481" y="395200"/>
                  </a:lnTo>
                  <a:lnTo>
                    <a:pt x="113409" y="427056"/>
                  </a:lnTo>
                  <a:lnTo>
                    <a:pt x="128071" y="467984"/>
                  </a:lnTo>
                  <a:lnTo>
                    <a:pt x="156540" y="544995"/>
                  </a:lnTo>
                  <a:lnTo>
                    <a:pt x="174921" y="594295"/>
                  </a:lnTo>
                  <a:lnTo>
                    <a:pt x="195518" y="649333"/>
                  </a:lnTo>
                  <a:lnTo>
                    <a:pt x="217917" y="709014"/>
                  </a:lnTo>
                  <a:lnTo>
                    <a:pt x="241706" y="772244"/>
                  </a:lnTo>
                  <a:lnTo>
                    <a:pt x="266474" y="837928"/>
                  </a:lnTo>
                  <a:lnTo>
                    <a:pt x="291807" y="904971"/>
                  </a:lnTo>
                  <a:lnTo>
                    <a:pt x="317293" y="972281"/>
                  </a:lnTo>
                  <a:lnTo>
                    <a:pt x="342520" y="1038761"/>
                  </a:lnTo>
                  <a:lnTo>
                    <a:pt x="367076" y="1103318"/>
                  </a:lnTo>
                  <a:lnTo>
                    <a:pt x="390548" y="1164857"/>
                  </a:lnTo>
                  <a:lnTo>
                    <a:pt x="412524" y="1222285"/>
                  </a:lnTo>
                  <a:lnTo>
                    <a:pt x="432592" y="1274505"/>
                  </a:lnTo>
                  <a:lnTo>
                    <a:pt x="450339" y="1320425"/>
                  </a:lnTo>
                  <a:lnTo>
                    <a:pt x="465353" y="1358949"/>
                  </a:lnTo>
                  <a:lnTo>
                    <a:pt x="485534" y="1409434"/>
                  </a:lnTo>
                  <a:lnTo>
                    <a:pt x="520087" y="1454445"/>
                  </a:lnTo>
                  <a:lnTo>
                    <a:pt x="550073" y="1458850"/>
                  </a:lnTo>
                  <a:lnTo>
                    <a:pt x="598600" y="1447679"/>
                  </a:lnTo>
                  <a:lnTo>
                    <a:pt x="616051" y="1441161"/>
                  </a:lnTo>
                  <a:lnTo>
                    <a:pt x="634882" y="1430864"/>
                  </a:lnTo>
                  <a:lnTo>
                    <a:pt x="649158" y="1415386"/>
                  </a:lnTo>
                  <a:lnTo>
                    <a:pt x="652943" y="1393323"/>
                  </a:lnTo>
                  <a:lnTo>
                    <a:pt x="650541" y="1370295"/>
                  </a:lnTo>
                  <a:lnTo>
                    <a:pt x="646844" y="1329998"/>
                  </a:lnTo>
                  <a:lnTo>
                    <a:pt x="641949" y="1276792"/>
                  </a:lnTo>
                  <a:lnTo>
                    <a:pt x="635951" y="1215035"/>
                  </a:lnTo>
                  <a:lnTo>
                    <a:pt x="628947" y="1149086"/>
                  </a:lnTo>
                  <a:lnTo>
                    <a:pt x="621032" y="1083303"/>
                  </a:lnTo>
                  <a:lnTo>
                    <a:pt x="612302" y="1022044"/>
                  </a:lnTo>
                  <a:lnTo>
                    <a:pt x="602854" y="969669"/>
                  </a:lnTo>
                  <a:lnTo>
                    <a:pt x="592783" y="930535"/>
                  </a:lnTo>
                  <a:lnTo>
                    <a:pt x="559223" y="851344"/>
                  </a:lnTo>
                  <a:lnTo>
                    <a:pt x="533861" y="798881"/>
                  </a:lnTo>
                  <a:lnTo>
                    <a:pt x="505098" y="741922"/>
                  </a:lnTo>
                  <a:lnTo>
                    <a:pt x="474673" y="683531"/>
                  </a:lnTo>
                  <a:lnTo>
                    <a:pt x="444326" y="626770"/>
                  </a:lnTo>
                  <a:lnTo>
                    <a:pt x="415796" y="574703"/>
                  </a:lnTo>
                  <a:lnTo>
                    <a:pt x="390823" y="530391"/>
                  </a:lnTo>
                  <a:lnTo>
                    <a:pt x="371146" y="496897"/>
                  </a:lnTo>
                  <a:lnTo>
                    <a:pt x="329811" y="447922"/>
                  </a:lnTo>
                  <a:lnTo>
                    <a:pt x="294444" y="421178"/>
                  </a:lnTo>
                  <a:lnTo>
                    <a:pt x="264416" y="401713"/>
                  </a:lnTo>
                  <a:lnTo>
                    <a:pt x="251737" y="394188"/>
                  </a:lnTo>
                  <a:close/>
                </a:path>
              </a:pathLst>
            </a:custGeom>
            <a:ln w="25400">
              <a:solidFill>
                <a:srgbClr val="231F20"/>
              </a:solidFill>
            </a:ln>
          </p:spPr>
          <p:txBody>
            <a:bodyPr wrap="square" lIns="0" tIns="0" rIns="0" bIns="0" rtlCol="0"/>
            <a:lstStyle/>
            <a:p>
              <a:endParaRPr sz="649"/>
            </a:p>
          </p:txBody>
        </p:sp>
        <p:sp>
          <p:nvSpPr>
            <p:cNvPr id="122" name="object 122"/>
            <p:cNvSpPr/>
            <p:nvPr/>
          </p:nvSpPr>
          <p:spPr>
            <a:xfrm>
              <a:off x="5233598" y="9197145"/>
              <a:ext cx="1107440" cy="673735"/>
            </a:xfrm>
            <a:custGeom>
              <a:avLst/>
              <a:gdLst/>
              <a:ahLst/>
              <a:cxnLst/>
              <a:rect l="l" t="t" r="r" b="b"/>
              <a:pathLst>
                <a:path w="1107439" h="673734">
                  <a:moveTo>
                    <a:pt x="691188" y="0"/>
                  </a:moveTo>
                  <a:lnTo>
                    <a:pt x="625464" y="423"/>
                  </a:lnTo>
                  <a:lnTo>
                    <a:pt x="556620" y="1494"/>
                  </a:lnTo>
                  <a:lnTo>
                    <a:pt x="486076" y="3175"/>
                  </a:lnTo>
                  <a:lnTo>
                    <a:pt x="415255" y="5423"/>
                  </a:lnTo>
                  <a:lnTo>
                    <a:pt x="345579" y="8199"/>
                  </a:lnTo>
                  <a:lnTo>
                    <a:pt x="278470" y="11462"/>
                  </a:lnTo>
                  <a:lnTo>
                    <a:pt x="215348" y="15173"/>
                  </a:lnTo>
                  <a:lnTo>
                    <a:pt x="157637" y="19291"/>
                  </a:lnTo>
                  <a:lnTo>
                    <a:pt x="106758" y="23776"/>
                  </a:lnTo>
                  <a:lnTo>
                    <a:pt x="64133" y="28588"/>
                  </a:lnTo>
                  <a:lnTo>
                    <a:pt x="9332" y="39029"/>
                  </a:lnTo>
                  <a:lnTo>
                    <a:pt x="0" y="44578"/>
                  </a:lnTo>
                  <a:lnTo>
                    <a:pt x="35" y="60226"/>
                  </a:lnTo>
                  <a:lnTo>
                    <a:pt x="18622" y="132121"/>
                  </a:lnTo>
                  <a:lnTo>
                    <a:pt x="35247" y="183444"/>
                  </a:lnTo>
                  <a:lnTo>
                    <a:pt x="55477" y="241733"/>
                  </a:lnTo>
                  <a:lnTo>
                    <a:pt x="78347" y="304527"/>
                  </a:lnTo>
                  <a:lnTo>
                    <a:pt x="102895" y="369363"/>
                  </a:lnTo>
                  <a:lnTo>
                    <a:pt x="128157" y="433779"/>
                  </a:lnTo>
                  <a:lnTo>
                    <a:pt x="153171" y="495311"/>
                  </a:lnTo>
                  <a:lnTo>
                    <a:pt x="176974" y="551498"/>
                  </a:lnTo>
                  <a:lnTo>
                    <a:pt x="198601" y="599878"/>
                  </a:lnTo>
                  <a:lnTo>
                    <a:pt x="217091" y="637987"/>
                  </a:lnTo>
                  <a:lnTo>
                    <a:pt x="240804" y="673546"/>
                  </a:lnTo>
                  <a:lnTo>
                    <a:pt x="252885" y="673286"/>
                  </a:lnTo>
                  <a:lnTo>
                    <a:pt x="314374" y="663947"/>
                  </a:lnTo>
                  <a:lnTo>
                    <a:pt x="360497" y="655522"/>
                  </a:lnTo>
                  <a:lnTo>
                    <a:pt x="414681" y="645030"/>
                  </a:lnTo>
                  <a:lnTo>
                    <a:pt x="475284" y="632796"/>
                  </a:lnTo>
                  <a:lnTo>
                    <a:pt x="540663" y="619150"/>
                  </a:lnTo>
                  <a:lnTo>
                    <a:pt x="609176" y="604417"/>
                  </a:lnTo>
                  <a:lnTo>
                    <a:pt x="679178" y="588924"/>
                  </a:lnTo>
                  <a:lnTo>
                    <a:pt x="749028" y="572999"/>
                  </a:lnTo>
                  <a:lnTo>
                    <a:pt x="817082" y="556969"/>
                  </a:lnTo>
                  <a:lnTo>
                    <a:pt x="881697" y="541160"/>
                  </a:lnTo>
                  <a:lnTo>
                    <a:pt x="941231" y="525900"/>
                  </a:lnTo>
                  <a:lnTo>
                    <a:pt x="994041" y="511516"/>
                  </a:lnTo>
                  <a:lnTo>
                    <a:pt x="1038483" y="498335"/>
                  </a:lnTo>
                  <a:lnTo>
                    <a:pt x="1095695" y="476889"/>
                  </a:lnTo>
                  <a:lnTo>
                    <a:pt x="1107110" y="444203"/>
                  </a:lnTo>
                  <a:lnTo>
                    <a:pt x="1102045" y="404020"/>
                  </a:lnTo>
                  <a:lnTo>
                    <a:pt x="1091074" y="352686"/>
                  </a:lnTo>
                  <a:lnTo>
                    <a:pt x="1075286" y="294155"/>
                  </a:lnTo>
                  <a:lnTo>
                    <a:pt x="1055770" y="232383"/>
                  </a:lnTo>
                  <a:lnTo>
                    <a:pt x="1033613" y="171324"/>
                  </a:lnTo>
                  <a:lnTo>
                    <a:pt x="1009907" y="114935"/>
                  </a:lnTo>
                  <a:lnTo>
                    <a:pt x="985738" y="67171"/>
                  </a:lnTo>
                  <a:lnTo>
                    <a:pt x="962196" y="31986"/>
                  </a:lnTo>
                  <a:lnTo>
                    <a:pt x="923231" y="9022"/>
                  </a:lnTo>
                  <a:lnTo>
                    <a:pt x="855416" y="3024"/>
                  </a:lnTo>
                  <a:lnTo>
                    <a:pt x="807586" y="1260"/>
                  </a:lnTo>
                  <a:lnTo>
                    <a:pt x="752369" y="265"/>
                  </a:lnTo>
                  <a:lnTo>
                    <a:pt x="691188" y="0"/>
                  </a:lnTo>
                  <a:close/>
                </a:path>
              </a:pathLst>
            </a:custGeom>
            <a:solidFill>
              <a:srgbClr val="D1D3D4"/>
            </a:solidFill>
          </p:spPr>
          <p:txBody>
            <a:bodyPr wrap="square" lIns="0" tIns="0" rIns="0" bIns="0" rtlCol="0"/>
            <a:lstStyle/>
            <a:p>
              <a:endParaRPr sz="649"/>
            </a:p>
          </p:txBody>
        </p:sp>
        <p:sp>
          <p:nvSpPr>
            <p:cNvPr id="123" name="object 123"/>
            <p:cNvSpPr/>
            <p:nvPr/>
          </p:nvSpPr>
          <p:spPr>
            <a:xfrm>
              <a:off x="5233598" y="9197145"/>
              <a:ext cx="1107440" cy="673735"/>
            </a:xfrm>
            <a:custGeom>
              <a:avLst/>
              <a:gdLst/>
              <a:ahLst/>
              <a:cxnLst/>
              <a:rect l="l" t="t" r="r" b="b"/>
              <a:pathLst>
                <a:path w="1107439" h="673734">
                  <a:moveTo>
                    <a:pt x="1105179" y="469279"/>
                  </a:moveTo>
                  <a:lnTo>
                    <a:pt x="1102045" y="404020"/>
                  </a:lnTo>
                  <a:lnTo>
                    <a:pt x="1091074" y="352686"/>
                  </a:lnTo>
                  <a:lnTo>
                    <a:pt x="1075286" y="294155"/>
                  </a:lnTo>
                  <a:lnTo>
                    <a:pt x="1055770" y="232383"/>
                  </a:lnTo>
                  <a:lnTo>
                    <a:pt x="1033613" y="171324"/>
                  </a:lnTo>
                  <a:lnTo>
                    <a:pt x="1009907" y="114935"/>
                  </a:lnTo>
                  <a:lnTo>
                    <a:pt x="985738" y="67171"/>
                  </a:lnTo>
                  <a:lnTo>
                    <a:pt x="962196" y="31986"/>
                  </a:lnTo>
                  <a:lnTo>
                    <a:pt x="923231" y="9022"/>
                  </a:lnTo>
                  <a:lnTo>
                    <a:pt x="855416" y="3024"/>
                  </a:lnTo>
                  <a:lnTo>
                    <a:pt x="807586" y="1260"/>
                  </a:lnTo>
                  <a:lnTo>
                    <a:pt x="752369" y="265"/>
                  </a:lnTo>
                  <a:lnTo>
                    <a:pt x="691188" y="0"/>
                  </a:lnTo>
                  <a:lnTo>
                    <a:pt x="625464" y="423"/>
                  </a:lnTo>
                  <a:lnTo>
                    <a:pt x="556620" y="1494"/>
                  </a:lnTo>
                  <a:lnTo>
                    <a:pt x="486076" y="3175"/>
                  </a:lnTo>
                  <a:lnTo>
                    <a:pt x="415255" y="5423"/>
                  </a:lnTo>
                  <a:lnTo>
                    <a:pt x="345579" y="8199"/>
                  </a:lnTo>
                  <a:lnTo>
                    <a:pt x="278470" y="11462"/>
                  </a:lnTo>
                  <a:lnTo>
                    <a:pt x="215348" y="15173"/>
                  </a:lnTo>
                  <a:lnTo>
                    <a:pt x="157637" y="19291"/>
                  </a:lnTo>
                  <a:lnTo>
                    <a:pt x="106758" y="23776"/>
                  </a:lnTo>
                  <a:lnTo>
                    <a:pt x="64133" y="28588"/>
                  </a:lnTo>
                  <a:lnTo>
                    <a:pt x="9332" y="39029"/>
                  </a:lnTo>
                  <a:lnTo>
                    <a:pt x="0" y="44578"/>
                  </a:lnTo>
                  <a:lnTo>
                    <a:pt x="35" y="60226"/>
                  </a:lnTo>
                  <a:lnTo>
                    <a:pt x="18622" y="132121"/>
                  </a:lnTo>
                  <a:lnTo>
                    <a:pt x="35247" y="183444"/>
                  </a:lnTo>
                  <a:lnTo>
                    <a:pt x="55477" y="241733"/>
                  </a:lnTo>
                  <a:lnTo>
                    <a:pt x="78347" y="304527"/>
                  </a:lnTo>
                  <a:lnTo>
                    <a:pt x="102895" y="369363"/>
                  </a:lnTo>
                  <a:lnTo>
                    <a:pt x="128157" y="433779"/>
                  </a:lnTo>
                  <a:lnTo>
                    <a:pt x="153171" y="495311"/>
                  </a:lnTo>
                  <a:lnTo>
                    <a:pt x="176974" y="551498"/>
                  </a:lnTo>
                  <a:lnTo>
                    <a:pt x="198601" y="599878"/>
                  </a:lnTo>
                  <a:lnTo>
                    <a:pt x="217091" y="637987"/>
                  </a:lnTo>
                  <a:lnTo>
                    <a:pt x="240804" y="673546"/>
                  </a:lnTo>
                  <a:lnTo>
                    <a:pt x="252885" y="673286"/>
                  </a:lnTo>
                  <a:lnTo>
                    <a:pt x="314374" y="663947"/>
                  </a:lnTo>
                  <a:lnTo>
                    <a:pt x="360497" y="655522"/>
                  </a:lnTo>
                  <a:lnTo>
                    <a:pt x="414681" y="645030"/>
                  </a:lnTo>
                  <a:lnTo>
                    <a:pt x="475284" y="632796"/>
                  </a:lnTo>
                  <a:lnTo>
                    <a:pt x="540663" y="619150"/>
                  </a:lnTo>
                  <a:lnTo>
                    <a:pt x="609176" y="604417"/>
                  </a:lnTo>
                  <a:lnTo>
                    <a:pt x="679178" y="588924"/>
                  </a:lnTo>
                  <a:lnTo>
                    <a:pt x="749028" y="572999"/>
                  </a:lnTo>
                  <a:lnTo>
                    <a:pt x="817082" y="556969"/>
                  </a:lnTo>
                  <a:lnTo>
                    <a:pt x="881697" y="541160"/>
                  </a:lnTo>
                  <a:lnTo>
                    <a:pt x="941231" y="525900"/>
                  </a:lnTo>
                  <a:lnTo>
                    <a:pt x="994041" y="511516"/>
                  </a:lnTo>
                  <a:lnTo>
                    <a:pt x="1038483" y="498335"/>
                  </a:lnTo>
                  <a:lnTo>
                    <a:pt x="1095695" y="476889"/>
                  </a:lnTo>
                  <a:lnTo>
                    <a:pt x="1105179" y="469279"/>
                  </a:lnTo>
                  <a:close/>
                </a:path>
              </a:pathLst>
            </a:custGeom>
            <a:ln w="25400">
              <a:solidFill>
                <a:srgbClr val="231F20"/>
              </a:solidFill>
            </a:ln>
          </p:spPr>
          <p:txBody>
            <a:bodyPr wrap="square" lIns="0" tIns="0" rIns="0" bIns="0" rtlCol="0"/>
            <a:lstStyle/>
            <a:p>
              <a:endParaRPr sz="649"/>
            </a:p>
          </p:txBody>
        </p:sp>
        <p:pic>
          <p:nvPicPr>
            <p:cNvPr id="124" name="object 124"/>
            <p:cNvPicPr/>
            <p:nvPr/>
          </p:nvPicPr>
          <p:blipFill>
            <a:blip r:embed="rId33" cstate="print"/>
            <a:stretch>
              <a:fillRect/>
            </a:stretch>
          </p:blipFill>
          <p:spPr>
            <a:xfrm>
              <a:off x="4669797" y="8830767"/>
              <a:ext cx="369943" cy="487210"/>
            </a:xfrm>
            <a:prstGeom prst="rect">
              <a:avLst/>
            </a:prstGeom>
          </p:spPr>
        </p:pic>
        <p:sp>
          <p:nvSpPr>
            <p:cNvPr id="125" name="object 125"/>
            <p:cNvSpPr/>
            <p:nvPr/>
          </p:nvSpPr>
          <p:spPr>
            <a:xfrm>
              <a:off x="4669801" y="8830777"/>
              <a:ext cx="370205" cy="487680"/>
            </a:xfrm>
            <a:custGeom>
              <a:avLst/>
              <a:gdLst/>
              <a:ahLst/>
              <a:cxnLst/>
              <a:rect l="l" t="t" r="r" b="b"/>
              <a:pathLst>
                <a:path w="370204" h="487679">
                  <a:moveTo>
                    <a:pt x="86847" y="467626"/>
                  </a:moveTo>
                  <a:lnTo>
                    <a:pt x="79677" y="423192"/>
                  </a:lnTo>
                  <a:lnTo>
                    <a:pt x="80491" y="379446"/>
                  </a:lnTo>
                  <a:lnTo>
                    <a:pt x="88781" y="337245"/>
                  </a:lnTo>
                  <a:lnTo>
                    <a:pt x="104037" y="297443"/>
                  </a:lnTo>
                  <a:lnTo>
                    <a:pt x="125751" y="260899"/>
                  </a:lnTo>
                  <a:lnTo>
                    <a:pt x="153413" y="228467"/>
                  </a:lnTo>
                  <a:lnTo>
                    <a:pt x="186514" y="201005"/>
                  </a:lnTo>
                  <a:lnTo>
                    <a:pt x="224545" y="179368"/>
                  </a:lnTo>
                  <a:lnTo>
                    <a:pt x="266997" y="164414"/>
                  </a:lnTo>
                  <a:lnTo>
                    <a:pt x="290289" y="248170"/>
                  </a:lnTo>
                  <a:lnTo>
                    <a:pt x="369943" y="87312"/>
                  </a:lnTo>
                  <a:lnTo>
                    <a:pt x="225138" y="0"/>
                  </a:lnTo>
                  <a:lnTo>
                    <a:pt x="247413" y="87503"/>
                  </a:lnTo>
                  <a:lnTo>
                    <a:pt x="201213" y="102945"/>
                  </a:lnTo>
                  <a:lnTo>
                    <a:pt x="158833" y="124421"/>
                  </a:lnTo>
                  <a:lnTo>
                    <a:pt x="120641" y="151312"/>
                  </a:lnTo>
                  <a:lnTo>
                    <a:pt x="87004" y="182999"/>
                  </a:lnTo>
                  <a:lnTo>
                    <a:pt x="58289" y="218866"/>
                  </a:lnTo>
                  <a:lnTo>
                    <a:pt x="34865" y="258294"/>
                  </a:lnTo>
                  <a:lnTo>
                    <a:pt x="17097" y="300664"/>
                  </a:lnTo>
                  <a:lnTo>
                    <a:pt x="5352" y="345359"/>
                  </a:lnTo>
                  <a:lnTo>
                    <a:pt x="0" y="391760"/>
                  </a:lnTo>
                  <a:lnTo>
                    <a:pt x="1405" y="439250"/>
                  </a:lnTo>
                  <a:lnTo>
                    <a:pt x="9936" y="487210"/>
                  </a:lnTo>
                  <a:lnTo>
                    <a:pt x="86847" y="467626"/>
                  </a:lnTo>
                  <a:close/>
                </a:path>
              </a:pathLst>
            </a:custGeom>
            <a:ln w="7620">
              <a:solidFill>
                <a:srgbClr val="E3873E"/>
              </a:solidFill>
            </a:ln>
          </p:spPr>
          <p:txBody>
            <a:bodyPr wrap="square" lIns="0" tIns="0" rIns="0" bIns="0" rtlCol="0"/>
            <a:lstStyle/>
            <a:p>
              <a:endParaRPr sz="649"/>
            </a:p>
          </p:txBody>
        </p:sp>
        <p:pic>
          <p:nvPicPr>
            <p:cNvPr id="126" name="object 126"/>
            <p:cNvPicPr/>
            <p:nvPr/>
          </p:nvPicPr>
          <p:blipFill>
            <a:blip r:embed="rId34" cstate="print"/>
            <a:stretch>
              <a:fillRect/>
            </a:stretch>
          </p:blipFill>
          <p:spPr>
            <a:xfrm>
              <a:off x="4081927" y="9049715"/>
              <a:ext cx="153129" cy="268643"/>
            </a:xfrm>
            <a:prstGeom prst="rect">
              <a:avLst/>
            </a:prstGeom>
          </p:spPr>
        </p:pic>
        <p:sp>
          <p:nvSpPr>
            <p:cNvPr id="127" name="object 127"/>
            <p:cNvSpPr/>
            <p:nvPr/>
          </p:nvSpPr>
          <p:spPr>
            <a:xfrm>
              <a:off x="4081936" y="9049729"/>
              <a:ext cx="153670" cy="269240"/>
            </a:xfrm>
            <a:custGeom>
              <a:avLst/>
              <a:gdLst/>
              <a:ahLst/>
              <a:cxnLst/>
              <a:rect l="l" t="t" r="r" b="b"/>
              <a:pathLst>
                <a:path w="153670" h="269240">
                  <a:moveTo>
                    <a:pt x="54595" y="250063"/>
                  </a:moveTo>
                  <a:lnTo>
                    <a:pt x="40845" y="201069"/>
                  </a:lnTo>
                  <a:lnTo>
                    <a:pt x="46745" y="152296"/>
                  </a:lnTo>
                  <a:lnTo>
                    <a:pt x="70503" y="109293"/>
                  </a:lnTo>
                  <a:lnTo>
                    <a:pt x="110323" y="77609"/>
                  </a:lnTo>
                  <a:lnTo>
                    <a:pt x="131532" y="116928"/>
                  </a:lnTo>
                  <a:lnTo>
                    <a:pt x="153122" y="27254"/>
                  </a:lnTo>
                  <a:lnTo>
                    <a:pt x="70623" y="0"/>
                  </a:lnTo>
                  <a:lnTo>
                    <a:pt x="91756" y="41313"/>
                  </a:lnTo>
                  <a:lnTo>
                    <a:pt x="54524" y="67134"/>
                  </a:lnTo>
                  <a:lnTo>
                    <a:pt x="26353" y="100670"/>
                  </a:lnTo>
                  <a:lnTo>
                    <a:pt x="7945" y="139755"/>
                  </a:lnTo>
                  <a:lnTo>
                    <a:pt x="0" y="182221"/>
                  </a:lnTo>
                  <a:lnTo>
                    <a:pt x="3217" y="225902"/>
                  </a:lnTo>
                  <a:lnTo>
                    <a:pt x="18299" y="268630"/>
                  </a:lnTo>
                  <a:lnTo>
                    <a:pt x="54595" y="250063"/>
                  </a:lnTo>
                  <a:close/>
                </a:path>
              </a:pathLst>
            </a:custGeom>
            <a:ln w="7619">
              <a:solidFill>
                <a:srgbClr val="E3873E"/>
              </a:solidFill>
            </a:ln>
          </p:spPr>
          <p:txBody>
            <a:bodyPr wrap="square" lIns="0" tIns="0" rIns="0" bIns="0" rtlCol="0"/>
            <a:lstStyle/>
            <a:p>
              <a:endParaRPr sz="649"/>
            </a:p>
          </p:txBody>
        </p:sp>
        <p:pic>
          <p:nvPicPr>
            <p:cNvPr id="128" name="object 128"/>
            <p:cNvPicPr/>
            <p:nvPr/>
          </p:nvPicPr>
          <p:blipFill>
            <a:blip r:embed="rId35" cstate="print"/>
            <a:stretch>
              <a:fillRect/>
            </a:stretch>
          </p:blipFill>
          <p:spPr>
            <a:xfrm>
              <a:off x="6328333" y="9611512"/>
              <a:ext cx="490156" cy="372935"/>
            </a:xfrm>
            <a:prstGeom prst="rect">
              <a:avLst/>
            </a:prstGeom>
          </p:spPr>
        </p:pic>
        <p:sp>
          <p:nvSpPr>
            <p:cNvPr id="129" name="object 129"/>
            <p:cNvSpPr/>
            <p:nvPr/>
          </p:nvSpPr>
          <p:spPr>
            <a:xfrm>
              <a:off x="6328332" y="9611519"/>
              <a:ext cx="490220" cy="373380"/>
            </a:xfrm>
            <a:custGeom>
              <a:avLst/>
              <a:gdLst/>
              <a:ahLst/>
              <a:cxnLst/>
              <a:rect l="l" t="t" r="r" b="b"/>
              <a:pathLst>
                <a:path w="490220" h="373379">
                  <a:moveTo>
                    <a:pt x="411848" y="0"/>
                  </a:moveTo>
                  <a:lnTo>
                    <a:pt x="400593" y="43578"/>
                  </a:lnTo>
                  <a:lnTo>
                    <a:pt x="382302" y="83325"/>
                  </a:lnTo>
                  <a:lnTo>
                    <a:pt x="357784" y="118661"/>
                  </a:lnTo>
                  <a:lnTo>
                    <a:pt x="327850" y="149004"/>
                  </a:lnTo>
                  <a:lnTo>
                    <a:pt x="293306" y="173776"/>
                  </a:lnTo>
                  <a:lnTo>
                    <a:pt x="254964" y="192395"/>
                  </a:lnTo>
                  <a:lnTo>
                    <a:pt x="213632" y="204282"/>
                  </a:lnTo>
                  <a:lnTo>
                    <a:pt x="170119" y="208856"/>
                  </a:lnTo>
                  <a:lnTo>
                    <a:pt x="125234" y="205536"/>
                  </a:lnTo>
                  <a:lnTo>
                    <a:pt x="137477" y="119456"/>
                  </a:lnTo>
                  <a:lnTo>
                    <a:pt x="0" y="234873"/>
                  </a:lnTo>
                  <a:lnTo>
                    <a:pt x="97637" y="372922"/>
                  </a:lnTo>
                  <a:lnTo>
                    <a:pt x="112318" y="283832"/>
                  </a:lnTo>
                  <a:lnTo>
                    <a:pt x="160831" y="288212"/>
                  </a:lnTo>
                  <a:lnTo>
                    <a:pt x="208265" y="285533"/>
                  </a:lnTo>
                  <a:lnTo>
                    <a:pt x="254035" y="276214"/>
                  </a:lnTo>
                  <a:lnTo>
                    <a:pt x="297556" y="260674"/>
                  </a:lnTo>
                  <a:lnTo>
                    <a:pt x="338245" y="239332"/>
                  </a:lnTo>
                  <a:lnTo>
                    <a:pt x="375516" y="212608"/>
                  </a:lnTo>
                  <a:lnTo>
                    <a:pt x="408786" y="180920"/>
                  </a:lnTo>
                  <a:lnTo>
                    <a:pt x="437469" y="144688"/>
                  </a:lnTo>
                  <a:lnTo>
                    <a:pt x="460981" y="104330"/>
                  </a:lnTo>
                  <a:lnTo>
                    <a:pt x="478738" y="60266"/>
                  </a:lnTo>
                  <a:lnTo>
                    <a:pt x="490156" y="12915"/>
                  </a:lnTo>
                  <a:lnTo>
                    <a:pt x="411848" y="0"/>
                  </a:lnTo>
                  <a:close/>
                </a:path>
              </a:pathLst>
            </a:custGeom>
            <a:ln w="7619">
              <a:solidFill>
                <a:srgbClr val="E3873E"/>
              </a:solidFill>
            </a:ln>
          </p:spPr>
          <p:txBody>
            <a:bodyPr wrap="square" lIns="0" tIns="0" rIns="0" bIns="0" rtlCol="0"/>
            <a:lstStyle/>
            <a:p>
              <a:endParaRPr sz="649"/>
            </a:p>
          </p:txBody>
        </p:sp>
      </p:grpSp>
      <p:sp>
        <p:nvSpPr>
          <p:cNvPr id="130" name="object 130"/>
          <p:cNvSpPr txBox="1"/>
          <p:nvPr/>
        </p:nvSpPr>
        <p:spPr>
          <a:xfrm>
            <a:off x="5345477" y="580735"/>
            <a:ext cx="710963" cy="80165"/>
          </a:xfrm>
          <a:prstGeom prst="rect">
            <a:avLst/>
          </a:prstGeom>
        </p:spPr>
        <p:txBody>
          <a:bodyPr vert="horz" wrap="square" lIns="0" tIns="6111" rIns="0" bIns="0" rtlCol="0">
            <a:spAutoFit/>
          </a:bodyPr>
          <a:lstStyle/>
          <a:p>
            <a:pPr marL="18330">
              <a:spcBef>
                <a:spcPts val="48"/>
              </a:spcBef>
            </a:pPr>
            <a:r>
              <a:rPr sz="481" spc="-5" dirty="0">
                <a:solidFill>
                  <a:srgbClr val="231F20"/>
                </a:solidFill>
                <a:latin typeface="Tahoma"/>
                <a:cs typeface="Tahoma"/>
              </a:rPr>
              <a:t>Stressless</a:t>
            </a:r>
            <a:r>
              <a:rPr sz="505" spc="-7" baseline="31746" dirty="0">
                <a:solidFill>
                  <a:srgbClr val="231F20"/>
                </a:solidFill>
                <a:latin typeface="Tahoma"/>
                <a:cs typeface="Tahoma"/>
              </a:rPr>
              <a:t>®</a:t>
            </a:r>
            <a:r>
              <a:rPr sz="505" spc="-25" baseline="31746" dirty="0">
                <a:solidFill>
                  <a:srgbClr val="231F20"/>
                </a:solidFill>
                <a:latin typeface="Tahoma"/>
                <a:cs typeface="Tahoma"/>
              </a:rPr>
              <a:t> </a:t>
            </a:r>
            <a:r>
              <a:rPr sz="481" spc="-10" dirty="0">
                <a:solidFill>
                  <a:srgbClr val="231F20"/>
                </a:solidFill>
                <a:latin typeface="Tahoma"/>
                <a:cs typeface="Tahoma"/>
              </a:rPr>
              <a:t>Plus™-system</a:t>
            </a:r>
            <a:endParaRPr sz="481">
              <a:latin typeface="Tahoma"/>
              <a:cs typeface="Tahoma"/>
            </a:endParaRPr>
          </a:p>
        </p:txBody>
      </p:sp>
      <p:grpSp>
        <p:nvGrpSpPr>
          <p:cNvPr id="131" name="object 131"/>
          <p:cNvGrpSpPr/>
          <p:nvPr/>
        </p:nvGrpSpPr>
        <p:grpSpPr>
          <a:xfrm>
            <a:off x="3038158" y="3352336"/>
            <a:ext cx="1487004" cy="380382"/>
            <a:chOff x="590358" y="6967396"/>
            <a:chExt cx="3090545" cy="790575"/>
          </a:xfrm>
        </p:grpSpPr>
        <p:sp>
          <p:nvSpPr>
            <p:cNvPr id="132" name="object 132"/>
            <p:cNvSpPr/>
            <p:nvPr/>
          </p:nvSpPr>
          <p:spPr>
            <a:xfrm>
              <a:off x="590358" y="7032212"/>
              <a:ext cx="3090545" cy="662940"/>
            </a:xfrm>
            <a:custGeom>
              <a:avLst/>
              <a:gdLst/>
              <a:ahLst/>
              <a:cxnLst/>
              <a:rect l="l" t="t" r="r" b="b"/>
              <a:pathLst>
                <a:path w="3090545" h="662940">
                  <a:moveTo>
                    <a:pt x="2960522" y="0"/>
                  </a:moveTo>
                  <a:lnTo>
                    <a:pt x="129603" y="0"/>
                  </a:lnTo>
                  <a:lnTo>
                    <a:pt x="79279" y="10225"/>
                  </a:lnTo>
                  <a:lnTo>
                    <a:pt x="38069" y="38068"/>
                  </a:lnTo>
                  <a:lnTo>
                    <a:pt x="10226" y="79274"/>
                  </a:lnTo>
                  <a:lnTo>
                    <a:pt x="0" y="129590"/>
                  </a:lnTo>
                  <a:lnTo>
                    <a:pt x="0" y="532803"/>
                  </a:lnTo>
                  <a:lnTo>
                    <a:pt x="10226" y="583127"/>
                  </a:lnTo>
                  <a:lnTo>
                    <a:pt x="38069" y="624336"/>
                  </a:lnTo>
                  <a:lnTo>
                    <a:pt x="79279" y="652180"/>
                  </a:lnTo>
                  <a:lnTo>
                    <a:pt x="129603" y="662406"/>
                  </a:lnTo>
                  <a:lnTo>
                    <a:pt x="2960522" y="662406"/>
                  </a:lnTo>
                  <a:lnTo>
                    <a:pt x="3010840" y="652180"/>
                  </a:lnTo>
                  <a:lnTo>
                    <a:pt x="3052051" y="624336"/>
                  </a:lnTo>
                  <a:lnTo>
                    <a:pt x="3079898" y="583127"/>
                  </a:lnTo>
                  <a:lnTo>
                    <a:pt x="3090125" y="532803"/>
                  </a:lnTo>
                  <a:lnTo>
                    <a:pt x="3090125" y="129590"/>
                  </a:lnTo>
                  <a:lnTo>
                    <a:pt x="3079898" y="79274"/>
                  </a:lnTo>
                  <a:lnTo>
                    <a:pt x="3052051" y="38068"/>
                  </a:lnTo>
                  <a:lnTo>
                    <a:pt x="3010840" y="10225"/>
                  </a:lnTo>
                  <a:lnTo>
                    <a:pt x="2960522" y="0"/>
                  </a:lnTo>
                  <a:close/>
                </a:path>
              </a:pathLst>
            </a:custGeom>
            <a:solidFill>
              <a:srgbClr val="E2E3E4"/>
            </a:solidFill>
          </p:spPr>
          <p:txBody>
            <a:bodyPr wrap="square" lIns="0" tIns="0" rIns="0" bIns="0" rtlCol="0"/>
            <a:lstStyle/>
            <a:p>
              <a:endParaRPr sz="649"/>
            </a:p>
          </p:txBody>
        </p:sp>
        <p:pic>
          <p:nvPicPr>
            <p:cNvPr id="133" name="object 133"/>
            <p:cNvPicPr/>
            <p:nvPr/>
          </p:nvPicPr>
          <p:blipFill>
            <a:blip r:embed="rId36" cstate="print"/>
            <a:stretch>
              <a:fillRect/>
            </a:stretch>
          </p:blipFill>
          <p:spPr>
            <a:xfrm>
              <a:off x="1834650" y="7316787"/>
              <a:ext cx="89027" cy="84264"/>
            </a:xfrm>
            <a:prstGeom prst="rect">
              <a:avLst/>
            </a:prstGeom>
          </p:spPr>
        </p:pic>
        <p:pic>
          <p:nvPicPr>
            <p:cNvPr id="134" name="object 134"/>
            <p:cNvPicPr/>
            <p:nvPr/>
          </p:nvPicPr>
          <p:blipFill>
            <a:blip r:embed="rId37" cstate="print"/>
            <a:stretch>
              <a:fillRect/>
            </a:stretch>
          </p:blipFill>
          <p:spPr>
            <a:xfrm>
              <a:off x="1517336" y="7316816"/>
              <a:ext cx="88709" cy="84823"/>
            </a:xfrm>
            <a:prstGeom prst="rect">
              <a:avLst/>
            </a:prstGeom>
          </p:spPr>
        </p:pic>
        <p:sp>
          <p:nvSpPr>
            <p:cNvPr id="135" name="object 135"/>
            <p:cNvSpPr/>
            <p:nvPr/>
          </p:nvSpPr>
          <p:spPr>
            <a:xfrm>
              <a:off x="1402181" y="7201687"/>
              <a:ext cx="636905" cy="314325"/>
            </a:xfrm>
            <a:custGeom>
              <a:avLst/>
              <a:gdLst/>
              <a:ahLst/>
              <a:cxnLst/>
              <a:rect l="l" t="t" r="r" b="b"/>
              <a:pathLst>
                <a:path w="636905" h="314325">
                  <a:moveTo>
                    <a:pt x="593090" y="72504"/>
                  </a:moveTo>
                  <a:lnTo>
                    <a:pt x="590753" y="61226"/>
                  </a:lnTo>
                  <a:lnTo>
                    <a:pt x="585482" y="53492"/>
                  </a:lnTo>
                  <a:lnTo>
                    <a:pt x="585482" y="72504"/>
                  </a:lnTo>
                  <a:lnTo>
                    <a:pt x="585482" y="241452"/>
                  </a:lnTo>
                  <a:lnTo>
                    <a:pt x="583755" y="249796"/>
                  </a:lnTo>
                  <a:lnTo>
                    <a:pt x="579043" y="256705"/>
                  </a:lnTo>
                  <a:lnTo>
                    <a:pt x="572147" y="261391"/>
                  </a:lnTo>
                  <a:lnTo>
                    <a:pt x="563791" y="263131"/>
                  </a:lnTo>
                  <a:lnTo>
                    <a:pt x="72504" y="263131"/>
                  </a:lnTo>
                  <a:lnTo>
                    <a:pt x="64160" y="261391"/>
                  </a:lnTo>
                  <a:lnTo>
                    <a:pt x="57251" y="256705"/>
                  </a:lnTo>
                  <a:lnTo>
                    <a:pt x="52552" y="249796"/>
                  </a:lnTo>
                  <a:lnTo>
                    <a:pt x="50812" y="241452"/>
                  </a:lnTo>
                  <a:lnTo>
                    <a:pt x="50812" y="72504"/>
                  </a:lnTo>
                  <a:lnTo>
                    <a:pt x="52552" y="64160"/>
                  </a:lnTo>
                  <a:lnTo>
                    <a:pt x="57251" y="57264"/>
                  </a:lnTo>
                  <a:lnTo>
                    <a:pt x="64160" y="52565"/>
                  </a:lnTo>
                  <a:lnTo>
                    <a:pt x="72504" y="50825"/>
                  </a:lnTo>
                  <a:lnTo>
                    <a:pt x="563791" y="50825"/>
                  </a:lnTo>
                  <a:lnTo>
                    <a:pt x="572147" y="52565"/>
                  </a:lnTo>
                  <a:lnTo>
                    <a:pt x="579043" y="57264"/>
                  </a:lnTo>
                  <a:lnTo>
                    <a:pt x="583755" y="64160"/>
                  </a:lnTo>
                  <a:lnTo>
                    <a:pt x="585482" y="72504"/>
                  </a:lnTo>
                  <a:lnTo>
                    <a:pt x="585482" y="53492"/>
                  </a:lnTo>
                  <a:lnTo>
                    <a:pt x="584403" y="51904"/>
                  </a:lnTo>
                  <a:lnTo>
                    <a:pt x="582828" y="50825"/>
                  </a:lnTo>
                  <a:lnTo>
                    <a:pt x="575081" y="45554"/>
                  </a:lnTo>
                  <a:lnTo>
                    <a:pt x="563791" y="43205"/>
                  </a:lnTo>
                  <a:lnTo>
                    <a:pt x="72504" y="43205"/>
                  </a:lnTo>
                  <a:lnTo>
                    <a:pt x="61226" y="45554"/>
                  </a:lnTo>
                  <a:lnTo>
                    <a:pt x="51892" y="51904"/>
                  </a:lnTo>
                  <a:lnTo>
                    <a:pt x="45542" y="61226"/>
                  </a:lnTo>
                  <a:lnTo>
                    <a:pt x="43192" y="72504"/>
                  </a:lnTo>
                  <a:lnTo>
                    <a:pt x="43192" y="241452"/>
                  </a:lnTo>
                  <a:lnTo>
                    <a:pt x="45542" y="252730"/>
                  </a:lnTo>
                  <a:lnTo>
                    <a:pt x="51892" y="262064"/>
                  </a:lnTo>
                  <a:lnTo>
                    <a:pt x="61226" y="268401"/>
                  </a:lnTo>
                  <a:lnTo>
                    <a:pt x="72504" y="270751"/>
                  </a:lnTo>
                  <a:lnTo>
                    <a:pt x="563791" y="270751"/>
                  </a:lnTo>
                  <a:lnTo>
                    <a:pt x="575081" y="268401"/>
                  </a:lnTo>
                  <a:lnTo>
                    <a:pt x="582828" y="263131"/>
                  </a:lnTo>
                  <a:lnTo>
                    <a:pt x="584403" y="262064"/>
                  </a:lnTo>
                  <a:lnTo>
                    <a:pt x="590753" y="252730"/>
                  </a:lnTo>
                  <a:lnTo>
                    <a:pt x="593090" y="241452"/>
                  </a:lnTo>
                  <a:lnTo>
                    <a:pt x="593090" y="72504"/>
                  </a:lnTo>
                  <a:close/>
                </a:path>
                <a:path w="636905" h="314325">
                  <a:moveTo>
                    <a:pt x="636295" y="72504"/>
                  </a:moveTo>
                  <a:lnTo>
                    <a:pt x="630593" y="44310"/>
                  </a:lnTo>
                  <a:lnTo>
                    <a:pt x="628662" y="41452"/>
                  </a:lnTo>
                  <a:lnTo>
                    <a:pt x="628662" y="72504"/>
                  </a:lnTo>
                  <a:lnTo>
                    <a:pt x="628662" y="241452"/>
                  </a:lnTo>
                  <a:lnTo>
                    <a:pt x="623557" y="266687"/>
                  </a:lnTo>
                  <a:lnTo>
                    <a:pt x="609638" y="287312"/>
                  </a:lnTo>
                  <a:lnTo>
                    <a:pt x="589026" y="301231"/>
                  </a:lnTo>
                  <a:lnTo>
                    <a:pt x="563791" y="306336"/>
                  </a:lnTo>
                  <a:lnTo>
                    <a:pt x="72504" y="306336"/>
                  </a:lnTo>
                  <a:lnTo>
                    <a:pt x="47282" y="301231"/>
                  </a:lnTo>
                  <a:lnTo>
                    <a:pt x="26657" y="287312"/>
                  </a:lnTo>
                  <a:lnTo>
                    <a:pt x="12738" y="266687"/>
                  </a:lnTo>
                  <a:lnTo>
                    <a:pt x="7620" y="241452"/>
                  </a:lnTo>
                  <a:lnTo>
                    <a:pt x="7620" y="72504"/>
                  </a:lnTo>
                  <a:lnTo>
                    <a:pt x="12738" y="47269"/>
                  </a:lnTo>
                  <a:lnTo>
                    <a:pt x="26657" y="26644"/>
                  </a:lnTo>
                  <a:lnTo>
                    <a:pt x="47282" y="12725"/>
                  </a:lnTo>
                  <a:lnTo>
                    <a:pt x="72504" y="7620"/>
                  </a:lnTo>
                  <a:lnTo>
                    <a:pt x="563791" y="7620"/>
                  </a:lnTo>
                  <a:lnTo>
                    <a:pt x="589026" y="12725"/>
                  </a:lnTo>
                  <a:lnTo>
                    <a:pt x="609638" y="26644"/>
                  </a:lnTo>
                  <a:lnTo>
                    <a:pt x="623557" y="47269"/>
                  </a:lnTo>
                  <a:lnTo>
                    <a:pt x="628662" y="72504"/>
                  </a:lnTo>
                  <a:lnTo>
                    <a:pt x="628662" y="41452"/>
                  </a:lnTo>
                  <a:lnTo>
                    <a:pt x="615035" y="21259"/>
                  </a:lnTo>
                  <a:lnTo>
                    <a:pt x="594829" y="7620"/>
                  </a:lnTo>
                  <a:lnTo>
                    <a:pt x="591985" y="5702"/>
                  </a:lnTo>
                  <a:lnTo>
                    <a:pt x="563791" y="0"/>
                  </a:lnTo>
                  <a:lnTo>
                    <a:pt x="72504" y="0"/>
                  </a:lnTo>
                  <a:lnTo>
                    <a:pt x="44310" y="5702"/>
                  </a:lnTo>
                  <a:lnTo>
                    <a:pt x="21259" y="21259"/>
                  </a:lnTo>
                  <a:lnTo>
                    <a:pt x="5715" y="44310"/>
                  </a:lnTo>
                  <a:lnTo>
                    <a:pt x="0" y="72504"/>
                  </a:lnTo>
                  <a:lnTo>
                    <a:pt x="0" y="241452"/>
                  </a:lnTo>
                  <a:lnTo>
                    <a:pt x="5715" y="269646"/>
                  </a:lnTo>
                  <a:lnTo>
                    <a:pt x="21259" y="292696"/>
                  </a:lnTo>
                  <a:lnTo>
                    <a:pt x="44310" y="308254"/>
                  </a:lnTo>
                  <a:lnTo>
                    <a:pt x="72504" y="313956"/>
                  </a:lnTo>
                  <a:lnTo>
                    <a:pt x="563791" y="313956"/>
                  </a:lnTo>
                  <a:lnTo>
                    <a:pt x="615035" y="292696"/>
                  </a:lnTo>
                  <a:lnTo>
                    <a:pt x="636295" y="241452"/>
                  </a:lnTo>
                  <a:lnTo>
                    <a:pt x="636295" y="72504"/>
                  </a:lnTo>
                  <a:close/>
                </a:path>
              </a:pathLst>
            </a:custGeom>
            <a:solidFill>
              <a:srgbClr val="020303"/>
            </a:solidFill>
          </p:spPr>
          <p:txBody>
            <a:bodyPr wrap="square" lIns="0" tIns="0" rIns="0" bIns="0" rtlCol="0"/>
            <a:lstStyle/>
            <a:p>
              <a:endParaRPr sz="649"/>
            </a:p>
          </p:txBody>
        </p:sp>
        <p:pic>
          <p:nvPicPr>
            <p:cNvPr id="136" name="object 136"/>
            <p:cNvPicPr/>
            <p:nvPr/>
          </p:nvPicPr>
          <p:blipFill>
            <a:blip r:embed="rId38" cstate="print"/>
            <a:stretch>
              <a:fillRect/>
            </a:stretch>
          </p:blipFill>
          <p:spPr>
            <a:xfrm>
              <a:off x="2537355" y="7316787"/>
              <a:ext cx="89014" cy="84264"/>
            </a:xfrm>
            <a:prstGeom prst="rect">
              <a:avLst/>
            </a:prstGeom>
          </p:spPr>
        </p:pic>
        <p:pic>
          <p:nvPicPr>
            <p:cNvPr id="137" name="object 137"/>
            <p:cNvPicPr/>
            <p:nvPr/>
          </p:nvPicPr>
          <p:blipFill>
            <a:blip r:embed="rId39" cstate="print"/>
            <a:stretch>
              <a:fillRect/>
            </a:stretch>
          </p:blipFill>
          <p:spPr>
            <a:xfrm>
              <a:off x="2220047" y="7316816"/>
              <a:ext cx="88709" cy="84823"/>
            </a:xfrm>
            <a:prstGeom prst="rect">
              <a:avLst/>
            </a:prstGeom>
          </p:spPr>
        </p:pic>
        <p:sp>
          <p:nvSpPr>
            <p:cNvPr id="138" name="object 138"/>
            <p:cNvSpPr/>
            <p:nvPr/>
          </p:nvSpPr>
          <p:spPr>
            <a:xfrm>
              <a:off x="2104898" y="7201687"/>
              <a:ext cx="636905" cy="314325"/>
            </a:xfrm>
            <a:custGeom>
              <a:avLst/>
              <a:gdLst/>
              <a:ahLst/>
              <a:cxnLst/>
              <a:rect l="l" t="t" r="r" b="b"/>
              <a:pathLst>
                <a:path w="636905" h="314325">
                  <a:moveTo>
                    <a:pt x="593090" y="72504"/>
                  </a:moveTo>
                  <a:lnTo>
                    <a:pt x="590740" y="61226"/>
                  </a:lnTo>
                  <a:lnTo>
                    <a:pt x="585470" y="53492"/>
                  </a:lnTo>
                  <a:lnTo>
                    <a:pt x="585470" y="72504"/>
                  </a:lnTo>
                  <a:lnTo>
                    <a:pt x="585470" y="241452"/>
                  </a:lnTo>
                  <a:lnTo>
                    <a:pt x="583730" y="249796"/>
                  </a:lnTo>
                  <a:lnTo>
                    <a:pt x="579031" y="256705"/>
                  </a:lnTo>
                  <a:lnTo>
                    <a:pt x="572135" y="261391"/>
                  </a:lnTo>
                  <a:lnTo>
                    <a:pt x="563791" y="263131"/>
                  </a:lnTo>
                  <a:lnTo>
                    <a:pt x="72491" y="263131"/>
                  </a:lnTo>
                  <a:lnTo>
                    <a:pt x="64147" y="261391"/>
                  </a:lnTo>
                  <a:lnTo>
                    <a:pt x="57251" y="256705"/>
                  </a:lnTo>
                  <a:lnTo>
                    <a:pt x="52552" y="249796"/>
                  </a:lnTo>
                  <a:lnTo>
                    <a:pt x="50812" y="241452"/>
                  </a:lnTo>
                  <a:lnTo>
                    <a:pt x="50812" y="72504"/>
                  </a:lnTo>
                  <a:lnTo>
                    <a:pt x="52552" y="64160"/>
                  </a:lnTo>
                  <a:lnTo>
                    <a:pt x="57251" y="57264"/>
                  </a:lnTo>
                  <a:lnTo>
                    <a:pt x="64147" y="52565"/>
                  </a:lnTo>
                  <a:lnTo>
                    <a:pt x="72491" y="50825"/>
                  </a:lnTo>
                  <a:lnTo>
                    <a:pt x="563791" y="50825"/>
                  </a:lnTo>
                  <a:lnTo>
                    <a:pt x="572135" y="52565"/>
                  </a:lnTo>
                  <a:lnTo>
                    <a:pt x="579031" y="57264"/>
                  </a:lnTo>
                  <a:lnTo>
                    <a:pt x="583730" y="64160"/>
                  </a:lnTo>
                  <a:lnTo>
                    <a:pt x="585470" y="72504"/>
                  </a:lnTo>
                  <a:lnTo>
                    <a:pt x="585470" y="53492"/>
                  </a:lnTo>
                  <a:lnTo>
                    <a:pt x="584390" y="51904"/>
                  </a:lnTo>
                  <a:lnTo>
                    <a:pt x="582815" y="50825"/>
                  </a:lnTo>
                  <a:lnTo>
                    <a:pt x="575068" y="45554"/>
                  </a:lnTo>
                  <a:lnTo>
                    <a:pt x="563791" y="43205"/>
                  </a:lnTo>
                  <a:lnTo>
                    <a:pt x="72491" y="43205"/>
                  </a:lnTo>
                  <a:lnTo>
                    <a:pt x="61214" y="45554"/>
                  </a:lnTo>
                  <a:lnTo>
                    <a:pt x="51892" y="51904"/>
                  </a:lnTo>
                  <a:lnTo>
                    <a:pt x="45542" y="61226"/>
                  </a:lnTo>
                  <a:lnTo>
                    <a:pt x="43192" y="72504"/>
                  </a:lnTo>
                  <a:lnTo>
                    <a:pt x="43192" y="241452"/>
                  </a:lnTo>
                  <a:lnTo>
                    <a:pt x="45542" y="252730"/>
                  </a:lnTo>
                  <a:lnTo>
                    <a:pt x="51892" y="262064"/>
                  </a:lnTo>
                  <a:lnTo>
                    <a:pt x="61214" y="268401"/>
                  </a:lnTo>
                  <a:lnTo>
                    <a:pt x="72491" y="270751"/>
                  </a:lnTo>
                  <a:lnTo>
                    <a:pt x="563791" y="270751"/>
                  </a:lnTo>
                  <a:lnTo>
                    <a:pt x="575068" y="268401"/>
                  </a:lnTo>
                  <a:lnTo>
                    <a:pt x="582815" y="263131"/>
                  </a:lnTo>
                  <a:lnTo>
                    <a:pt x="584390" y="262064"/>
                  </a:lnTo>
                  <a:lnTo>
                    <a:pt x="590740" y="252730"/>
                  </a:lnTo>
                  <a:lnTo>
                    <a:pt x="593090" y="241452"/>
                  </a:lnTo>
                  <a:lnTo>
                    <a:pt x="593090" y="72504"/>
                  </a:lnTo>
                  <a:close/>
                </a:path>
                <a:path w="636905" h="314325">
                  <a:moveTo>
                    <a:pt x="636282" y="72504"/>
                  </a:moveTo>
                  <a:lnTo>
                    <a:pt x="630580" y="44310"/>
                  </a:lnTo>
                  <a:lnTo>
                    <a:pt x="628662" y="41478"/>
                  </a:lnTo>
                  <a:lnTo>
                    <a:pt x="628662" y="72504"/>
                  </a:lnTo>
                  <a:lnTo>
                    <a:pt x="628662" y="241452"/>
                  </a:lnTo>
                  <a:lnTo>
                    <a:pt x="623557" y="266687"/>
                  </a:lnTo>
                  <a:lnTo>
                    <a:pt x="609638" y="287312"/>
                  </a:lnTo>
                  <a:lnTo>
                    <a:pt x="589013" y="301231"/>
                  </a:lnTo>
                  <a:lnTo>
                    <a:pt x="563778" y="306336"/>
                  </a:lnTo>
                  <a:lnTo>
                    <a:pt x="72491" y="306336"/>
                  </a:lnTo>
                  <a:lnTo>
                    <a:pt x="47256" y="301231"/>
                  </a:lnTo>
                  <a:lnTo>
                    <a:pt x="26644" y="287312"/>
                  </a:lnTo>
                  <a:lnTo>
                    <a:pt x="12725" y="266687"/>
                  </a:lnTo>
                  <a:lnTo>
                    <a:pt x="7620" y="241452"/>
                  </a:lnTo>
                  <a:lnTo>
                    <a:pt x="7620" y="72504"/>
                  </a:lnTo>
                  <a:lnTo>
                    <a:pt x="12725" y="47269"/>
                  </a:lnTo>
                  <a:lnTo>
                    <a:pt x="26644" y="26644"/>
                  </a:lnTo>
                  <a:lnTo>
                    <a:pt x="47256" y="12725"/>
                  </a:lnTo>
                  <a:lnTo>
                    <a:pt x="72491" y="7620"/>
                  </a:lnTo>
                  <a:lnTo>
                    <a:pt x="563778" y="7620"/>
                  </a:lnTo>
                  <a:lnTo>
                    <a:pt x="589013" y="12725"/>
                  </a:lnTo>
                  <a:lnTo>
                    <a:pt x="609638" y="26644"/>
                  </a:lnTo>
                  <a:lnTo>
                    <a:pt x="623557" y="47269"/>
                  </a:lnTo>
                  <a:lnTo>
                    <a:pt x="628662" y="72504"/>
                  </a:lnTo>
                  <a:lnTo>
                    <a:pt x="628662" y="41478"/>
                  </a:lnTo>
                  <a:lnTo>
                    <a:pt x="615022" y="21259"/>
                  </a:lnTo>
                  <a:lnTo>
                    <a:pt x="594804" y="7620"/>
                  </a:lnTo>
                  <a:lnTo>
                    <a:pt x="591972" y="5702"/>
                  </a:lnTo>
                  <a:lnTo>
                    <a:pt x="563778" y="0"/>
                  </a:lnTo>
                  <a:lnTo>
                    <a:pt x="72491" y="0"/>
                  </a:lnTo>
                  <a:lnTo>
                    <a:pt x="44297" y="5702"/>
                  </a:lnTo>
                  <a:lnTo>
                    <a:pt x="21259" y="21259"/>
                  </a:lnTo>
                  <a:lnTo>
                    <a:pt x="5702" y="44310"/>
                  </a:lnTo>
                  <a:lnTo>
                    <a:pt x="0" y="72504"/>
                  </a:lnTo>
                  <a:lnTo>
                    <a:pt x="0" y="241452"/>
                  </a:lnTo>
                  <a:lnTo>
                    <a:pt x="5702" y="269646"/>
                  </a:lnTo>
                  <a:lnTo>
                    <a:pt x="21259" y="292696"/>
                  </a:lnTo>
                  <a:lnTo>
                    <a:pt x="44297" y="308254"/>
                  </a:lnTo>
                  <a:lnTo>
                    <a:pt x="72491" y="313956"/>
                  </a:lnTo>
                  <a:lnTo>
                    <a:pt x="563778" y="313956"/>
                  </a:lnTo>
                  <a:lnTo>
                    <a:pt x="591972" y="308254"/>
                  </a:lnTo>
                  <a:lnTo>
                    <a:pt x="594804" y="306336"/>
                  </a:lnTo>
                  <a:lnTo>
                    <a:pt x="615022" y="292696"/>
                  </a:lnTo>
                  <a:lnTo>
                    <a:pt x="630580" y="269646"/>
                  </a:lnTo>
                  <a:lnTo>
                    <a:pt x="636282" y="241452"/>
                  </a:lnTo>
                  <a:lnTo>
                    <a:pt x="636282" y="72504"/>
                  </a:lnTo>
                  <a:close/>
                </a:path>
              </a:pathLst>
            </a:custGeom>
            <a:solidFill>
              <a:srgbClr val="020303"/>
            </a:solidFill>
          </p:spPr>
          <p:txBody>
            <a:bodyPr wrap="square" lIns="0" tIns="0" rIns="0" bIns="0" rtlCol="0"/>
            <a:lstStyle/>
            <a:p>
              <a:endParaRPr sz="649"/>
            </a:p>
          </p:txBody>
        </p:sp>
        <p:pic>
          <p:nvPicPr>
            <p:cNvPr id="139" name="object 139"/>
            <p:cNvPicPr/>
            <p:nvPr/>
          </p:nvPicPr>
          <p:blipFill>
            <a:blip r:embed="rId40" cstate="print"/>
            <a:stretch>
              <a:fillRect/>
            </a:stretch>
          </p:blipFill>
          <p:spPr>
            <a:xfrm>
              <a:off x="3240059" y="7316787"/>
              <a:ext cx="89014" cy="84264"/>
            </a:xfrm>
            <a:prstGeom prst="rect">
              <a:avLst/>
            </a:prstGeom>
          </p:spPr>
        </p:pic>
        <p:pic>
          <p:nvPicPr>
            <p:cNvPr id="140" name="object 140"/>
            <p:cNvPicPr/>
            <p:nvPr/>
          </p:nvPicPr>
          <p:blipFill>
            <a:blip r:embed="rId3" cstate="print"/>
            <a:stretch>
              <a:fillRect/>
            </a:stretch>
          </p:blipFill>
          <p:spPr>
            <a:xfrm>
              <a:off x="2922738" y="7316816"/>
              <a:ext cx="88722" cy="84823"/>
            </a:xfrm>
            <a:prstGeom prst="rect">
              <a:avLst/>
            </a:prstGeom>
          </p:spPr>
        </p:pic>
        <p:sp>
          <p:nvSpPr>
            <p:cNvPr id="141" name="object 141"/>
            <p:cNvSpPr/>
            <p:nvPr/>
          </p:nvSpPr>
          <p:spPr>
            <a:xfrm>
              <a:off x="2807601" y="7201687"/>
              <a:ext cx="636905" cy="314325"/>
            </a:xfrm>
            <a:custGeom>
              <a:avLst/>
              <a:gdLst/>
              <a:ahLst/>
              <a:cxnLst/>
              <a:rect l="l" t="t" r="r" b="b"/>
              <a:pathLst>
                <a:path w="636904" h="314325">
                  <a:moveTo>
                    <a:pt x="593077" y="72504"/>
                  </a:moveTo>
                  <a:lnTo>
                    <a:pt x="590727" y="61226"/>
                  </a:lnTo>
                  <a:lnTo>
                    <a:pt x="585470" y="53505"/>
                  </a:lnTo>
                  <a:lnTo>
                    <a:pt x="585470" y="72504"/>
                  </a:lnTo>
                  <a:lnTo>
                    <a:pt x="585470" y="241452"/>
                  </a:lnTo>
                  <a:lnTo>
                    <a:pt x="583730" y="249796"/>
                  </a:lnTo>
                  <a:lnTo>
                    <a:pt x="579031" y="256705"/>
                  </a:lnTo>
                  <a:lnTo>
                    <a:pt x="572122" y="261391"/>
                  </a:lnTo>
                  <a:lnTo>
                    <a:pt x="563778" y="263131"/>
                  </a:lnTo>
                  <a:lnTo>
                    <a:pt x="72491" y="263131"/>
                  </a:lnTo>
                  <a:lnTo>
                    <a:pt x="64135" y="261391"/>
                  </a:lnTo>
                  <a:lnTo>
                    <a:pt x="57238" y="256705"/>
                  </a:lnTo>
                  <a:lnTo>
                    <a:pt x="52539" y="249796"/>
                  </a:lnTo>
                  <a:lnTo>
                    <a:pt x="50800" y="241452"/>
                  </a:lnTo>
                  <a:lnTo>
                    <a:pt x="50800" y="72504"/>
                  </a:lnTo>
                  <a:lnTo>
                    <a:pt x="52539" y="64160"/>
                  </a:lnTo>
                  <a:lnTo>
                    <a:pt x="57238" y="57264"/>
                  </a:lnTo>
                  <a:lnTo>
                    <a:pt x="64135" y="52565"/>
                  </a:lnTo>
                  <a:lnTo>
                    <a:pt x="72491" y="50825"/>
                  </a:lnTo>
                  <a:lnTo>
                    <a:pt x="563778" y="50825"/>
                  </a:lnTo>
                  <a:lnTo>
                    <a:pt x="572122" y="52565"/>
                  </a:lnTo>
                  <a:lnTo>
                    <a:pt x="579031" y="57264"/>
                  </a:lnTo>
                  <a:lnTo>
                    <a:pt x="583730" y="64160"/>
                  </a:lnTo>
                  <a:lnTo>
                    <a:pt x="585470" y="72504"/>
                  </a:lnTo>
                  <a:lnTo>
                    <a:pt x="585470" y="53505"/>
                  </a:lnTo>
                  <a:lnTo>
                    <a:pt x="584390" y="51904"/>
                  </a:lnTo>
                  <a:lnTo>
                    <a:pt x="582803" y="50825"/>
                  </a:lnTo>
                  <a:lnTo>
                    <a:pt x="575056" y="45554"/>
                  </a:lnTo>
                  <a:lnTo>
                    <a:pt x="563778" y="43205"/>
                  </a:lnTo>
                  <a:lnTo>
                    <a:pt x="72491" y="43205"/>
                  </a:lnTo>
                  <a:lnTo>
                    <a:pt x="61214" y="45554"/>
                  </a:lnTo>
                  <a:lnTo>
                    <a:pt x="51879" y="51904"/>
                  </a:lnTo>
                  <a:lnTo>
                    <a:pt x="45529" y="61226"/>
                  </a:lnTo>
                  <a:lnTo>
                    <a:pt x="43180" y="72504"/>
                  </a:lnTo>
                  <a:lnTo>
                    <a:pt x="43180" y="241452"/>
                  </a:lnTo>
                  <a:lnTo>
                    <a:pt x="45529" y="252730"/>
                  </a:lnTo>
                  <a:lnTo>
                    <a:pt x="51879" y="262064"/>
                  </a:lnTo>
                  <a:lnTo>
                    <a:pt x="61214" y="268401"/>
                  </a:lnTo>
                  <a:lnTo>
                    <a:pt x="72491" y="270751"/>
                  </a:lnTo>
                  <a:lnTo>
                    <a:pt x="563778" y="270751"/>
                  </a:lnTo>
                  <a:lnTo>
                    <a:pt x="575056" y="268401"/>
                  </a:lnTo>
                  <a:lnTo>
                    <a:pt x="582815" y="263131"/>
                  </a:lnTo>
                  <a:lnTo>
                    <a:pt x="584390" y="262064"/>
                  </a:lnTo>
                  <a:lnTo>
                    <a:pt x="590727" y="252730"/>
                  </a:lnTo>
                  <a:lnTo>
                    <a:pt x="593077" y="241452"/>
                  </a:lnTo>
                  <a:lnTo>
                    <a:pt x="593077" y="72504"/>
                  </a:lnTo>
                  <a:close/>
                </a:path>
                <a:path w="636904" h="314325">
                  <a:moveTo>
                    <a:pt x="636282" y="72504"/>
                  </a:moveTo>
                  <a:lnTo>
                    <a:pt x="630580" y="44310"/>
                  </a:lnTo>
                  <a:lnTo>
                    <a:pt x="628662" y="41478"/>
                  </a:lnTo>
                  <a:lnTo>
                    <a:pt x="628662" y="72504"/>
                  </a:lnTo>
                  <a:lnTo>
                    <a:pt x="628662" y="241452"/>
                  </a:lnTo>
                  <a:lnTo>
                    <a:pt x="623557" y="266687"/>
                  </a:lnTo>
                  <a:lnTo>
                    <a:pt x="609638" y="287312"/>
                  </a:lnTo>
                  <a:lnTo>
                    <a:pt x="589013" y="301231"/>
                  </a:lnTo>
                  <a:lnTo>
                    <a:pt x="563778" y="306336"/>
                  </a:lnTo>
                  <a:lnTo>
                    <a:pt x="72491" y="306336"/>
                  </a:lnTo>
                  <a:lnTo>
                    <a:pt x="47256" y="301231"/>
                  </a:lnTo>
                  <a:lnTo>
                    <a:pt x="26631" y="287312"/>
                  </a:lnTo>
                  <a:lnTo>
                    <a:pt x="12712" y="266687"/>
                  </a:lnTo>
                  <a:lnTo>
                    <a:pt x="7607" y="241452"/>
                  </a:lnTo>
                  <a:lnTo>
                    <a:pt x="7607" y="72504"/>
                  </a:lnTo>
                  <a:lnTo>
                    <a:pt x="12712" y="47269"/>
                  </a:lnTo>
                  <a:lnTo>
                    <a:pt x="26631" y="26644"/>
                  </a:lnTo>
                  <a:lnTo>
                    <a:pt x="47256" y="12725"/>
                  </a:lnTo>
                  <a:lnTo>
                    <a:pt x="72491" y="7620"/>
                  </a:lnTo>
                  <a:lnTo>
                    <a:pt x="563778" y="7620"/>
                  </a:lnTo>
                  <a:lnTo>
                    <a:pt x="589013" y="12725"/>
                  </a:lnTo>
                  <a:lnTo>
                    <a:pt x="609638" y="26644"/>
                  </a:lnTo>
                  <a:lnTo>
                    <a:pt x="623557" y="47269"/>
                  </a:lnTo>
                  <a:lnTo>
                    <a:pt x="628662" y="72504"/>
                  </a:lnTo>
                  <a:lnTo>
                    <a:pt x="628662" y="41478"/>
                  </a:lnTo>
                  <a:lnTo>
                    <a:pt x="615022" y="21259"/>
                  </a:lnTo>
                  <a:lnTo>
                    <a:pt x="594804" y="7620"/>
                  </a:lnTo>
                  <a:lnTo>
                    <a:pt x="591972" y="5702"/>
                  </a:lnTo>
                  <a:lnTo>
                    <a:pt x="563778" y="0"/>
                  </a:lnTo>
                  <a:lnTo>
                    <a:pt x="72491" y="0"/>
                  </a:lnTo>
                  <a:lnTo>
                    <a:pt x="44297" y="5702"/>
                  </a:lnTo>
                  <a:lnTo>
                    <a:pt x="21259" y="21259"/>
                  </a:lnTo>
                  <a:lnTo>
                    <a:pt x="5702" y="44310"/>
                  </a:lnTo>
                  <a:lnTo>
                    <a:pt x="0" y="72504"/>
                  </a:lnTo>
                  <a:lnTo>
                    <a:pt x="0" y="241452"/>
                  </a:lnTo>
                  <a:lnTo>
                    <a:pt x="5702" y="269646"/>
                  </a:lnTo>
                  <a:lnTo>
                    <a:pt x="21259" y="292696"/>
                  </a:lnTo>
                  <a:lnTo>
                    <a:pt x="44297" y="308254"/>
                  </a:lnTo>
                  <a:lnTo>
                    <a:pt x="72491" y="313956"/>
                  </a:lnTo>
                  <a:lnTo>
                    <a:pt x="563778" y="313956"/>
                  </a:lnTo>
                  <a:lnTo>
                    <a:pt x="591972" y="308254"/>
                  </a:lnTo>
                  <a:lnTo>
                    <a:pt x="594804" y="306336"/>
                  </a:lnTo>
                  <a:lnTo>
                    <a:pt x="615022" y="292696"/>
                  </a:lnTo>
                  <a:lnTo>
                    <a:pt x="630580" y="269646"/>
                  </a:lnTo>
                  <a:lnTo>
                    <a:pt x="636282" y="241452"/>
                  </a:lnTo>
                  <a:lnTo>
                    <a:pt x="636282" y="72504"/>
                  </a:lnTo>
                  <a:close/>
                </a:path>
              </a:pathLst>
            </a:custGeom>
            <a:solidFill>
              <a:srgbClr val="020303"/>
            </a:solidFill>
          </p:spPr>
          <p:txBody>
            <a:bodyPr wrap="square" lIns="0" tIns="0" rIns="0" bIns="0" rtlCol="0"/>
            <a:lstStyle/>
            <a:p>
              <a:endParaRPr sz="649"/>
            </a:p>
          </p:txBody>
        </p:sp>
        <p:sp>
          <p:nvSpPr>
            <p:cNvPr id="142" name="object 142"/>
            <p:cNvSpPr/>
            <p:nvPr/>
          </p:nvSpPr>
          <p:spPr>
            <a:xfrm>
              <a:off x="971019" y="7201682"/>
              <a:ext cx="311785" cy="314325"/>
            </a:xfrm>
            <a:custGeom>
              <a:avLst/>
              <a:gdLst/>
              <a:ahLst/>
              <a:cxnLst/>
              <a:rect l="l" t="t" r="r" b="b"/>
              <a:pathLst>
                <a:path w="311784" h="314325">
                  <a:moveTo>
                    <a:pt x="238810" y="0"/>
                  </a:moveTo>
                  <a:lnTo>
                    <a:pt x="72504" y="0"/>
                  </a:lnTo>
                  <a:lnTo>
                    <a:pt x="44309" y="5706"/>
                  </a:lnTo>
                  <a:lnTo>
                    <a:pt x="21259" y="21259"/>
                  </a:lnTo>
                  <a:lnTo>
                    <a:pt x="5706" y="44309"/>
                  </a:lnTo>
                  <a:lnTo>
                    <a:pt x="0" y="72504"/>
                  </a:lnTo>
                  <a:lnTo>
                    <a:pt x="0" y="241452"/>
                  </a:lnTo>
                  <a:lnTo>
                    <a:pt x="5706" y="269647"/>
                  </a:lnTo>
                  <a:lnTo>
                    <a:pt x="21259" y="292696"/>
                  </a:lnTo>
                  <a:lnTo>
                    <a:pt x="44309" y="308250"/>
                  </a:lnTo>
                  <a:lnTo>
                    <a:pt x="72504" y="313956"/>
                  </a:lnTo>
                  <a:lnTo>
                    <a:pt x="238810" y="313956"/>
                  </a:lnTo>
                  <a:lnTo>
                    <a:pt x="267005" y="308250"/>
                  </a:lnTo>
                  <a:lnTo>
                    <a:pt x="269841" y="306336"/>
                  </a:lnTo>
                  <a:lnTo>
                    <a:pt x="72504" y="306336"/>
                  </a:lnTo>
                  <a:lnTo>
                    <a:pt x="47273" y="301229"/>
                  </a:lnTo>
                  <a:lnTo>
                    <a:pt x="26646" y="287310"/>
                  </a:lnTo>
                  <a:lnTo>
                    <a:pt x="12727" y="266683"/>
                  </a:lnTo>
                  <a:lnTo>
                    <a:pt x="7620" y="241452"/>
                  </a:lnTo>
                  <a:lnTo>
                    <a:pt x="7620" y="72504"/>
                  </a:lnTo>
                  <a:lnTo>
                    <a:pt x="12727" y="47273"/>
                  </a:lnTo>
                  <a:lnTo>
                    <a:pt x="26646" y="26646"/>
                  </a:lnTo>
                  <a:lnTo>
                    <a:pt x="47273" y="12727"/>
                  </a:lnTo>
                  <a:lnTo>
                    <a:pt x="72504" y="7620"/>
                  </a:lnTo>
                  <a:lnTo>
                    <a:pt x="269841" y="7620"/>
                  </a:lnTo>
                  <a:lnTo>
                    <a:pt x="267005" y="5706"/>
                  </a:lnTo>
                  <a:lnTo>
                    <a:pt x="238810" y="0"/>
                  </a:lnTo>
                  <a:close/>
                </a:path>
                <a:path w="311784" h="314325">
                  <a:moveTo>
                    <a:pt x="269841" y="7620"/>
                  </a:moveTo>
                  <a:lnTo>
                    <a:pt x="238810" y="7620"/>
                  </a:lnTo>
                  <a:lnTo>
                    <a:pt x="264041" y="12727"/>
                  </a:lnTo>
                  <a:lnTo>
                    <a:pt x="284668" y="26646"/>
                  </a:lnTo>
                  <a:lnTo>
                    <a:pt x="298587" y="47273"/>
                  </a:lnTo>
                  <a:lnTo>
                    <a:pt x="303695" y="72504"/>
                  </a:lnTo>
                  <a:lnTo>
                    <a:pt x="303695" y="241452"/>
                  </a:lnTo>
                  <a:lnTo>
                    <a:pt x="298587" y="266683"/>
                  </a:lnTo>
                  <a:lnTo>
                    <a:pt x="284668" y="287310"/>
                  </a:lnTo>
                  <a:lnTo>
                    <a:pt x="264041" y="301229"/>
                  </a:lnTo>
                  <a:lnTo>
                    <a:pt x="238810" y="306336"/>
                  </a:lnTo>
                  <a:lnTo>
                    <a:pt x="269841" y="306336"/>
                  </a:lnTo>
                  <a:lnTo>
                    <a:pt x="290055" y="292696"/>
                  </a:lnTo>
                  <a:lnTo>
                    <a:pt x="305608" y="269647"/>
                  </a:lnTo>
                  <a:lnTo>
                    <a:pt x="311315" y="241452"/>
                  </a:lnTo>
                  <a:lnTo>
                    <a:pt x="311315" y="72504"/>
                  </a:lnTo>
                  <a:lnTo>
                    <a:pt x="305608" y="44309"/>
                  </a:lnTo>
                  <a:lnTo>
                    <a:pt x="290055" y="21259"/>
                  </a:lnTo>
                  <a:lnTo>
                    <a:pt x="269841" y="7620"/>
                  </a:lnTo>
                  <a:close/>
                </a:path>
              </a:pathLst>
            </a:custGeom>
            <a:solidFill>
              <a:srgbClr val="231F20"/>
            </a:solidFill>
          </p:spPr>
          <p:txBody>
            <a:bodyPr wrap="square" lIns="0" tIns="0" rIns="0" bIns="0" rtlCol="0"/>
            <a:lstStyle/>
            <a:p>
              <a:endParaRPr sz="649"/>
            </a:p>
          </p:txBody>
        </p:sp>
        <p:pic>
          <p:nvPicPr>
            <p:cNvPr id="143" name="object 143"/>
            <p:cNvPicPr/>
            <p:nvPr/>
          </p:nvPicPr>
          <p:blipFill>
            <a:blip r:embed="rId41" cstate="print"/>
            <a:stretch>
              <a:fillRect/>
            </a:stretch>
          </p:blipFill>
          <p:spPr>
            <a:xfrm>
              <a:off x="1015960" y="7244886"/>
              <a:ext cx="221424" cy="227545"/>
            </a:xfrm>
            <a:prstGeom prst="rect">
              <a:avLst/>
            </a:prstGeom>
          </p:spPr>
        </p:pic>
        <p:sp>
          <p:nvSpPr>
            <p:cNvPr id="144" name="object 144"/>
            <p:cNvSpPr/>
            <p:nvPr/>
          </p:nvSpPr>
          <p:spPr>
            <a:xfrm>
              <a:off x="1340817" y="6986446"/>
              <a:ext cx="752475" cy="752475"/>
            </a:xfrm>
            <a:custGeom>
              <a:avLst/>
              <a:gdLst/>
              <a:ahLst/>
              <a:cxnLst/>
              <a:rect l="l" t="t" r="r" b="b"/>
              <a:pathLst>
                <a:path w="752475" h="752475">
                  <a:moveTo>
                    <a:pt x="752297" y="376148"/>
                  </a:moveTo>
                  <a:lnTo>
                    <a:pt x="749366" y="423330"/>
                  </a:lnTo>
                  <a:lnTo>
                    <a:pt x="740808" y="468763"/>
                  </a:lnTo>
                  <a:lnTo>
                    <a:pt x="726977" y="512096"/>
                  </a:lnTo>
                  <a:lnTo>
                    <a:pt x="708224" y="552974"/>
                  </a:lnTo>
                  <a:lnTo>
                    <a:pt x="684901" y="591047"/>
                  </a:lnTo>
                  <a:lnTo>
                    <a:pt x="657363" y="625960"/>
                  </a:lnTo>
                  <a:lnTo>
                    <a:pt x="625960" y="657363"/>
                  </a:lnTo>
                  <a:lnTo>
                    <a:pt x="591047" y="684901"/>
                  </a:lnTo>
                  <a:lnTo>
                    <a:pt x="552974" y="708224"/>
                  </a:lnTo>
                  <a:lnTo>
                    <a:pt x="512096" y="726977"/>
                  </a:lnTo>
                  <a:lnTo>
                    <a:pt x="468763" y="740808"/>
                  </a:lnTo>
                  <a:lnTo>
                    <a:pt x="423330" y="749366"/>
                  </a:lnTo>
                  <a:lnTo>
                    <a:pt x="376148" y="752297"/>
                  </a:lnTo>
                  <a:lnTo>
                    <a:pt x="328964" y="749366"/>
                  </a:lnTo>
                  <a:lnTo>
                    <a:pt x="283529" y="740808"/>
                  </a:lnTo>
                  <a:lnTo>
                    <a:pt x="240195" y="726977"/>
                  </a:lnTo>
                  <a:lnTo>
                    <a:pt x="199316" y="708224"/>
                  </a:lnTo>
                  <a:lnTo>
                    <a:pt x="161244" y="684901"/>
                  </a:lnTo>
                  <a:lnTo>
                    <a:pt x="126331" y="657363"/>
                  </a:lnTo>
                  <a:lnTo>
                    <a:pt x="94929" y="625960"/>
                  </a:lnTo>
                  <a:lnTo>
                    <a:pt x="67391" y="591047"/>
                  </a:lnTo>
                  <a:lnTo>
                    <a:pt x="44070" y="552974"/>
                  </a:lnTo>
                  <a:lnTo>
                    <a:pt x="25318" y="512096"/>
                  </a:lnTo>
                  <a:lnTo>
                    <a:pt x="11487" y="468763"/>
                  </a:lnTo>
                  <a:lnTo>
                    <a:pt x="2930" y="423330"/>
                  </a:lnTo>
                  <a:lnTo>
                    <a:pt x="0" y="376148"/>
                  </a:lnTo>
                  <a:lnTo>
                    <a:pt x="2930" y="328966"/>
                  </a:lnTo>
                  <a:lnTo>
                    <a:pt x="11487" y="283533"/>
                  </a:lnTo>
                  <a:lnTo>
                    <a:pt x="25318" y="240201"/>
                  </a:lnTo>
                  <a:lnTo>
                    <a:pt x="44070" y="199322"/>
                  </a:lnTo>
                  <a:lnTo>
                    <a:pt x="67391" y="161249"/>
                  </a:lnTo>
                  <a:lnTo>
                    <a:pt x="94929" y="126336"/>
                  </a:lnTo>
                  <a:lnTo>
                    <a:pt x="126331" y="94933"/>
                  </a:lnTo>
                  <a:lnTo>
                    <a:pt x="161244" y="67395"/>
                  </a:lnTo>
                  <a:lnTo>
                    <a:pt x="199316" y="44073"/>
                  </a:lnTo>
                  <a:lnTo>
                    <a:pt x="240195" y="25319"/>
                  </a:lnTo>
                  <a:lnTo>
                    <a:pt x="283529" y="11488"/>
                  </a:lnTo>
                  <a:lnTo>
                    <a:pt x="328964" y="2930"/>
                  </a:lnTo>
                  <a:lnTo>
                    <a:pt x="376148" y="0"/>
                  </a:lnTo>
                  <a:lnTo>
                    <a:pt x="423330" y="2930"/>
                  </a:lnTo>
                  <a:lnTo>
                    <a:pt x="468763" y="11488"/>
                  </a:lnTo>
                  <a:lnTo>
                    <a:pt x="512096" y="25319"/>
                  </a:lnTo>
                  <a:lnTo>
                    <a:pt x="552974" y="44073"/>
                  </a:lnTo>
                  <a:lnTo>
                    <a:pt x="591047" y="67395"/>
                  </a:lnTo>
                  <a:lnTo>
                    <a:pt x="625960" y="94933"/>
                  </a:lnTo>
                  <a:lnTo>
                    <a:pt x="657363" y="126336"/>
                  </a:lnTo>
                  <a:lnTo>
                    <a:pt x="684901" y="161249"/>
                  </a:lnTo>
                  <a:lnTo>
                    <a:pt x="708224" y="199322"/>
                  </a:lnTo>
                  <a:lnTo>
                    <a:pt x="726977" y="240201"/>
                  </a:lnTo>
                  <a:lnTo>
                    <a:pt x="740808" y="283533"/>
                  </a:lnTo>
                  <a:lnTo>
                    <a:pt x="749366" y="328966"/>
                  </a:lnTo>
                  <a:lnTo>
                    <a:pt x="752297" y="376148"/>
                  </a:lnTo>
                  <a:close/>
                </a:path>
              </a:pathLst>
            </a:custGeom>
            <a:ln w="38100">
              <a:solidFill>
                <a:srgbClr val="E3873E"/>
              </a:solidFill>
            </a:ln>
          </p:spPr>
          <p:txBody>
            <a:bodyPr wrap="square" lIns="0" tIns="0" rIns="0" bIns="0" rtlCol="0"/>
            <a:lstStyle/>
            <a:p>
              <a:endParaRPr sz="649"/>
            </a:p>
          </p:txBody>
        </p:sp>
      </p:grpSp>
      <p:grpSp>
        <p:nvGrpSpPr>
          <p:cNvPr id="145" name="object 145"/>
          <p:cNvGrpSpPr/>
          <p:nvPr/>
        </p:nvGrpSpPr>
        <p:grpSpPr>
          <a:xfrm>
            <a:off x="4805490" y="3160210"/>
            <a:ext cx="982272" cy="739377"/>
            <a:chOff x="4263528" y="6568087"/>
            <a:chExt cx="2041525" cy="1536700"/>
          </a:xfrm>
        </p:grpSpPr>
        <p:sp>
          <p:nvSpPr>
            <p:cNvPr id="146" name="object 146"/>
            <p:cNvSpPr/>
            <p:nvPr/>
          </p:nvSpPr>
          <p:spPr>
            <a:xfrm>
              <a:off x="4303900" y="6814287"/>
              <a:ext cx="405765" cy="370205"/>
            </a:xfrm>
            <a:custGeom>
              <a:avLst/>
              <a:gdLst/>
              <a:ahLst/>
              <a:cxnLst/>
              <a:rect l="l" t="t" r="r" b="b"/>
              <a:pathLst>
                <a:path w="405764" h="370204">
                  <a:moveTo>
                    <a:pt x="159674" y="0"/>
                  </a:moveTo>
                  <a:lnTo>
                    <a:pt x="119253" y="9104"/>
                  </a:lnTo>
                  <a:lnTo>
                    <a:pt x="70068" y="30278"/>
                  </a:lnTo>
                  <a:lnTo>
                    <a:pt x="25938" y="57912"/>
                  </a:lnTo>
                  <a:lnTo>
                    <a:pt x="0" y="99517"/>
                  </a:lnTo>
                  <a:lnTo>
                    <a:pt x="7981" y="115370"/>
                  </a:lnTo>
                  <a:lnTo>
                    <a:pt x="50285" y="158473"/>
                  </a:lnTo>
                  <a:lnTo>
                    <a:pt x="84781" y="187320"/>
                  </a:lnTo>
                  <a:lnTo>
                    <a:pt x="128291" y="222097"/>
                  </a:lnTo>
                  <a:lnTo>
                    <a:pt x="242695" y="312632"/>
                  </a:lnTo>
                  <a:lnTo>
                    <a:pt x="313763" y="369989"/>
                  </a:lnTo>
                  <a:lnTo>
                    <a:pt x="405470" y="263613"/>
                  </a:lnTo>
                  <a:lnTo>
                    <a:pt x="399988" y="230558"/>
                  </a:lnTo>
                  <a:lnTo>
                    <a:pt x="395664" y="209246"/>
                  </a:lnTo>
                  <a:lnTo>
                    <a:pt x="381505" y="164795"/>
                  </a:lnTo>
                  <a:lnTo>
                    <a:pt x="360875" y="119626"/>
                  </a:lnTo>
                  <a:lnTo>
                    <a:pt x="332378" y="79356"/>
                  </a:lnTo>
                  <a:lnTo>
                    <a:pt x="297012" y="45621"/>
                  </a:lnTo>
                  <a:lnTo>
                    <a:pt x="255774" y="20059"/>
                  </a:lnTo>
                  <a:lnTo>
                    <a:pt x="209662" y="4306"/>
                  </a:lnTo>
                  <a:lnTo>
                    <a:pt x="159674" y="0"/>
                  </a:lnTo>
                  <a:close/>
                </a:path>
              </a:pathLst>
            </a:custGeom>
            <a:solidFill>
              <a:srgbClr val="F1F2F2"/>
            </a:solidFill>
          </p:spPr>
          <p:txBody>
            <a:bodyPr wrap="square" lIns="0" tIns="0" rIns="0" bIns="0" rtlCol="0"/>
            <a:lstStyle/>
            <a:p>
              <a:endParaRPr sz="649"/>
            </a:p>
          </p:txBody>
        </p:sp>
        <p:sp>
          <p:nvSpPr>
            <p:cNvPr id="147" name="object 147"/>
            <p:cNvSpPr/>
            <p:nvPr/>
          </p:nvSpPr>
          <p:spPr>
            <a:xfrm>
              <a:off x="4303900" y="6814287"/>
              <a:ext cx="405765" cy="370205"/>
            </a:xfrm>
            <a:custGeom>
              <a:avLst/>
              <a:gdLst/>
              <a:ahLst/>
              <a:cxnLst/>
              <a:rect l="l" t="t" r="r" b="b"/>
              <a:pathLst>
                <a:path w="405764" h="370204">
                  <a:moveTo>
                    <a:pt x="405470" y="263613"/>
                  </a:moveTo>
                  <a:lnTo>
                    <a:pt x="395664" y="209246"/>
                  </a:lnTo>
                  <a:lnTo>
                    <a:pt x="381505" y="164795"/>
                  </a:lnTo>
                  <a:lnTo>
                    <a:pt x="360875" y="119626"/>
                  </a:lnTo>
                  <a:lnTo>
                    <a:pt x="332378" y="79356"/>
                  </a:lnTo>
                  <a:lnTo>
                    <a:pt x="297012" y="45621"/>
                  </a:lnTo>
                  <a:lnTo>
                    <a:pt x="255774" y="20059"/>
                  </a:lnTo>
                  <a:lnTo>
                    <a:pt x="209662" y="4306"/>
                  </a:lnTo>
                  <a:lnTo>
                    <a:pt x="159674" y="0"/>
                  </a:lnTo>
                  <a:lnTo>
                    <a:pt x="119253" y="9104"/>
                  </a:lnTo>
                  <a:lnTo>
                    <a:pt x="70068" y="30278"/>
                  </a:lnTo>
                  <a:lnTo>
                    <a:pt x="25938" y="57912"/>
                  </a:lnTo>
                  <a:lnTo>
                    <a:pt x="683" y="86398"/>
                  </a:lnTo>
                  <a:lnTo>
                    <a:pt x="0" y="99517"/>
                  </a:lnTo>
                  <a:lnTo>
                    <a:pt x="7981" y="115370"/>
                  </a:lnTo>
                  <a:lnTo>
                    <a:pt x="50285" y="158473"/>
                  </a:lnTo>
                  <a:lnTo>
                    <a:pt x="84781" y="187320"/>
                  </a:lnTo>
                  <a:lnTo>
                    <a:pt x="128291" y="222097"/>
                  </a:lnTo>
                  <a:lnTo>
                    <a:pt x="180900" y="263601"/>
                  </a:lnTo>
                  <a:lnTo>
                    <a:pt x="242695" y="312632"/>
                  </a:lnTo>
                  <a:lnTo>
                    <a:pt x="313763" y="369989"/>
                  </a:lnTo>
                </a:path>
              </a:pathLst>
            </a:custGeom>
            <a:ln w="25400">
              <a:solidFill>
                <a:srgbClr val="231F20"/>
              </a:solidFill>
            </a:ln>
          </p:spPr>
          <p:txBody>
            <a:bodyPr wrap="square" lIns="0" tIns="0" rIns="0" bIns="0" rtlCol="0"/>
            <a:lstStyle/>
            <a:p>
              <a:endParaRPr sz="649"/>
            </a:p>
          </p:txBody>
        </p:sp>
        <p:sp>
          <p:nvSpPr>
            <p:cNvPr id="148" name="object 148"/>
            <p:cNvSpPr/>
            <p:nvPr/>
          </p:nvSpPr>
          <p:spPr>
            <a:xfrm>
              <a:off x="5175446" y="7793825"/>
              <a:ext cx="923925" cy="304800"/>
            </a:xfrm>
            <a:custGeom>
              <a:avLst/>
              <a:gdLst/>
              <a:ahLst/>
              <a:cxnLst/>
              <a:rect l="l" t="t" r="r" b="b"/>
              <a:pathLst>
                <a:path w="923925" h="304800">
                  <a:moveTo>
                    <a:pt x="498814" y="0"/>
                  </a:moveTo>
                  <a:lnTo>
                    <a:pt x="499513" y="223481"/>
                  </a:lnTo>
                  <a:lnTo>
                    <a:pt x="500440" y="225882"/>
                  </a:lnTo>
                  <a:lnTo>
                    <a:pt x="923591" y="265480"/>
                  </a:lnTo>
                  <a:lnTo>
                    <a:pt x="923591" y="304228"/>
                  </a:lnTo>
                  <a:lnTo>
                    <a:pt x="2105" y="304228"/>
                  </a:lnTo>
                  <a:lnTo>
                    <a:pt x="627" y="281198"/>
                  </a:lnTo>
                  <a:lnTo>
                    <a:pt x="0" y="269486"/>
                  </a:lnTo>
                  <a:lnTo>
                    <a:pt x="101" y="265457"/>
                  </a:lnTo>
                  <a:lnTo>
                    <a:pt x="809" y="265480"/>
                  </a:lnTo>
                  <a:lnTo>
                    <a:pt x="424214" y="226529"/>
                  </a:lnTo>
                  <a:lnTo>
                    <a:pt x="424430" y="225526"/>
                  </a:lnTo>
                  <a:lnTo>
                    <a:pt x="424430" y="0"/>
                  </a:lnTo>
                </a:path>
              </a:pathLst>
            </a:custGeom>
            <a:ln w="12700">
              <a:solidFill>
                <a:srgbClr val="231F20"/>
              </a:solidFill>
            </a:ln>
          </p:spPr>
          <p:txBody>
            <a:bodyPr wrap="square" lIns="0" tIns="0" rIns="0" bIns="0" rtlCol="0"/>
            <a:lstStyle/>
            <a:p>
              <a:endParaRPr sz="649"/>
            </a:p>
          </p:txBody>
        </p:sp>
        <p:sp>
          <p:nvSpPr>
            <p:cNvPr id="149" name="object 149"/>
            <p:cNvSpPr/>
            <p:nvPr/>
          </p:nvSpPr>
          <p:spPr>
            <a:xfrm>
              <a:off x="5384789" y="7417051"/>
              <a:ext cx="908050" cy="492125"/>
            </a:xfrm>
            <a:custGeom>
              <a:avLst/>
              <a:gdLst/>
              <a:ahLst/>
              <a:cxnLst/>
              <a:rect l="l" t="t" r="r" b="b"/>
              <a:pathLst>
                <a:path w="908050" h="492125">
                  <a:moveTo>
                    <a:pt x="706689" y="0"/>
                  </a:moveTo>
                  <a:lnTo>
                    <a:pt x="657936" y="3303"/>
                  </a:lnTo>
                  <a:lnTo>
                    <a:pt x="592241" y="15249"/>
                  </a:lnTo>
                  <a:lnTo>
                    <a:pt x="501808" y="39621"/>
                  </a:lnTo>
                  <a:lnTo>
                    <a:pt x="324955" y="94770"/>
                  </a:lnTo>
                  <a:lnTo>
                    <a:pt x="0" y="199048"/>
                  </a:lnTo>
                  <a:lnTo>
                    <a:pt x="73228" y="468327"/>
                  </a:lnTo>
                  <a:lnTo>
                    <a:pt x="369820" y="398004"/>
                  </a:lnTo>
                  <a:lnTo>
                    <a:pt x="581255" y="347444"/>
                  </a:lnTo>
                  <a:lnTo>
                    <a:pt x="693178" y="319813"/>
                  </a:lnTo>
                  <a:lnTo>
                    <a:pt x="710350" y="246094"/>
                  </a:lnTo>
                  <a:lnTo>
                    <a:pt x="709769" y="188922"/>
                  </a:lnTo>
                  <a:lnTo>
                    <a:pt x="712040" y="140894"/>
                  </a:lnTo>
                  <a:lnTo>
                    <a:pt x="723887" y="119026"/>
                  </a:lnTo>
                  <a:lnTo>
                    <a:pt x="756532" y="130720"/>
                  </a:lnTo>
                  <a:lnTo>
                    <a:pt x="781216" y="168948"/>
                  </a:lnTo>
                  <a:lnTo>
                    <a:pt x="796101" y="220594"/>
                  </a:lnTo>
                  <a:lnTo>
                    <a:pt x="799350" y="272543"/>
                  </a:lnTo>
                  <a:lnTo>
                    <a:pt x="784261" y="309259"/>
                  </a:lnTo>
                  <a:lnTo>
                    <a:pt x="750049" y="335919"/>
                  </a:lnTo>
                  <a:lnTo>
                    <a:pt x="704795" y="354850"/>
                  </a:lnTo>
                  <a:lnTo>
                    <a:pt x="656580" y="368382"/>
                  </a:lnTo>
                  <a:lnTo>
                    <a:pt x="613486" y="378842"/>
                  </a:lnTo>
                  <a:lnTo>
                    <a:pt x="542347" y="393841"/>
                  </a:lnTo>
                  <a:lnTo>
                    <a:pt x="510048" y="400470"/>
                  </a:lnTo>
                  <a:lnTo>
                    <a:pt x="479552" y="408764"/>
                  </a:lnTo>
                  <a:lnTo>
                    <a:pt x="449477" y="429608"/>
                  </a:lnTo>
                  <a:lnTo>
                    <a:pt x="445774" y="456171"/>
                  </a:lnTo>
                  <a:lnTo>
                    <a:pt x="459833" y="479617"/>
                  </a:lnTo>
                  <a:lnTo>
                    <a:pt x="483044" y="491110"/>
                  </a:lnTo>
                  <a:lnTo>
                    <a:pt x="522781" y="491873"/>
                  </a:lnTo>
                  <a:lnTo>
                    <a:pt x="571189" y="487420"/>
                  </a:lnTo>
                  <a:lnTo>
                    <a:pt x="624817" y="478293"/>
                  </a:lnTo>
                  <a:lnTo>
                    <a:pt x="680218" y="465032"/>
                  </a:lnTo>
                  <a:lnTo>
                    <a:pt x="733940" y="448178"/>
                  </a:lnTo>
                  <a:lnTo>
                    <a:pt x="782535" y="428271"/>
                  </a:lnTo>
                  <a:lnTo>
                    <a:pt x="823120" y="404717"/>
                  </a:lnTo>
                  <a:lnTo>
                    <a:pt x="857850" y="374466"/>
                  </a:lnTo>
                  <a:lnTo>
                    <a:pt x="884778" y="337213"/>
                  </a:lnTo>
                  <a:lnTo>
                    <a:pt x="901959" y="292655"/>
                  </a:lnTo>
                  <a:lnTo>
                    <a:pt x="907444" y="240487"/>
                  </a:lnTo>
                  <a:lnTo>
                    <a:pt x="899287" y="180405"/>
                  </a:lnTo>
                  <a:lnTo>
                    <a:pt x="881632" y="126643"/>
                  </a:lnTo>
                  <a:lnTo>
                    <a:pt x="857520" y="82321"/>
                  </a:lnTo>
                  <a:lnTo>
                    <a:pt x="827459" y="47467"/>
                  </a:lnTo>
                  <a:lnTo>
                    <a:pt x="791961" y="22110"/>
                  </a:lnTo>
                  <a:lnTo>
                    <a:pt x="751534" y="6278"/>
                  </a:lnTo>
                  <a:lnTo>
                    <a:pt x="706689" y="0"/>
                  </a:lnTo>
                  <a:close/>
                </a:path>
              </a:pathLst>
            </a:custGeom>
            <a:solidFill>
              <a:srgbClr val="D1D3D4"/>
            </a:solidFill>
          </p:spPr>
          <p:txBody>
            <a:bodyPr wrap="square" lIns="0" tIns="0" rIns="0" bIns="0" rtlCol="0"/>
            <a:lstStyle/>
            <a:p>
              <a:endParaRPr sz="649"/>
            </a:p>
          </p:txBody>
        </p:sp>
        <p:sp>
          <p:nvSpPr>
            <p:cNvPr id="150" name="object 150"/>
            <p:cNvSpPr/>
            <p:nvPr/>
          </p:nvSpPr>
          <p:spPr>
            <a:xfrm>
              <a:off x="5384789" y="7417051"/>
              <a:ext cx="908050" cy="492125"/>
            </a:xfrm>
            <a:custGeom>
              <a:avLst/>
              <a:gdLst/>
              <a:ahLst/>
              <a:cxnLst/>
              <a:rect l="l" t="t" r="r" b="b"/>
              <a:pathLst>
                <a:path w="908050" h="492125">
                  <a:moveTo>
                    <a:pt x="0" y="199048"/>
                  </a:moveTo>
                  <a:lnTo>
                    <a:pt x="324955" y="94770"/>
                  </a:lnTo>
                  <a:lnTo>
                    <a:pt x="501808" y="39621"/>
                  </a:lnTo>
                  <a:lnTo>
                    <a:pt x="592241" y="15249"/>
                  </a:lnTo>
                  <a:lnTo>
                    <a:pt x="657936" y="3303"/>
                  </a:lnTo>
                  <a:lnTo>
                    <a:pt x="706689" y="0"/>
                  </a:lnTo>
                  <a:lnTo>
                    <a:pt x="751534" y="6278"/>
                  </a:lnTo>
                  <a:lnTo>
                    <a:pt x="791961" y="22110"/>
                  </a:lnTo>
                  <a:lnTo>
                    <a:pt x="827459" y="47467"/>
                  </a:lnTo>
                  <a:lnTo>
                    <a:pt x="857520" y="82321"/>
                  </a:lnTo>
                  <a:lnTo>
                    <a:pt x="881632" y="126643"/>
                  </a:lnTo>
                  <a:lnTo>
                    <a:pt x="899287" y="180405"/>
                  </a:lnTo>
                  <a:lnTo>
                    <a:pt x="907444" y="240487"/>
                  </a:lnTo>
                  <a:lnTo>
                    <a:pt x="901959" y="292655"/>
                  </a:lnTo>
                  <a:lnTo>
                    <a:pt x="884778" y="337213"/>
                  </a:lnTo>
                  <a:lnTo>
                    <a:pt x="857850" y="374466"/>
                  </a:lnTo>
                  <a:lnTo>
                    <a:pt x="823120" y="404717"/>
                  </a:lnTo>
                  <a:lnTo>
                    <a:pt x="782535" y="428271"/>
                  </a:lnTo>
                  <a:lnTo>
                    <a:pt x="733940" y="448178"/>
                  </a:lnTo>
                  <a:lnTo>
                    <a:pt x="680218" y="465032"/>
                  </a:lnTo>
                  <a:lnTo>
                    <a:pt x="624817" y="478293"/>
                  </a:lnTo>
                  <a:lnTo>
                    <a:pt x="571189" y="487420"/>
                  </a:lnTo>
                  <a:lnTo>
                    <a:pt x="522781" y="491873"/>
                  </a:lnTo>
                  <a:lnTo>
                    <a:pt x="483044" y="491110"/>
                  </a:lnTo>
                  <a:lnTo>
                    <a:pt x="445774" y="456171"/>
                  </a:lnTo>
                  <a:lnTo>
                    <a:pt x="479552" y="408764"/>
                  </a:lnTo>
                  <a:lnTo>
                    <a:pt x="542347" y="393841"/>
                  </a:lnTo>
                  <a:lnTo>
                    <a:pt x="576732" y="387193"/>
                  </a:lnTo>
                  <a:lnTo>
                    <a:pt x="613486" y="378842"/>
                  </a:lnTo>
                  <a:lnTo>
                    <a:pt x="656580" y="368382"/>
                  </a:lnTo>
                  <a:lnTo>
                    <a:pt x="704795" y="354850"/>
                  </a:lnTo>
                  <a:lnTo>
                    <a:pt x="750049" y="335919"/>
                  </a:lnTo>
                  <a:lnTo>
                    <a:pt x="784261" y="309259"/>
                  </a:lnTo>
                  <a:lnTo>
                    <a:pt x="799350" y="272543"/>
                  </a:lnTo>
                  <a:lnTo>
                    <a:pt x="796101" y="220594"/>
                  </a:lnTo>
                  <a:lnTo>
                    <a:pt x="781216" y="168948"/>
                  </a:lnTo>
                  <a:lnTo>
                    <a:pt x="756532" y="130720"/>
                  </a:lnTo>
                  <a:lnTo>
                    <a:pt x="723887" y="119026"/>
                  </a:lnTo>
                  <a:lnTo>
                    <a:pt x="712040" y="140894"/>
                  </a:lnTo>
                  <a:lnTo>
                    <a:pt x="709769" y="188922"/>
                  </a:lnTo>
                  <a:lnTo>
                    <a:pt x="710350" y="246094"/>
                  </a:lnTo>
                  <a:lnTo>
                    <a:pt x="707061" y="295396"/>
                  </a:lnTo>
                  <a:lnTo>
                    <a:pt x="693178" y="319813"/>
                  </a:lnTo>
                  <a:lnTo>
                    <a:pt x="581255" y="347444"/>
                  </a:lnTo>
                  <a:lnTo>
                    <a:pt x="369820" y="398004"/>
                  </a:lnTo>
                  <a:lnTo>
                    <a:pt x="165076" y="446596"/>
                  </a:lnTo>
                  <a:lnTo>
                    <a:pt x="73228" y="468327"/>
                  </a:lnTo>
                </a:path>
              </a:pathLst>
            </a:custGeom>
            <a:ln w="25400">
              <a:solidFill>
                <a:srgbClr val="231F20"/>
              </a:solidFill>
            </a:ln>
          </p:spPr>
          <p:txBody>
            <a:bodyPr wrap="square" lIns="0" tIns="0" rIns="0" bIns="0" rtlCol="0"/>
            <a:lstStyle/>
            <a:p>
              <a:endParaRPr sz="649"/>
            </a:p>
          </p:txBody>
        </p:sp>
        <p:sp>
          <p:nvSpPr>
            <p:cNvPr id="151" name="object 151"/>
            <p:cNvSpPr/>
            <p:nvPr/>
          </p:nvSpPr>
          <p:spPr>
            <a:xfrm>
              <a:off x="4553883" y="6694715"/>
              <a:ext cx="961390" cy="1198880"/>
            </a:xfrm>
            <a:custGeom>
              <a:avLst/>
              <a:gdLst/>
              <a:ahLst/>
              <a:cxnLst/>
              <a:rect l="l" t="t" r="r" b="b"/>
              <a:pathLst>
                <a:path w="961389" h="1198879">
                  <a:moveTo>
                    <a:pt x="87947" y="0"/>
                  </a:moveTo>
                  <a:lnTo>
                    <a:pt x="39702" y="8542"/>
                  </a:lnTo>
                  <a:lnTo>
                    <a:pt x="4889" y="50229"/>
                  </a:lnTo>
                  <a:lnTo>
                    <a:pt x="1303" y="91619"/>
                  </a:lnTo>
                  <a:lnTo>
                    <a:pt x="0" y="146833"/>
                  </a:lnTo>
                  <a:lnTo>
                    <a:pt x="1090" y="210650"/>
                  </a:lnTo>
                  <a:lnTo>
                    <a:pt x="4686" y="277848"/>
                  </a:lnTo>
                  <a:lnTo>
                    <a:pt x="10897" y="343207"/>
                  </a:lnTo>
                  <a:lnTo>
                    <a:pt x="19835" y="401506"/>
                  </a:lnTo>
                  <a:lnTo>
                    <a:pt x="31610" y="447525"/>
                  </a:lnTo>
                  <a:lnTo>
                    <a:pt x="58135" y="488186"/>
                  </a:lnTo>
                  <a:lnTo>
                    <a:pt x="104599" y="532638"/>
                  </a:lnTo>
                  <a:lnTo>
                    <a:pt x="175872" y="598886"/>
                  </a:lnTo>
                  <a:lnTo>
                    <a:pt x="265144" y="680822"/>
                  </a:lnTo>
                  <a:lnTo>
                    <a:pt x="417909" y="819783"/>
                  </a:lnTo>
                  <a:lnTo>
                    <a:pt x="621049" y="1002976"/>
                  </a:lnTo>
                  <a:lnTo>
                    <a:pt x="743209" y="1112085"/>
                  </a:lnTo>
                  <a:lnTo>
                    <a:pt x="797503" y="1159904"/>
                  </a:lnTo>
                  <a:lnTo>
                    <a:pt x="842042" y="1193111"/>
                  </a:lnTo>
                  <a:lnTo>
                    <a:pt x="864476" y="1198271"/>
                  </a:lnTo>
                  <a:lnTo>
                    <a:pt x="892874" y="1188793"/>
                  </a:lnTo>
                  <a:lnTo>
                    <a:pt x="930673" y="1157320"/>
                  </a:lnTo>
                  <a:lnTo>
                    <a:pt x="943161" y="1143784"/>
                  </a:lnTo>
                  <a:lnTo>
                    <a:pt x="955174" y="1126309"/>
                  </a:lnTo>
                  <a:lnTo>
                    <a:pt x="960859" y="1106301"/>
                  </a:lnTo>
                  <a:lnTo>
                    <a:pt x="954358" y="1085172"/>
                  </a:lnTo>
                  <a:lnTo>
                    <a:pt x="941975" y="1065939"/>
                  </a:lnTo>
                  <a:lnTo>
                    <a:pt x="892727" y="987336"/>
                  </a:lnTo>
                  <a:lnTo>
                    <a:pt x="859915" y="935564"/>
                  </a:lnTo>
                  <a:lnTo>
                    <a:pt x="824348" y="880545"/>
                  </a:lnTo>
                  <a:lnTo>
                    <a:pt x="788050" y="826078"/>
                  </a:lnTo>
                  <a:lnTo>
                    <a:pt x="753051" y="775965"/>
                  </a:lnTo>
                  <a:lnTo>
                    <a:pt x="721375" y="734003"/>
                  </a:lnTo>
                  <a:lnTo>
                    <a:pt x="695050" y="703994"/>
                  </a:lnTo>
                  <a:lnTo>
                    <a:pt x="630166" y="649133"/>
                  </a:lnTo>
                  <a:lnTo>
                    <a:pt x="584423" y="614184"/>
                  </a:lnTo>
                  <a:lnTo>
                    <a:pt x="533680" y="576789"/>
                  </a:lnTo>
                  <a:lnTo>
                    <a:pt x="480833" y="538873"/>
                  </a:lnTo>
                  <a:lnTo>
                    <a:pt x="428781" y="502360"/>
                  </a:lnTo>
                  <a:lnTo>
                    <a:pt x="380424" y="469175"/>
                  </a:lnTo>
                  <a:lnTo>
                    <a:pt x="338659" y="441243"/>
                  </a:lnTo>
                  <a:lnTo>
                    <a:pt x="306386" y="420487"/>
                  </a:lnTo>
                  <a:lnTo>
                    <a:pt x="248114" y="395734"/>
                  </a:lnTo>
                  <a:lnTo>
                    <a:pt x="205014" y="387916"/>
                  </a:lnTo>
                  <a:lnTo>
                    <a:pt x="155338" y="383154"/>
                  </a:lnTo>
                  <a:lnTo>
                    <a:pt x="177380" y="348256"/>
                  </a:lnTo>
                  <a:lnTo>
                    <a:pt x="199756" y="307203"/>
                  </a:lnTo>
                  <a:lnTo>
                    <a:pt x="224731" y="244528"/>
                  </a:lnTo>
                  <a:lnTo>
                    <a:pt x="238002" y="200925"/>
                  </a:lnTo>
                  <a:lnTo>
                    <a:pt x="247481" y="154730"/>
                  </a:lnTo>
                  <a:lnTo>
                    <a:pt x="250420" y="109386"/>
                  </a:lnTo>
                  <a:lnTo>
                    <a:pt x="244069" y="68334"/>
                  </a:lnTo>
                  <a:lnTo>
                    <a:pt x="225678" y="35016"/>
                  </a:lnTo>
                  <a:lnTo>
                    <a:pt x="192498" y="12873"/>
                  </a:lnTo>
                  <a:lnTo>
                    <a:pt x="143004" y="1647"/>
                  </a:lnTo>
                  <a:lnTo>
                    <a:pt x="87947" y="0"/>
                  </a:lnTo>
                  <a:close/>
                </a:path>
              </a:pathLst>
            </a:custGeom>
            <a:solidFill>
              <a:srgbClr val="D1D3D4"/>
            </a:solidFill>
          </p:spPr>
          <p:txBody>
            <a:bodyPr wrap="square" lIns="0" tIns="0" rIns="0" bIns="0" rtlCol="0"/>
            <a:lstStyle/>
            <a:p>
              <a:endParaRPr sz="649"/>
            </a:p>
          </p:txBody>
        </p:sp>
        <p:sp>
          <p:nvSpPr>
            <p:cNvPr id="152" name="object 152"/>
            <p:cNvSpPr/>
            <p:nvPr/>
          </p:nvSpPr>
          <p:spPr>
            <a:xfrm>
              <a:off x="4553883" y="6694715"/>
              <a:ext cx="961390" cy="1198880"/>
            </a:xfrm>
            <a:custGeom>
              <a:avLst/>
              <a:gdLst/>
              <a:ahLst/>
              <a:cxnLst/>
              <a:rect l="l" t="t" r="r" b="b"/>
              <a:pathLst>
                <a:path w="961389" h="1198879">
                  <a:moveTo>
                    <a:pt x="155338" y="383154"/>
                  </a:moveTo>
                  <a:lnTo>
                    <a:pt x="177380" y="348256"/>
                  </a:lnTo>
                  <a:lnTo>
                    <a:pt x="199756" y="307203"/>
                  </a:lnTo>
                  <a:lnTo>
                    <a:pt x="224731" y="244528"/>
                  </a:lnTo>
                  <a:lnTo>
                    <a:pt x="238002" y="200925"/>
                  </a:lnTo>
                  <a:lnTo>
                    <a:pt x="247481" y="154730"/>
                  </a:lnTo>
                  <a:lnTo>
                    <a:pt x="250420" y="109386"/>
                  </a:lnTo>
                  <a:lnTo>
                    <a:pt x="244069" y="68334"/>
                  </a:lnTo>
                  <a:lnTo>
                    <a:pt x="192498" y="12873"/>
                  </a:lnTo>
                  <a:lnTo>
                    <a:pt x="143004" y="1647"/>
                  </a:lnTo>
                  <a:lnTo>
                    <a:pt x="87947" y="0"/>
                  </a:lnTo>
                  <a:lnTo>
                    <a:pt x="39702" y="8542"/>
                  </a:lnTo>
                  <a:lnTo>
                    <a:pt x="10647" y="27884"/>
                  </a:lnTo>
                  <a:lnTo>
                    <a:pt x="4889" y="50229"/>
                  </a:lnTo>
                  <a:lnTo>
                    <a:pt x="1303" y="91619"/>
                  </a:lnTo>
                  <a:lnTo>
                    <a:pt x="0" y="146833"/>
                  </a:lnTo>
                  <a:lnTo>
                    <a:pt x="1090" y="210650"/>
                  </a:lnTo>
                  <a:lnTo>
                    <a:pt x="4686" y="277848"/>
                  </a:lnTo>
                  <a:lnTo>
                    <a:pt x="10897" y="343207"/>
                  </a:lnTo>
                  <a:lnTo>
                    <a:pt x="19835" y="401506"/>
                  </a:lnTo>
                  <a:lnTo>
                    <a:pt x="31610" y="447525"/>
                  </a:lnTo>
                  <a:lnTo>
                    <a:pt x="58135" y="488186"/>
                  </a:lnTo>
                  <a:lnTo>
                    <a:pt x="104599" y="532638"/>
                  </a:lnTo>
                  <a:lnTo>
                    <a:pt x="137560" y="563419"/>
                  </a:lnTo>
                  <a:lnTo>
                    <a:pt x="175872" y="598886"/>
                  </a:lnTo>
                  <a:lnTo>
                    <a:pt x="218683" y="638274"/>
                  </a:lnTo>
                  <a:lnTo>
                    <a:pt x="265144" y="680822"/>
                  </a:lnTo>
                  <a:lnTo>
                    <a:pt x="314402" y="725765"/>
                  </a:lnTo>
                  <a:lnTo>
                    <a:pt x="365608" y="772340"/>
                  </a:lnTo>
                  <a:lnTo>
                    <a:pt x="417909" y="819783"/>
                  </a:lnTo>
                  <a:lnTo>
                    <a:pt x="470454" y="867332"/>
                  </a:lnTo>
                  <a:lnTo>
                    <a:pt x="522394" y="914223"/>
                  </a:lnTo>
                  <a:lnTo>
                    <a:pt x="572876" y="959692"/>
                  </a:lnTo>
                  <a:lnTo>
                    <a:pt x="621049" y="1002976"/>
                  </a:lnTo>
                  <a:lnTo>
                    <a:pt x="666063" y="1043312"/>
                  </a:lnTo>
                  <a:lnTo>
                    <a:pt x="707067" y="1079936"/>
                  </a:lnTo>
                  <a:lnTo>
                    <a:pt x="743209" y="1112085"/>
                  </a:lnTo>
                  <a:lnTo>
                    <a:pt x="773638" y="1138996"/>
                  </a:lnTo>
                  <a:lnTo>
                    <a:pt x="813954" y="1174048"/>
                  </a:lnTo>
                  <a:lnTo>
                    <a:pt x="864476" y="1198271"/>
                  </a:lnTo>
                  <a:lnTo>
                    <a:pt x="892874" y="1188793"/>
                  </a:lnTo>
                  <a:lnTo>
                    <a:pt x="930673" y="1157320"/>
                  </a:lnTo>
                  <a:lnTo>
                    <a:pt x="943161" y="1143784"/>
                  </a:lnTo>
                  <a:lnTo>
                    <a:pt x="955174" y="1126309"/>
                  </a:lnTo>
                  <a:lnTo>
                    <a:pt x="960859" y="1106301"/>
                  </a:lnTo>
                  <a:lnTo>
                    <a:pt x="954358" y="1085172"/>
                  </a:lnTo>
                  <a:lnTo>
                    <a:pt x="941975" y="1065939"/>
                  </a:lnTo>
                  <a:lnTo>
                    <a:pt x="920756" y="1032061"/>
                  </a:lnTo>
                  <a:lnTo>
                    <a:pt x="892727" y="987336"/>
                  </a:lnTo>
                  <a:lnTo>
                    <a:pt x="859915" y="935564"/>
                  </a:lnTo>
                  <a:lnTo>
                    <a:pt x="824348" y="880545"/>
                  </a:lnTo>
                  <a:lnTo>
                    <a:pt x="788050" y="826078"/>
                  </a:lnTo>
                  <a:lnTo>
                    <a:pt x="753051" y="775965"/>
                  </a:lnTo>
                  <a:lnTo>
                    <a:pt x="721375" y="734003"/>
                  </a:lnTo>
                  <a:lnTo>
                    <a:pt x="695050" y="703994"/>
                  </a:lnTo>
                  <a:lnTo>
                    <a:pt x="630166" y="649133"/>
                  </a:lnTo>
                  <a:lnTo>
                    <a:pt x="584423" y="614184"/>
                  </a:lnTo>
                  <a:lnTo>
                    <a:pt x="533680" y="576789"/>
                  </a:lnTo>
                  <a:lnTo>
                    <a:pt x="480833" y="538873"/>
                  </a:lnTo>
                  <a:lnTo>
                    <a:pt x="428781" y="502360"/>
                  </a:lnTo>
                  <a:lnTo>
                    <a:pt x="380424" y="469175"/>
                  </a:lnTo>
                  <a:lnTo>
                    <a:pt x="338659" y="441243"/>
                  </a:lnTo>
                  <a:lnTo>
                    <a:pt x="306386" y="420487"/>
                  </a:lnTo>
                  <a:lnTo>
                    <a:pt x="248114" y="395734"/>
                  </a:lnTo>
                  <a:lnTo>
                    <a:pt x="205014" y="387916"/>
                  </a:lnTo>
                  <a:lnTo>
                    <a:pt x="169867" y="384137"/>
                  </a:lnTo>
                  <a:lnTo>
                    <a:pt x="155338" y="383154"/>
                  </a:lnTo>
                  <a:close/>
                </a:path>
              </a:pathLst>
            </a:custGeom>
            <a:ln w="25400">
              <a:solidFill>
                <a:srgbClr val="231F20"/>
              </a:solidFill>
            </a:ln>
          </p:spPr>
          <p:txBody>
            <a:bodyPr wrap="square" lIns="0" tIns="0" rIns="0" bIns="0" rtlCol="0"/>
            <a:lstStyle/>
            <a:p>
              <a:endParaRPr sz="649"/>
            </a:p>
          </p:txBody>
        </p:sp>
        <p:sp>
          <p:nvSpPr>
            <p:cNvPr id="153" name="object 153"/>
            <p:cNvSpPr/>
            <p:nvPr/>
          </p:nvSpPr>
          <p:spPr>
            <a:xfrm>
              <a:off x="5158768" y="7269624"/>
              <a:ext cx="1094105" cy="665480"/>
            </a:xfrm>
            <a:custGeom>
              <a:avLst/>
              <a:gdLst/>
              <a:ahLst/>
              <a:cxnLst/>
              <a:rect l="l" t="t" r="r" b="b"/>
              <a:pathLst>
                <a:path w="1094104" h="665479">
                  <a:moveTo>
                    <a:pt x="682821" y="0"/>
                  </a:moveTo>
                  <a:lnTo>
                    <a:pt x="617893" y="418"/>
                  </a:lnTo>
                  <a:lnTo>
                    <a:pt x="549883" y="1477"/>
                  </a:lnTo>
                  <a:lnTo>
                    <a:pt x="480195" y="3137"/>
                  </a:lnTo>
                  <a:lnTo>
                    <a:pt x="410232" y="5357"/>
                  </a:lnTo>
                  <a:lnTo>
                    <a:pt x="341401" y="8099"/>
                  </a:lnTo>
                  <a:lnTo>
                    <a:pt x="275105" y="11323"/>
                  </a:lnTo>
                  <a:lnTo>
                    <a:pt x="212748" y="14988"/>
                  </a:lnTo>
                  <a:lnTo>
                    <a:pt x="155736" y="19055"/>
                  </a:lnTo>
                  <a:lnTo>
                    <a:pt x="105473" y="23484"/>
                  </a:lnTo>
                  <a:lnTo>
                    <a:pt x="63363" y="28235"/>
                  </a:lnTo>
                  <a:lnTo>
                    <a:pt x="9222" y="38547"/>
                  </a:lnTo>
                  <a:lnTo>
                    <a:pt x="0" y="44027"/>
                  </a:lnTo>
                  <a:lnTo>
                    <a:pt x="35" y="59485"/>
                  </a:lnTo>
                  <a:lnTo>
                    <a:pt x="18399" y="130509"/>
                  </a:lnTo>
                  <a:lnTo>
                    <a:pt x="34824" y="181209"/>
                  </a:lnTo>
                  <a:lnTo>
                    <a:pt x="54810" y="238792"/>
                  </a:lnTo>
                  <a:lnTo>
                    <a:pt x="77405" y="300824"/>
                  </a:lnTo>
                  <a:lnTo>
                    <a:pt x="101657" y="364874"/>
                  </a:lnTo>
                  <a:lnTo>
                    <a:pt x="126615" y="428508"/>
                  </a:lnTo>
                  <a:lnTo>
                    <a:pt x="151327" y="489295"/>
                  </a:lnTo>
                  <a:lnTo>
                    <a:pt x="174843" y="544801"/>
                  </a:lnTo>
                  <a:lnTo>
                    <a:pt x="196211" y="592595"/>
                  </a:lnTo>
                  <a:lnTo>
                    <a:pt x="214478" y="630243"/>
                  </a:lnTo>
                  <a:lnTo>
                    <a:pt x="237909" y="665375"/>
                  </a:lnTo>
                  <a:lnTo>
                    <a:pt x="249840" y="665118"/>
                  </a:lnTo>
                  <a:lnTo>
                    <a:pt x="310579" y="655892"/>
                  </a:lnTo>
                  <a:lnTo>
                    <a:pt x="356141" y="647569"/>
                  </a:lnTo>
                  <a:lnTo>
                    <a:pt x="409666" y="637203"/>
                  </a:lnTo>
                  <a:lnTo>
                    <a:pt x="469533" y="625118"/>
                  </a:lnTo>
                  <a:lnTo>
                    <a:pt x="534118" y="611637"/>
                  </a:lnTo>
                  <a:lnTo>
                    <a:pt x="601798" y="597082"/>
                  </a:lnTo>
                  <a:lnTo>
                    <a:pt x="670950" y="581777"/>
                  </a:lnTo>
                  <a:lnTo>
                    <a:pt x="739951" y="566045"/>
                  </a:lnTo>
                  <a:lnTo>
                    <a:pt x="807179" y="550209"/>
                  </a:lnTo>
                  <a:lnTo>
                    <a:pt x="871010" y="534592"/>
                  </a:lnTo>
                  <a:lnTo>
                    <a:pt x="929822" y="519517"/>
                  </a:lnTo>
                  <a:lnTo>
                    <a:pt x="981990" y="505308"/>
                  </a:lnTo>
                  <a:lnTo>
                    <a:pt x="1025894" y="492287"/>
                  </a:lnTo>
                  <a:lnTo>
                    <a:pt x="1082412" y="471102"/>
                  </a:lnTo>
                  <a:lnTo>
                    <a:pt x="1093686" y="438814"/>
                  </a:lnTo>
                  <a:lnTo>
                    <a:pt x="1088681" y="399119"/>
                  </a:lnTo>
                  <a:lnTo>
                    <a:pt x="1077842" y="348406"/>
                  </a:lnTo>
                  <a:lnTo>
                    <a:pt x="1062245" y="290584"/>
                  </a:lnTo>
                  <a:lnTo>
                    <a:pt x="1042966" y="229560"/>
                  </a:lnTo>
                  <a:lnTo>
                    <a:pt x="1021081" y="169241"/>
                  </a:lnTo>
                  <a:lnTo>
                    <a:pt x="997665" y="113534"/>
                  </a:lnTo>
                  <a:lnTo>
                    <a:pt x="973794" y="66348"/>
                  </a:lnTo>
                  <a:lnTo>
                    <a:pt x="950544" y="31590"/>
                  </a:lnTo>
                  <a:lnTo>
                    <a:pt x="912057" y="8907"/>
                  </a:lnTo>
                  <a:lnTo>
                    <a:pt x="845060" y="2985"/>
                  </a:lnTo>
                  <a:lnTo>
                    <a:pt x="797809" y="1243"/>
                  </a:lnTo>
                  <a:lnTo>
                    <a:pt x="743261" y="261"/>
                  </a:lnTo>
                  <a:lnTo>
                    <a:pt x="682821" y="0"/>
                  </a:lnTo>
                  <a:close/>
                </a:path>
              </a:pathLst>
            </a:custGeom>
            <a:solidFill>
              <a:srgbClr val="D1D3D4"/>
            </a:solidFill>
          </p:spPr>
          <p:txBody>
            <a:bodyPr wrap="square" lIns="0" tIns="0" rIns="0" bIns="0" rtlCol="0"/>
            <a:lstStyle/>
            <a:p>
              <a:endParaRPr sz="649"/>
            </a:p>
          </p:txBody>
        </p:sp>
        <p:sp>
          <p:nvSpPr>
            <p:cNvPr id="154" name="object 154"/>
            <p:cNvSpPr/>
            <p:nvPr/>
          </p:nvSpPr>
          <p:spPr>
            <a:xfrm>
              <a:off x="5158768" y="7269624"/>
              <a:ext cx="1094105" cy="665480"/>
            </a:xfrm>
            <a:custGeom>
              <a:avLst/>
              <a:gdLst/>
              <a:ahLst/>
              <a:cxnLst/>
              <a:rect l="l" t="t" r="r" b="b"/>
              <a:pathLst>
                <a:path w="1094104" h="665479">
                  <a:moveTo>
                    <a:pt x="1091780" y="463584"/>
                  </a:moveTo>
                  <a:lnTo>
                    <a:pt x="1088681" y="399119"/>
                  </a:lnTo>
                  <a:lnTo>
                    <a:pt x="1077842" y="348406"/>
                  </a:lnTo>
                  <a:lnTo>
                    <a:pt x="1062245" y="290584"/>
                  </a:lnTo>
                  <a:lnTo>
                    <a:pt x="1042966" y="229560"/>
                  </a:lnTo>
                  <a:lnTo>
                    <a:pt x="1021081" y="169241"/>
                  </a:lnTo>
                  <a:lnTo>
                    <a:pt x="997665" y="113534"/>
                  </a:lnTo>
                  <a:lnTo>
                    <a:pt x="973794" y="66348"/>
                  </a:lnTo>
                  <a:lnTo>
                    <a:pt x="950544" y="31590"/>
                  </a:lnTo>
                  <a:lnTo>
                    <a:pt x="912057" y="8907"/>
                  </a:lnTo>
                  <a:lnTo>
                    <a:pt x="845060" y="2985"/>
                  </a:lnTo>
                  <a:lnTo>
                    <a:pt x="797809" y="1243"/>
                  </a:lnTo>
                  <a:lnTo>
                    <a:pt x="743261" y="261"/>
                  </a:lnTo>
                  <a:lnTo>
                    <a:pt x="682821" y="0"/>
                  </a:lnTo>
                  <a:lnTo>
                    <a:pt x="617893" y="418"/>
                  </a:lnTo>
                  <a:lnTo>
                    <a:pt x="549883" y="1477"/>
                  </a:lnTo>
                  <a:lnTo>
                    <a:pt x="480195" y="3137"/>
                  </a:lnTo>
                  <a:lnTo>
                    <a:pt x="410232" y="5357"/>
                  </a:lnTo>
                  <a:lnTo>
                    <a:pt x="341401" y="8099"/>
                  </a:lnTo>
                  <a:lnTo>
                    <a:pt x="275105" y="11323"/>
                  </a:lnTo>
                  <a:lnTo>
                    <a:pt x="212748" y="14988"/>
                  </a:lnTo>
                  <a:lnTo>
                    <a:pt x="155736" y="19055"/>
                  </a:lnTo>
                  <a:lnTo>
                    <a:pt x="105473" y="23484"/>
                  </a:lnTo>
                  <a:lnTo>
                    <a:pt x="63363" y="28235"/>
                  </a:lnTo>
                  <a:lnTo>
                    <a:pt x="9222" y="38547"/>
                  </a:lnTo>
                  <a:lnTo>
                    <a:pt x="0" y="44027"/>
                  </a:lnTo>
                  <a:lnTo>
                    <a:pt x="35" y="59485"/>
                  </a:lnTo>
                  <a:lnTo>
                    <a:pt x="18399" y="130509"/>
                  </a:lnTo>
                  <a:lnTo>
                    <a:pt x="34824" y="181209"/>
                  </a:lnTo>
                  <a:lnTo>
                    <a:pt x="54810" y="238792"/>
                  </a:lnTo>
                  <a:lnTo>
                    <a:pt x="77405" y="300824"/>
                  </a:lnTo>
                  <a:lnTo>
                    <a:pt x="101657" y="364874"/>
                  </a:lnTo>
                  <a:lnTo>
                    <a:pt x="126615" y="428508"/>
                  </a:lnTo>
                  <a:lnTo>
                    <a:pt x="151327" y="489295"/>
                  </a:lnTo>
                  <a:lnTo>
                    <a:pt x="174843" y="544801"/>
                  </a:lnTo>
                  <a:lnTo>
                    <a:pt x="196211" y="592595"/>
                  </a:lnTo>
                  <a:lnTo>
                    <a:pt x="214478" y="630243"/>
                  </a:lnTo>
                  <a:lnTo>
                    <a:pt x="237909" y="665375"/>
                  </a:lnTo>
                  <a:lnTo>
                    <a:pt x="249840" y="665118"/>
                  </a:lnTo>
                  <a:lnTo>
                    <a:pt x="310579" y="655892"/>
                  </a:lnTo>
                  <a:lnTo>
                    <a:pt x="356141" y="647569"/>
                  </a:lnTo>
                  <a:lnTo>
                    <a:pt x="409666" y="637203"/>
                  </a:lnTo>
                  <a:lnTo>
                    <a:pt x="469533" y="625118"/>
                  </a:lnTo>
                  <a:lnTo>
                    <a:pt x="534118" y="611637"/>
                  </a:lnTo>
                  <a:lnTo>
                    <a:pt x="601798" y="597082"/>
                  </a:lnTo>
                  <a:lnTo>
                    <a:pt x="670950" y="581777"/>
                  </a:lnTo>
                  <a:lnTo>
                    <a:pt x="739951" y="566045"/>
                  </a:lnTo>
                  <a:lnTo>
                    <a:pt x="807179" y="550209"/>
                  </a:lnTo>
                  <a:lnTo>
                    <a:pt x="871010" y="534592"/>
                  </a:lnTo>
                  <a:lnTo>
                    <a:pt x="929822" y="519517"/>
                  </a:lnTo>
                  <a:lnTo>
                    <a:pt x="981990" y="505308"/>
                  </a:lnTo>
                  <a:lnTo>
                    <a:pt x="1025894" y="492287"/>
                  </a:lnTo>
                  <a:lnTo>
                    <a:pt x="1082412" y="471102"/>
                  </a:lnTo>
                  <a:lnTo>
                    <a:pt x="1091780" y="463584"/>
                  </a:lnTo>
                  <a:close/>
                </a:path>
              </a:pathLst>
            </a:custGeom>
            <a:ln w="25400">
              <a:solidFill>
                <a:srgbClr val="231F20"/>
              </a:solidFill>
            </a:ln>
          </p:spPr>
          <p:txBody>
            <a:bodyPr wrap="square" lIns="0" tIns="0" rIns="0" bIns="0" rtlCol="0"/>
            <a:lstStyle/>
            <a:p>
              <a:endParaRPr sz="649"/>
            </a:p>
          </p:txBody>
        </p:sp>
        <p:pic>
          <p:nvPicPr>
            <p:cNvPr id="155" name="object 155"/>
            <p:cNvPicPr/>
            <p:nvPr/>
          </p:nvPicPr>
          <p:blipFill>
            <a:blip r:embed="rId42" cstate="print"/>
            <a:stretch>
              <a:fillRect/>
            </a:stretch>
          </p:blipFill>
          <p:spPr>
            <a:xfrm>
              <a:off x="4267327" y="6571907"/>
              <a:ext cx="313283" cy="233159"/>
            </a:xfrm>
            <a:prstGeom prst="rect">
              <a:avLst/>
            </a:prstGeom>
          </p:spPr>
        </p:pic>
        <p:sp>
          <p:nvSpPr>
            <p:cNvPr id="156" name="object 156"/>
            <p:cNvSpPr/>
            <p:nvPr/>
          </p:nvSpPr>
          <p:spPr>
            <a:xfrm>
              <a:off x="4267338" y="6571897"/>
              <a:ext cx="313690" cy="233679"/>
            </a:xfrm>
            <a:custGeom>
              <a:avLst/>
              <a:gdLst/>
              <a:ahLst/>
              <a:cxnLst/>
              <a:rect l="l" t="t" r="r" b="b"/>
              <a:pathLst>
                <a:path w="313689" h="233679">
                  <a:moveTo>
                    <a:pt x="52400" y="166662"/>
                  </a:moveTo>
                  <a:lnTo>
                    <a:pt x="69390" y="124658"/>
                  </a:lnTo>
                  <a:lnTo>
                    <a:pt x="95904" y="89795"/>
                  </a:lnTo>
                  <a:lnTo>
                    <a:pt x="129979" y="63233"/>
                  </a:lnTo>
                  <a:lnTo>
                    <a:pt x="169656" y="46132"/>
                  </a:lnTo>
                  <a:lnTo>
                    <a:pt x="212975" y="39653"/>
                  </a:lnTo>
                  <a:lnTo>
                    <a:pt x="257975" y="44957"/>
                  </a:lnTo>
                  <a:lnTo>
                    <a:pt x="269506" y="0"/>
                  </a:lnTo>
                  <a:lnTo>
                    <a:pt x="313270" y="75069"/>
                  </a:lnTo>
                  <a:lnTo>
                    <a:pt x="237718" y="127965"/>
                  </a:lnTo>
                  <a:lnTo>
                    <a:pt x="247853" y="84454"/>
                  </a:lnTo>
                  <a:lnTo>
                    <a:pt x="197029" y="81829"/>
                  </a:lnTo>
                  <a:lnTo>
                    <a:pt x="150753" y="98320"/>
                  </a:lnTo>
                  <a:lnTo>
                    <a:pt x="114038" y="130960"/>
                  </a:lnTo>
                  <a:lnTo>
                    <a:pt x="91897" y="176783"/>
                  </a:lnTo>
                  <a:lnTo>
                    <a:pt x="142570" y="188150"/>
                  </a:lnTo>
                  <a:lnTo>
                    <a:pt x="56616" y="233184"/>
                  </a:lnTo>
                  <a:lnTo>
                    <a:pt x="0" y="150279"/>
                  </a:lnTo>
                  <a:lnTo>
                    <a:pt x="52400" y="166662"/>
                  </a:lnTo>
                  <a:close/>
                </a:path>
              </a:pathLst>
            </a:custGeom>
            <a:ln w="7620">
              <a:solidFill>
                <a:srgbClr val="E3873E"/>
              </a:solidFill>
            </a:ln>
          </p:spPr>
          <p:txBody>
            <a:bodyPr wrap="square" lIns="0" tIns="0" rIns="0" bIns="0" rtlCol="0"/>
            <a:lstStyle/>
            <a:p>
              <a:endParaRPr sz="649"/>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130287" y="4919958"/>
            <a:ext cx="47662" cy="94978"/>
          </a:xfrm>
          <a:prstGeom prst="rect">
            <a:avLst/>
          </a:prstGeom>
        </p:spPr>
        <p:txBody>
          <a:bodyPr vert="horz" wrap="square" lIns="0" tIns="6111" rIns="0" bIns="0" rtlCol="0">
            <a:spAutoFit/>
          </a:bodyPr>
          <a:lstStyle/>
          <a:p>
            <a:pPr marL="6110">
              <a:spcBef>
                <a:spcPts val="48"/>
              </a:spcBef>
            </a:pPr>
            <a:r>
              <a:rPr sz="577" spc="5" dirty="0">
                <a:solidFill>
                  <a:srgbClr val="231F20"/>
                </a:solidFill>
                <a:latin typeface="Miriam"/>
                <a:cs typeface="Miriam"/>
              </a:rPr>
              <a:t>7</a:t>
            </a:r>
            <a:endParaRPr sz="577">
              <a:latin typeface="Miriam"/>
              <a:cs typeface="Miriam"/>
            </a:endParaRPr>
          </a:p>
        </p:txBody>
      </p:sp>
      <p:sp>
        <p:nvSpPr>
          <p:cNvPr id="3" name="object 3"/>
          <p:cNvSpPr txBox="1"/>
          <p:nvPr/>
        </p:nvSpPr>
        <p:spPr>
          <a:xfrm>
            <a:off x="5324491" y="4936722"/>
            <a:ext cx="661162" cy="80165"/>
          </a:xfrm>
          <a:prstGeom prst="rect">
            <a:avLst/>
          </a:prstGeom>
        </p:spPr>
        <p:txBody>
          <a:bodyPr vert="horz" wrap="square" lIns="0" tIns="6111" rIns="0" bIns="0" rtlCol="0">
            <a:spAutoFit/>
          </a:bodyPr>
          <a:lstStyle/>
          <a:p>
            <a:pPr marL="18330">
              <a:spcBef>
                <a:spcPts val="48"/>
              </a:spcBef>
            </a:pPr>
            <a:r>
              <a:rPr sz="481" dirty="0">
                <a:solidFill>
                  <a:srgbClr val="231F20"/>
                </a:solidFill>
                <a:latin typeface="Tahoma"/>
                <a:cs typeface="Tahoma"/>
              </a:rPr>
              <a:t>Stressles</a:t>
            </a:r>
            <a:r>
              <a:rPr sz="481" spc="-2" dirty="0">
                <a:solidFill>
                  <a:srgbClr val="231F20"/>
                </a:solidFill>
                <a:latin typeface="Tahoma"/>
                <a:cs typeface="Tahoma"/>
              </a:rPr>
              <a:t>s</a:t>
            </a:r>
            <a:r>
              <a:rPr sz="397" spc="-36" baseline="35353" dirty="0">
                <a:solidFill>
                  <a:srgbClr val="231F20"/>
                </a:solidFill>
                <a:latin typeface="Tahoma"/>
                <a:cs typeface="Tahoma"/>
              </a:rPr>
              <a:t>®</a:t>
            </a:r>
            <a:r>
              <a:rPr sz="397" spc="14" baseline="35353" dirty="0">
                <a:solidFill>
                  <a:srgbClr val="231F20"/>
                </a:solidFill>
                <a:latin typeface="Tahoma"/>
                <a:cs typeface="Tahoma"/>
              </a:rPr>
              <a:t> </a:t>
            </a:r>
            <a:r>
              <a:rPr sz="481" spc="31" dirty="0">
                <a:solidFill>
                  <a:srgbClr val="231F20"/>
                </a:solidFill>
                <a:latin typeface="Tahoma"/>
                <a:cs typeface="Tahoma"/>
              </a:rPr>
              <a:t>Mi</a:t>
            </a:r>
            <a:r>
              <a:rPr sz="481" spc="17" dirty="0">
                <a:solidFill>
                  <a:srgbClr val="231F20"/>
                </a:solidFill>
                <a:latin typeface="Tahoma"/>
                <a:cs typeface="Tahoma"/>
              </a:rPr>
              <a:t>k</a:t>
            </a:r>
            <a:r>
              <a:rPr sz="481" spc="-2" dirty="0">
                <a:solidFill>
                  <a:srgbClr val="231F20"/>
                </a:solidFill>
                <a:latin typeface="Tahoma"/>
                <a:cs typeface="Tahoma"/>
              </a:rPr>
              <a:t>e</a:t>
            </a:r>
            <a:r>
              <a:rPr sz="481" spc="-58" dirty="0">
                <a:solidFill>
                  <a:srgbClr val="231F20"/>
                </a:solidFill>
                <a:latin typeface="Tahoma"/>
                <a:cs typeface="Tahoma"/>
              </a:rPr>
              <a:t> </a:t>
            </a:r>
            <a:r>
              <a:rPr sz="481" spc="12" dirty="0">
                <a:solidFill>
                  <a:srgbClr val="231F20"/>
                </a:solidFill>
                <a:latin typeface="Tahoma"/>
                <a:cs typeface="Tahoma"/>
              </a:rPr>
              <a:t>&amp;</a:t>
            </a:r>
            <a:r>
              <a:rPr sz="481" spc="-58" dirty="0">
                <a:solidFill>
                  <a:srgbClr val="231F20"/>
                </a:solidFill>
                <a:latin typeface="Tahoma"/>
                <a:cs typeface="Tahoma"/>
              </a:rPr>
              <a:t> </a:t>
            </a:r>
            <a:r>
              <a:rPr sz="481" spc="22" dirty="0">
                <a:solidFill>
                  <a:srgbClr val="231F20"/>
                </a:solidFill>
                <a:latin typeface="Tahoma"/>
                <a:cs typeface="Tahoma"/>
              </a:rPr>
              <a:t>Max</a:t>
            </a:r>
            <a:endParaRPr sz="481">
              <a:latin typeface="Tahoma"/>
              <a:cs typeface="Tahoma"/>
            </a:endParaRPr>
          </a:p>
        </p:txBody>
      </p:sp>
      <p:grpSp>
        <p:nvGrpSpPr>
          <p:cNvPr id="4" name="object 4"/>
          <p:cNvGrpSpPr/>
          <p:nvPr/>
        </p:nvGrpSpPr>
        <p:grpSpPr>
          <a:xfrm>
            <a:off x="4982166" y="550608"/>
            <a:ext cx="780929" cy="496788"/>
            <a:chOff x="4630727" y="1144368"/>
            <a:chExt cx="1623060" cy="1032510"/>
          </a:xfrm>
        </p:grpSpPr>
        <p:pic>
          <p:nvPicPr>
            <p:cNvPr id="5" name="object 5"/>
            <p:cNvPicPr/>
            <p:nvPr/>
          </p:nvPicPr>
          <p:blipFill>
            <a:blip r:embed="rId2" cstate="print"/>
            <a:stretch>
              <a:fillRect/>
            </a:stretch>
          </p:blipFill>
          <p:spPr>
            <a:xfrm>
              <a:off x="5460250" y="1263455"/>
              <a:ext cx="223916" cy="171830"/>
            </a:xfrm>
            <a:prstGeom prst="rect">
              <a:avLst/>
            </a:prstGeom>
          </p:spPr>
        </p:pic>
        <p:sp>
          <p:nvSpPr>
            <p:cNvPr id="6" name="object 6"/>
            <p:cNvSpPr/>
            <p:nvPr/>
          </p:nvSpPr>
          <p:spPr>
            <a:xfrm>
              <a:off x="5482333" y="1163418"/>
              <a:ext cx="752475" cy="704850"/>
            </a:xfrm>
            <a:custGeom>
              <a:avLst/>
              <a:gdLst/>
              <a:ahLst/>
              <a:cxnLst/>
              <a:rect l="l" t="t" r="r" b="b"/>
              <a:pathLst>
                <a:path w="752475" h="704850">
                  <a:moveTo>
                    <a:pt x="751941" y="233697"/>
                  </a:moveTo>
                  <a:lnTo>
                    <a:pt x="701261" y="255011"/>
                  </a:lnTo>
                  <a:lnTo>
                    <a:pt x="646752" y="275678"/>
                  </a:lnTo>
                  <a:lnTo>
                    <a:pt x="582442" y="298557"/>
                  </a:lnTo>
                  <a:lnTo>
                    <a:pt x="515563" y="320304"/>
                  </a:lnTo>
                  <a:lnTo>
                    <a:pt x="453348" y="337572"/>
                  </a:lnTo>
                  <a:lnTo>
                    <a:pt x="403031" y="347017"/>
                  </a:lnTo>
                  <a:lnTo>
                    <a:pt x="371843" y="345292"/>
                  </a:lnTo>
                  <a:lnTo>
                    <a:pt x="314565" y="310904"/>
                  </a:lnTo>
                  <a:lnTo>
                    <a:pt x="285138" y="280830"/>
                  </a:lnTo>
                  <a:lnTo>
                    <a:pt x="259356" y="239040"/>
                  </a:lnTo>
                  <a:lnTo>
                    <a:pt x="240343" y="183188"/>
                  </a:lnTo>
                  <a:lnTo>
                    <a:pt x="231228" y="110926"/>
                  </a:lnTo>
                  <a:lnTo>
                    <a:pt x="226598" y="67368"/>
                  </a:lnTo>
                  <a:lnTo>
                    <a:pt x="217411" y="34309"/>
                  </a:lnTo>
                  <a:lnTo>
                    <a:pt x="205110" y="11936"/>
                  </a:lnTo>
                  <a:lnTo>
                    <a:pt x="191140" y="437"/>
                  </a:lnTo>
                  <a:lnTo>
                    <a:pt x="176945" y="0"/>
                  </a:lnTo>
                  <a:lnTo>
                    <a:pt x="163969" y="10811"/>
                  </a:lnTo>
                  <a:lnTo>
                    <a:pt x="153654" y="33059"/>
                  </a:lnTo>
                  <a:lnTo>
                    <a:pt x="147446" y="66932"/>
                  </a:lnTo>
                  <a:lnTo>
                    <a:pt x="146788" y="112616"/>
                  </a:lnTo>
                  <a:lnTo>
                    <a:pt x="153123" y="170299"/>
                  </a:lnTo>
                  <a:lnTo>
                    <a:pt x="164606" y="210543"/>
                  </a:lnTo>
                  <a:lnTo>
                    <a:pt x="184410" y="246593"/>
                  </a:lnTo>
                  <a:lnTo>
                    <a:pt x="211191" y="278921"/>
                  </a:lnTo>
                  <a:lnTo>
                    <a:pt x="243606" y="307998"/>
                  </a:lnTo>
                  <a:lnTo>
                    <a:pt x="280310" y="334298"/>
                  </a:lnTo>
                  <a:lnTo>
                    <a:pt x="319958" y="358292"/>
                  </a:lnTo>
                  <a:lnTo>
                    <a:pt x="361205" y="380452"/>
                  </a:lnTo>
                  <a:lnTo>
                    <a:pt x="402709" y="401252"/>
                  </a:lnTo>
                  <a:lnTo>
                    <a:pt x="443124" y="421162"/>
                  </a:lnTo>
                  <a:lnTo>
                    <a:pt x="481105" y="440656"/>
                  </a:lnTo>
                  <a:lnTo>
                    <a:pt x="515309" y="460205"/>
                  </a:lnTo>
                  <a:lnTo>
                    <a:pt x="567008" y="501360"/>
                  </a:lnTo>
                  <a:lnTo>
                    <a:pt x="587463" y="548403"/>
                  </a:lnTo>
                  <a:lnTo>
                    <a:pt x="584180" y="594254"/>
                  </a:lnTo>
                  <a:lnTo>
                    <a:pt x="572914" y="634537"/>
                  </a:lnTo>
                  <a:lnTo>
                    <a:pt x="532001" y="691372"/>
                  </a:lnTo>
                  <a:lnTo>
                    <a:pt x="475855" y="704846"/>
                  </a:lnTo>
                  <a:lnTo>
                    <a:pt x="445548" y="690929"/>
                  </a:lnTo>
                  <a:lnTo>
                    <a:pt x="415607" y="660900"/>
                  </a:lnTo>
                  <a:lnTo>
                    <a:pt x="371725" y="593661"/>
                  </a:lnTo>
                  <a:lnTo>
                    <a:pt x="347197" y="550265"/>
                  </a:lnTo>
                  <a:lnTo>
                    <a:pt x="321856" y="502117"/>
                  </a:lnTo>
                  <a:lnTo>
                    <a:pt x="296385" y="450540"/>
                  </a:lnTo>
                  <a:lnTo>
                    <a:pt x="271467" y="396857"/>
                  </a:lnTo>
                  <a:lnTo>
                    <a:pt x="247786" y="342393"/>
                  </a:lnTo>
                  <a:lnTo>
                    <a:pt x="226025" y="288471"/>
                  </a:lnTo>
                  <a:lnTo>
                    <a:pt x="206868" y="236414"/>
                  </a:lnTo>
                  <a:lnTo>
                    <a:pt x="190999" y="187548"/>
                  </a:lnTo>
                  <a:lnTo>
                    <a:pt x="179100" y="143194"/>
                  </a:lnTo>
                  <a:lnTo>
                    <a:pt x="171856" y="104678"/>
                  </a:lnTo>
                  <a:lnTo>
                    <a:pt x="160619" y="59997"/>
                  </a:lnTo>
                  <a:lnTo>
                    <a:pt x="142861" y="30807"/>
                  </a:lnTo>
                  <a:lnTo>
                    <a:pt x="121440" y="16192"/>
                  </a:lnTo>
                  <a:lnTo>
                    <a:pt x="99212" y="15235"/>
                  </a:lnTo>
                  <a:lnTo>
                    <a:pt x="79034" y="27021"/>
                  </a:lnTo>
                  <a:lnTo>
                    <a:pt x="63764" y="50635"/>
                  </a:lnTo>
                  <a:lnTo>
                    <a:pt x="56257" y="85161"/>
                  </a:lnTo>
                  <a:lnTo>
                    <a:pt x="59372" y="129684"/>
                  </a:lnTo>
                  <a:lnTo>
                    <a:pt x="83438" y="176397"/>
                  </a:lnTo>
                  <a:lnTo>
                    <a:pt x="135270" y="235277"/>
                  </a:lnTo>
                  <a:lnTo>
                    <a:pt x="169086" y="268103"/>
                  </a:lnTo>
                  <a:lnTo>
                    <a:pt x="206826" y="302558"/>
                  </a:lnTo>
                  <a:lnTo>
                    <a:pt x="247486" y="338170"/>
                  </a:lnTo>
                  <a:lnTo>
                    <a:pt x="290062" y="374469"/>
                  </a:lnTo>
                  <a:lnTo>
                    <a:pt x="333546" y="410983"/>
                  </a:lnTo>
                  <a:lnTo>
                    <a:pt x="376934" y="447243"/>
                  </a:lnTo>
                  <a:lnTo>
                    <a:pt x="419220" y="482775"/>
                  </a:lnTo>
                  <a:lnTo>
                    <a:pt x="459400" y="517111"/>
                  </a:lnTo>
                  <a:lnTo>
                    <a:pt x="496467" y="549777"/>
                  </a:lnTo>
                  <a:lnTo>
                    <a:pt x="529417" y="580304"/>
                  </a:lnTo>
                  <a:lnTo>
                    <a:pt x="557243" y="608221"/>
                  </a:lnTo>
                  <a:lnTo>
                    <a:pt x="593505" y="654337"/>
                  </a:lnTo>
                  <a:lnTo>
                    <a:pt x="599930" y="671595"/>
                  </a:lnTo>
                  <a:lnTo>
                    <a:pt x="597209" y="684357"/>
                  </a:lnTo>
                  <a:lnTo>
                    <a:pt x="584339" y="692154"/>
                  </a:lnTo>
                  <a:lnTo>
                    <a:pt x="552481" y="694644"/>
                  </a:lnTo>
                  <a:lnTo>
                    <a:pt x="523327" y="684463"/>
                  </a:lnTo>
                  <a:lnTo>
                    <a:pt x="472802" y="632669"/>
                  </a:lnTo>
                  <a:lnTo>
                    <a:pt x="451268" y="594344"/>
                  </a:lnTo>
                  <a:lnTo>
                    <a:pt x="432111" y="549925"/>
                  </a:lnTo>
                  <a:lnTo>
                    <a:pt x="415248" y="501058"/>
                  </a:lnTo>
                  <a:lnTo>
                    <a:pt x="400599" y="449386"/>
                  </a:lnTo>
                  <a:lnTo>
                    <a:pt x="388081" y="396553"/>
                  </a:lnTo>
                  <a:lnTo>
                    <a:pt x="377613" y="344205"/>
                  </a:lnTo>
                  <a:lnTo>
                    <a:pt x="369112" y="293984"/>
                  </a:lnTo>
                  <a:lnTo>
                    <a:pt x="355428" y="272012"/>
                  </a:lnTo>
                  <a:lnTo>
                    <a:pt x="325618" y="260447"/>
                  </a:lnTo>
                  <a:lnTo>
                    <a:pt x="283664" y="257756"/>
                  </a:lnTo>
                  <a:lnTo>
                    <a:pt x="233550" y="262407"/>
                  </a:lnTo>
                  <a:lnTo>
                    <a:pt x="179259" y="272869"/>
                  </a:lnTo>
                  <a:lnTo>
                    <a:pt x="124776" y="287608"/>
                  </a:lnTo>
                  <a:lnTo>
                    <a:pt x="74082" y="305092"/>
                  </a:lnTo>
                  <a:lnTo>
                    <a:pt x="31162" y="323789"/>
                  </a:lnTo>
                  <a:lnTo>
                    <a:pt x="0" y="342168"/>
                  </a:lnTo>
                </a:path>
              </a:pathLst>
            </a:custGeom>
            <a:ln w="38099">
              <a:solidFill>
                <a:srgbClr val="231F20"/>
              </a:solidFill>
            </a:ln>
          </p:spPr>
          <p:txBody>
            <a:bodyPr wrap="square" lIns="0" tIns="0" rIns="0" bIns="0" rtlCol="0"/>
            <a:lstStyle/>
            <a:p>
              <a:endParaRPr sz="649"/>
            </a:p>
          </p:txBody>
        </p:sp>
        <p:sp>
          <p:nvSpPr>
            <p:cNvPr id="7" name="object 7"/>
            <p:cNvSpPr/>
            <p:nvPr/>
          </p:nvSpPr>
          <p:spPr>
            <a:xfrm>
              <a:off x="4643427" y="1397190"/>
              <a:ext cx="989965" cy="767080"/>
            </a:xfrm>
            <a:custGeom>
              <a:avLst/>
              <a:gdLst/>
              <a:ahLst/>
              <a:cxnLst/>
              <a:rect l="l" t="t" r="r" b="b"/>
              <a:pathLst>
                <a:path w="989964" h="767080">
                  <a:moveTo>
                    <a:pt x="654532" y="0"/>
                  </a:moveTo>
                  <a:lnTo>
                    <a:pt x="612806" y="13573"/>
                  </a:lnTo>
                  <a:lnTo>
                    <a:pt x="571374" y="29427"/>
                  </a:lnTo>
                  <a:lnTo>
                    <a:pt x="519656" y="49876"/>
                  </a:lnTo>
                  <a:lnTo>
                    <a:pt x="460223" y="73837"/>
                  </a:lnTo>
                  <a:lnTo>
                    <a:pt x="395644" y="100222"/>
                  </a:lnTo>
                  <a:lnTo>
                    <a:pt x="261331" y="155926"/>
                  </a:lnTo>
                  <a:lnTo>
                    <a:pt x="137280" y="208301"/>
                  </a:lnTo>
                  <a:lnTo>
                    <a:pt x="85528" y="230527"/>
                  </a:lnTo>
                  <a:lnTo>
                    <a:pt x="44053" y="248663"/>
                  </a:lnTo>
                  <a:lnTo>
                    <a:pt x="2210" y="268325"/>
                  </a:lnTo>
                  <a:lnTo>
                    <a:pt x="0" y="302898"/>
                  </a:lnTo>
                  <a:lnTo>
                    <a:pt x="1711" y="375785"/>
                  </a:lnTo>
                  <a:lnTo>
                    <a:pt x="5999" y="450278"/>
                  </a:lnTo>
                  <a:lnTo>
                    <a:pt x="11519" y="489673"/>
                  </a:lnTo>
                  <a:lnTo>
                    <a:pt x="62154" y="539151"/>
                  </a:lnTo>
                  <a:lnTo>
                    <a:pt x="110470" y="583017"/>
                  </a:lnTo>
                  <a:lnTo>
                    <a:pt x="165789" y="632072"/>
                  </a:lnTo>
                  <a:lnTo>
                    <a:pt x="221864" y="680644"/>
                  </a:lnTo>
                  <a:lnTo>
                    <a:pt x="272448" y="723060"/>
                  </a:lnTo>
                  <a:lnTo>
                    <a:pt x="311294" y="753648"/>
                  </a:lnTo>
                  <a:lnTo>
                    <a:pt x="332156" y="766737"/>
                  </a:lnTo>
                  <a:lnTo>
                    <a:pt x="345274" y="762663"/>
                  </a:lnTo>
                  <a:lnTo>
                    <a:pt x="412413" y="727147"/>
                  </a:lnTo>
                  <a:lnTo>
                    <a:pt x="461572" y="698841"/>
                  </a:lnTo>
                  <a:lnTo>
                    <a:pt x="517884" y="665591"/>
                  </a:lnTo>
                  <a:lnTo>
                    <a:pt x="578918" y="628966"/>
                  </a:lnTo>
                  <a:lnTo>
                    <a:pt x="642244" y="590534"/>
                  </a:lnTo>
                  <a:lnTo>
                    <a:pt x="766049" y="514513"/>
                  </a:lnTo>
                  <a:lnTo>
                    <a:pt x="869857" y="450070"/>
                  </a:lnTo>
                  <a:lnTo>
                    <a:pt x="945540" y="402539"/>
                  </a:lnTo>
                  <a:lnTo>
                    <a:pt x="973169" y="298061"/>
                  </a:lnTo>
                  <a:lnTo>
                    <a:pt x="984938" y="227954"/>
                  </a:lnTo>
                  <a:lnTo>
                    <a:pt x="989787" y="189915"/>
                  </a:lnTo>
                  <a:lnTo>
                    <a:pt x="975982" y="177585"/>
                  </a:lnTo>
                  <a:lnTo>
                    <a:pt x="939463" y="154201"/>
                  </a:lnTo>
                  <a:lnTo>
                    <a:pt x="887571" y="123661"/>
                  </a:lnTo>
                  <a:lnTo>
                    <a:pt x="827651" y="89862"/>
                  </a:lnTo>
                  <a:lnTo>
                    <a:pt x="767044" y="56699"/>
                  </a:lnTo>
                  <a:lnTo>
                    <a:pt x="713094" y="28070"/>
                  </a:lnTo>
                  <a:lnTo>
                    <a:pt x="673142" y="7871"/>
                  </a:lnTo>
                  <a:lnTo>
                    <a:pt x="654532" y="0"/>
                  </a:lnTo>
                  <a:close/>
                </a:path>
              </a:pathLst>
            </a:custGeom>
            <a:solidFill>
              <a:srgbClr val="FFFFFF"/>
            </a:solidFill>
          </p:spPr>
          <p:txBody>
            <a:bodyPr wrap="square" lIns="0" tIns="0" rIns="0" bIns="0" rtlCol="0"/>
            <a:lstStyle/>
            <a:p>
              <a:endParaRPr sz="649"/>
            </a:p>
          </p:txBody>
        </p:sp>
        <p:sp>
          <p:nvSpPr>
            <p:cNvPr id="8" name="object 8"/>
            <p:cNvSpPr/>
            <p:nvPr/>
          </p:nvSpPr>
          <p:spPr>
            <a:xfrm>
              <a:off x="4643427" y="1397190"/>
              <a:ext cx="989965" cy="767080"/>
            </a:xfrm>
            <a:custGeom>
              <a:avLst/>
              <a:gdLst/>
              <a:ahLst/>
              <a:cxnLst/>
              <a:rect l="l" t="t" r="r" b="b"/>
              <a:pathLst>
                <a:path w="989964" h="767080">
                  <a:moveTo>
                    <a:pt x="654532" y="0"/>
                  </a:moveTo>
                  <a:lnTo>
                    <a:pt x="713094" y="28070"/>
                  </a:lnTo>
                  <a:lnTo>
                    <a:pt x="767044" y="56699"/>
                  </a:lnTo>
                  <a:lnTo>
                    <a:pt x="827651" y="89862"/>
                  </a:lnTo>
                  <a:lnTo>
                    <a:pt x="887571" y="123661"/>
                  </a:lnTo>
                  <a:lnTo>
                    <a:pt x="939463" y="154201"/>
                  </a:lnTo>
                  <a:lnTo>
                    <a:pt x="975982" y="177585"/>
                  </a:lnTo>
                  <a:lnTo>
                    <a:pt x="989787" y="189915"/>
                  </a:lnTo>
                  <a:lnTo>
                    <a:pt x="984938" y="227954"/>
                  </a:lnTo>
                  <a:lnTo>
                    <a:pt x="973169" y="298061"/>
                  </a:lnTo>
                  <a:lnTo>
                    <a:pt x="958647" y="367250"/>
                  </a:lnTo>
                  <a:lnTo>
                    <a:pt x="934224" y="409741"/>
                  </a:lnTo>
                  <a:lnTo>
                    <a:pt x="869857" y="450070"/>
                  </a:lnTo>
                  <a:lnTo>
                    <a:pt x="821668" y="480061"/>
                  </a:lnTo>
                  <a:lnTo>
                    <a:pt x="766049" y="514513"/>
                  </a:lnTo>
                  <a:lnTo>
                    <a:pt x="705431" y="551860"/>
                  </a:lnTo>
                  <a:lnTo>
                    <a:pt x="642244" y="590534"/>
                  </a:lnTo>
                  <a:lnTo>
                    <a:pt x="578918" y="628966"/>
                  </a:lnTo>
                  <a:lnTo>
                    <a:pt x="517884" y="665591"/>
                  </a:lnTo>
                  <a:lnTo>
                    <a:pt x="461572" y="698841"/>
                  </a:lnTo>
                  <a:lnTo>
                    <a:pt x="412413" y="727147"/>
                  </a:lnTo>
                  <a:lnTo>
                    <a:pt x="372837" y="748944"/>
                  </a:lnTo>
                  <a:lnTo>
                    <a:pt x="332156" y="766737"/>
                  </a:lnTo>
                  <a:lnTo>
                    <a:pt x="311294" y="753648"/>
                  </a:lnTo>
                  <a:lnTo>
                    <a:pt x="272448" y="723060"/>
                  </a:lnTo>
                  <a:lnTo>
                    <a:pt x="221864" y="680644"/>
                  </a:lnTo>
                  <a:lnTo>
                    <a:pt x="165789" y="632072"/>
                  </a:lnTo>
                  <a:lnTo>
                    <a:pt x="110470" y="583017"/>
                  </a:lnTo>
                  <a:lnTo>
                    <a:pt x="62154" y="539151"/>
                  </a:lnTo>
                  <a:lnTo>
                    <a:pt x="27088" y="506146"/>
                  </a:lnTo>
                  <a:lnTo>
                    <a:pt x="5999" y="450278"/>
                  </a:lnTo>
                  <a:lnTo>
                    <a:pt x="1711" y="375785"/>
                  </a:lnTo>
                  <a:lnTo>
                    <a:pt x="0" y="302898"/>
                  </a:lnTo>
                  <a:lnTo>
                    <a:pt x="2210" y="268325"/>
                  </a:lnTo>
                  <a:lnTo>
                    <a:pt x="44053" y="248663"/>
                  </a:lnTo>
                  <a:lnTo>
                    <a:pt x="85528" y="230527"/>
                  </a:lnTo>
                  <a:lnTo>
                    <a:pt x="137280" y="208301"/>
                  </a:lnTo>
                  <a:lnTo>
                    <a:pt x="196738" y="183072"/>
                  </a:lnTo>
                  <a:lnTo>
                    <a:pt x="261331" y="155926"/>
                  </a:lnTo>
                  <a:lnTo>
                    <a:pt x="328490" y="127947"/>
                  </a:lnTo>
                  <a:lnTo>
                    <a:pt x="395644" y="100222"/>
                  </a:lnTo>
                  <a:lnTo>
                    <a:pt x="460223" y="73837"/>
                  </a:lnTo>
                  <a:lnTo>
                    <a:pt x="519656" y="49876"/>
                  </a:lnTo>
                  <a:lnTo>
                    <a:pt x="571374" y="29427"/>
                  </a:lnTo>
                  <a:lnTo>
                    <a:pt x="612806" y="13573"/>
                  </a:lnTo>
                  <a:lnTo>
                    <a:pt x="654532" y="0"/>
                  </a:lnTo>
                  <a:close/>
                </a:path>
              </a:pathLst>
            </a:custGeom>
            <a:ln w="25400">
              <a:solidFill>
                <a:srgbClr val="231F20"/>
              </a:solidFill>
            </a:ln>
          </p:spPr>
          <p:txBody>
            <a:bodyPr wrap="square" lIns="0" tIns="0" rIns="0" bIns="0" rtlCol="0"/>
            <a:lstStyle/>
            <a:p>
              <a:endParaRPr sz="649"/>
            </a:p>
          </p:txBody>
        </p:sp>
        <p:sp>
          <p:nvSpPr>
            <p:cNvPr id="9" name="object 9"/>
            <p:cNvSpPr/>
            <p:nvPr/>
          </p:nvSpPr>
          <p:spPr>
            <a:xfrm>
              <a:off x="4646241" y="1698562"/>
              <a:ext cx="963294" cy="356235"/>
            </a:xfrm>
            <a:custGeom>
              <a:avLst/>
              <a:gdLst/>
              <a:ahLst/>
              <a:cxnLst/>
              <a:rect l="l" t="t" r="r" b="b"/>
              <a:pathLst>
                <a:path w="963295" h="356235">
                  <a:moveTo>
                    <a:pt x="0" y="85481"/>
                  </a:moveTo>
                  <a:lnTo>
                    <a:pt x="185121" y="245957"/>
                  </a:lnTo>
                  <a:lnTo>
                    <a:pt x="281679" y="327584"/>
                  </a:lnTo>
                  <a:lnTo>
                    <a:pt x="321040" y="355686"/>
                  </a:lnTo>
                  <a:lnTo>
                    <a:pt x="334568" y="355585"/>
                  </a:lnTo>
                  <a:lnTo>
                    <a:pt x="370818" y="335179"/>
                  </a:lnTo>
                  <a:lnTo>
                    <a:pt x="403888" y="316221"/>
                  </a:lnTo>
                  <a:lnTo>
                    <a:pt x="444786" y="292695"/>
                  </a:lnTo>
                  <a:lnTo>
                    <a:pt x="491911" y="265549"/>
                  </a:lnTo>
                  <a:lnTo>
                    <a:pt x="543661" y="235736"/>
                  </a:lnTo>
                  <a:lnTo>
                    <a:pt x="598435" y="204205"/>
                  </a:lnTo>
                  <a:lnTo>
                    <a:pt x="654632" y="171908"/>
                  </a:lnTo>
                  <a:lnTo>
                    <a:pt x="710649" y="139795"/>
                  </a:lnTo>
                  <a:lnTo>
                    <a:pt x="764885" y="108816"/>
                  </a:lnTo>
                  <a:lnTo>
                    <a:pt x="815739" y="79922"/>
                  </a:lnTo>
                  <a:lnTo>
                    <a:pt x="861610" y="54064"/>
                  </a:lnTo>
                  <a:lnTo>
                    <a:pt x="900895" y="32192"/>
                  </a:lnTo>
                  <a:lnTo>
                    <a:pt x="953306" y="4209"/>
                  </a:lnTo>
                  <a:lnTo>
                    <a:pt x="963227" y="0"/>
                  </a:lnTo>
                  <a:lnTo>
                    <a:pt x="960158" y="3579"/>
                  </a:lnTo>
                </a:path>
              </a:pathLst>
            </a:custGeom>
            <a:ln w="12700">
              <a:solidFill>
                <a:srgbClr val="231F20"/>
              </a:solidFill>
            </a:ln>
          </p:spPr>
          <p:txBody>
            <a:bodyPr wrap="square" lIns="0" tIns="0" rIns="0" bIns="0" rtlCol="0"/>
            <a:lstStyle/>
            <a:p>
              <a:endParaRPr sz="649"/>
            </a:p>
          </p:txBody>
        </p:sp>
        <p:sp>
          <p:nvSpPr>
            <p:cNvPr id="10" name="object 10"/>
            <p:cNvSpPr/>
            <p:nvPr/>
          </p:nvSpPr>
          <p:spPr>
            <a:xfrm>
              <a:off x="4655418" y="1587103"/>
              <a:ext cx="977900" cy="336550"/>
            </a:xfrm>
            <a:custGeom>
              <a:avLst/>
              <a:gdLst/>
              <a:ahLst/>
              <a:cxnLst/>
              <a:rect l="l" t="t" r="r" b="b"/>
              <a:pathLst>
                <a:path w="977900" h="336550">
                  <a:moveTo>
                    <a:pt x="0" y="81673"/>
                  </a:moveTo>
                  <a:lnTo>
                    <a:pt x="60822" y="130456"/>
                  </a:lnTo>
                  <a:lnTo>
                    <a:pt x="112740" y="171618"/>
                  </a:lnTo>
                  <a:lnTo>
                    <a:pt x="170378" y="217001"/>
                  </a:lnTo>
                  <a:lnTo>
                    <a:pt x="227274" y="261385"/>
                  </a:lnTo>
                  <a:lnTo>
                    <a:pt x="276964" y="299550"/>
                  </a:lnTo>
                  <a:lnTo>
                    <a:pt x="312987" y="326277"/>
                  </a:lnTo>
                  <a:lnTo>
                    <a:pt x="328879" y="336346"/>
                  </a:lnTo>
                  <a:lnTo>
                    <a:pt x="339992" y="331535"/>
                  </a:lnTo>
                  <a:lnTo>
                    <a:pt x="408206" y="297329"/>
                  </a:lnTo>
                  <a:lnTo>
                    <a:pt x="459901" y="270792"/>
                  </a:lnTo>
                  <a:lnTo>
                    <a:pt x="519720" y="239870"/>
                  </a:lnTo>
                  <a:lnTo>
                    <a:pt x="584960" y="205992"/>
                  </a:lnTo>
                  <a:lnTo>
                    <a:pt x="652919" y="170587"/>
                  </a:lnTo>
                  <a:lnTo>
                    <a:pt x="720895" y="135084"/>
                  </a:lnTo>
                  <a:lnTo>
                    <a:pt x="786187" y="100911"/>
                  </a:lnTo>
                  <a:lnTo>
                    <a:pt x="846091" y="69496"/>
                  </a:lnTo>
                  <a:lnTo>
                    <a:pt x="897907" y="42269"/>
                  </a:lnTo>
                  <a:lnTo>
                    <a:pt x="938931" y="20658"/>
                  </a:lnTo>
                  <a:lnTo>
                    <a:pt x="966462" y="6092"/>
                  </a:lnTo>
                  <a:lnTo>
                    <a:pt x="977798" y="0"/>
                  </a:lnTo>
                </a:path>
              </a:pathLst>
            </a:custGeom>
            <a:ln w="12700">
              <a:solidFill>
                <a:srgbClr val="231F20"/>
              </a:solidFill>
            </a:ln>
          </p:spPr>
          <p:txBody>
            <a:bodyPr wrap="square" lIns="0" tIns="0" rIns="0" bIns="0" rtlCol="0"/>
            <a:lstStyle/>
            <a:p>
              <a:endParaRPr sz="649"/>
            </a:p>
          </p:txBody>
        </p:sp>
        <p:sp>
          <p:nvSpPr>
            <p:cNvPr id="11" name="object 11"/>
            <p:cNvSpPr/>
            <p:nvPr/>
          </p:nvSpPr>
          <p:spPr>
            <a:xfrm>
              <a:off x="5493533" y="1565409"/>
              <a:ext cx="45085" cy="22225"/>
            </a:xfrm>
            <a:custGeom>
              <a:avLst/>
              <a:gdLst/>
              <a:ahLst/>
              <a:cxnLst/>
              <a:rect l="l" t="t" r="r" b="b"/>
              <a:pathLst>
                <a:path w="45085" h="22225">
                  <a:moveTo>
                    <a:pt x="44919" y="10845"/>
                  </a:moveTo>
                  <a:lnTo>
                    <a:pt x="44919" y="16840"/>
                  </a:lnTo>
                  <a:lnTo>
                    <a:pt x="34861" y="21691"/>
                  </a:lnTo>
                  <a:lnTo>
                    <a:pt x="22453" y="21691"/>
                  </a:lnTo>
                  <a:lnTo>
                    <a:pt x="10058" y="21691"/>
                  </a:lnTo>
                  <a:lnTo>
                    <a:pt x="0" y="16840"/>
                  </a:lnTo>
                  <a:lnTo>
                    <a:pt x="0" y="10845"/>
                  </a:lnTo>
                  <a:lnTo>
                    <a:pt x="0" y="4864"/>
                  </a:lnTo>
                  <a:lnTo>
                    <a:pt x="10058" y="0"/>
                  </a:lnTo>
                  <a:lnTo>
                    <a:pt x="22453" y="0"/>
                  </a:lnTo>
                  <a:lnTo>
                    <a:pt x="34861" y="0"/>
                  </a:lnTo>
                  <a:lnTo>
                    <a:pt x="44919" y="4864"/>
                  </a:lnTo>
                  <a:lnTo>
                    <a:pt x="44919" y="10845"/>
                  </a:lnTo>
                  <a:close/>
                </a:path>
              </a:pathLst>
            </a:custGeom>
            <a:ln w="12700">
              <a:solidFill>
                <a:srgbClr val="231F20"/>
              </a:solidFill>
            </a:ln>
          </p:spPr>
          <p:txBody>
            <a:bodyPr wrap="square" lIns="0" tIns="0" rIns="0" bIns="0" rtlCol="0"/>
            <a:lstStyle/>
            <a:p>
              <a:endParaRPr sz="649"/>
            </a:p>
          </p:txBody>
        </p:sp>
        <p:pic>
          <p:nvPicPr>
            <p:cNvPr id="12" name="object 12"/>
            <p:cNvPicPr/>
            <p:nvPr/>
          </p:nvPicPr>
          <p:blipFill>
            <a:blip r:embed="rId3" cstate="print"/>
            <a:stretch>
              <a:fillRect/>
            </a:stretch>
          </p:blipFill>
          <p:spPr>
            <a:xfrm>
              <a:off x="4747248" y="1856646"/>
              <a:ext cx="96058" cy="114084"/>
            </a:xfrm>
            <a:prstGeom prst="rect">
              <a:avLst/>
            </a:prstGeom>
          </p:spPr>
        </p:pic>
      </p:grpSp>
      <p:grpSp>
        <p:nvGrpSpPr>
          <p:cNvPr id="13" name="object 13"/>
          <p:cNvGrpSpPr/>
          <p:nvPr/>
        </p:nvGrpSpPr>
        <p:grpSpPr>
          <a:xfrm>
            <a:off x="2986311" y="369035"/>
            <a:ext cx="878392" cy="944081"/>
            <a:chOff x="482600" y="766991"/>
            <a:chExt cx="1825625" cy="1962150"/>
          </a:xfrm>
        </p:grpSpPr>
        <p:sp>
          <p:nvSpPr>
            <p:cNvPr id="14" name="object 14"/>
            <p:cNvSpPr/>
            <p:nvPr/>
          </p:nvSpPr>
          <p:spPr>
            <a:xfrm>
              <a:off x="1810057" y="1207409"/>
              <a:ext cx="230504" cy="69215"/>
            </a:xfrm>
            <a:custGeom>
              <a:avLst/>
              <a:gdLst/>
              <a:ahLst/>
              <a:cxnLst/>
              <a:rect l="l" t="t" r="r" b="b"/>
              <a:pathLst>
                <a:path w="230505" h="69215">
                  <a:moveTo>
                    <a:pt x="230365" y="0"/>
                  </a:moveTo>
                  <a:lnTo>
                    <a:pt x="147923" y="18683"/>
                  </a:lnTo>
                  <a:lnTo>
                    <a:pt x="73896" y="41386"/>
                  </a:lnTo>
                  <a:lnTo>
                    <a:pt x="20512" y="60550"/>
                  </a:lnTo>
                  <a:lnTo>
                    <a:pt x="0" y="68618"/>
                  </a:lnTo>
                </a:path>
              </a:pathLst>
            </a:custGeom>
            <a:ln w="38100">
              <a:solidFill>
                <a:srgbClr val="231F20"/>
              </a:solidFill>
            </a:ln>
          </p:spPr>
          <p:txBody>
            <a:bodyPr wrap="square" lIns="0" tIns="0" rIns="0" bIns="0" rtlCol="0"/>
            <a:lstStyle/>
            <a:p>
              <a:endParaRPr sz="649"/>
            </a:p>
          </p:txBody>
        </p:sp>
        <p:sp>
          <p:nvSpPr>
            <p:cNvPr id="15" name="object 15"/>
            <p:cNvSpPr/>
            <p:nvPr/>
          </p:nvSpPr>
          <p:spPr>
            <a:xfrm>
              <a:off x="941084" y="1171542"/>
              <a:ext cx="1012190" cy="767080"/>
            </a:xfrm>
            <a:custGeom>
              <a:avLst/>
              <a:gdLst/>
              <a:ahLst/>
              <a:cxnLst/>
              <a:rect l="l" t="t" r="r" b="b"/>
              <a:pathLst>
                <a:path w="1012189" h="767080">
                  <a:moveTo>
                    <a:pt x="654532" y="0"/>
                  </a:moveTo>
                  <a:lnTo>
                    <a:pt x="716501" y="29233"/>
                  </a:lnTo>
                  <a:lnTo>
                    <a:pt x="773944" y="59054"/>
                  </a:lnTo>
                  <a:lnTo>
                    <a:pt x="838554" y="93584"/>
                  </a:lnTo>
                  <a:lnTo>
                    <a:pt x="902478" y="128752"/>
                  </a:lnTo>
                  <a:lnTo>
                    <a:pt x="957861" y="160486"/>
                  </a:lnTo>
                  <a:lnTo>
                    <a:pt x="996851" y="184715"/>
                  </a:lnTo>
                  <a:lnTo>
                    <a:pt x="1011593" y="197370"/>
                  </a:lnTo>
                  <a:lnTo>
                    <a:pt x="1009010" y="235552"/>
                  </a:lnTo>
                  <a:lnTo>
                    <a:pt x="1002227" y="305973"/>
                  </a:lnTo>
                  <a:lnTo>
                    <a:pt x="992691" y="375476"/>
                  </a:lnTo>
                  <a:lnTo>
                    <a:pt x="971310" y="417219"/>
                  </a:lnTo>
                  <a:lnTo>
                    <a:pt x="910923" y="452239"/>
                  </a:lnTo>
                  <a:lnTo>
                    <a:pt x="865286" y="478458"/>
                  </a:lnTo>
                  <a:lnTo>
                    <a:pt x="812160" y="508824"/>
                  </a:lnTo>
                  <a:lnTo>
                    <a:pt x="753651" y="542092"/>
                  </a:lnTo>
                  <a:lnTo>
                    <a:pt x="691864" y="577018"/>
                  </a:lnTo>
                  <a:lnTo>
                    <a:pt x="628903" y="612357"/>
                  </a:lnTo>
                  <a:lnTo>
                    <a:pt x="566874" y="646863"/>
                  </a:lnTo>
                  <a:lnTo>
                    <a:pt x="507882" y="679294"/>
                  </a:lnTo>
                  <a:lnTo>
                    <a:pt x="454032" y="708403"/>
                  </a:lnTo>
                  <a:lnTo>
                    <a:pt x="407429" y="732947"/>
                  </a:lnTo>
                  <a:lnTo>
                    <a:pt x="370179" y="751680"/>
                  </a:lnTo>
                  <a:lnTo>
                    <a:pt x="332156" y="766737"/>
                  </a:lnTo>
                  <a:lnTo>
                    <a:pt x="311294" y="753648"/>
                  </a:lnTo>
                  <a:lnTo>
                    <a:pt x="272448" y="723060"/>
                  </a:lnTo>
                  <a:lnTo>
                    <a:pt x="221864" y="680643"/>
                  </a:lnTo>
                  <a:lnTo>
                    <a:pt x="165789" y="632071"/>
                  </a:lnTo>
                  <a:lnTo>
                    <a:pt x="110470" y="583014"/>
                  </a:lnTo>
                  <a:lnTo>
                    <a:pt x="62154" y="539146"/>
                  </a:lnTo>
                  <a:lnTo>
                    <a:pt x="27088" y="506137"/>
                  </a:lnTo>
                  <a:lnTo>
                    <a:pt x="5999" y="450267"/>
                  </a:lnTo>
                  <a:lnTo>
                    <a:pt x="1711" y="375777"/>
                  </a:lnTo>
                  <a:lnTo>
                    <a:pt x="0" y="302891"/>
                  </a:lnTo>
                  <a:lnTo>
                    <a:pt x="2210" y="268312"/>
                  </a:lnTo>
                  <a:lnTo>
                    <a:pt x="44053" y="248655"/>
                  </a:lnTo>
                  <a:lnTo>
                    <a:pt x="85528" y="230521"/>
                  </a:lnTo>
                  <a:lnTo>
                    <a:pt x="137280" y="208297"/>
                  </a:lnTo>
                  <a:lnTo>
                    <a:pt x="196738" y="183069"/>
                  </a:lnTo>
                  <a:lnTo>
                    <a:pt x="261331" y="155924"/>
                  </a:lnTo>
                  <a:lnTo>
                    <a:pt x="328490" y="127946"/>
                  </a:lnTo>
                  <a:lnTo>
                    <a:pt x="395644" y="100221"/>
                  </a:lnTo>
                  <a:lnTo>
                    <a:pt x="460223" y="73836"/>
                  </a:lnTo>
                  <a:lnTo>
                    <a:pt x="519656" y="49876"/>
                  </a:lnTo>
                  <a:lnTo>
                    <a:pt x="571374" y="29426"/>
                  </a:lnTo>
                  <a:lnTo>
                    <a:pt x="612806" y="13573"/>
                  </a:lnTo>
                  <a:lnTo>
                    <a:pt x="654532" y="0"/>
                  </a:lnTo>
                  <a:close/>
                </a:path>
              </a:pathLst>
            </a:custGeom>
            <a:ln w="25400">
              <a:solidFill>
                <a:srgbClr val="231F20"/>
              </a:solidFill>
            </a:ln>
          </p:spPr>
          <p:txBody>
            <a:bodyPr wrap="square" lIns="0" tIns="0" rIns="0" bIns="0" rtlCol="0"/>
            <a:lstStyle/>
            <a:p>
              <a:endParaRPr sz="649"/>
            </a:p>
          </p:txBody>
        </p:sp>
        <p:sp>
          <p:nvSpPr>
            <p:cNvPr id="16" name="object 16"/>
            <p:cNvSpPr/>
            <p:nvPr/>
          </p:nvSpPr>
          <p:spPr>
            <a:xfrm>
              <a:off x="943894" y="1487901"/>
              <a:ext cx="988694" cy="340995"/>
            </a:xfrm>
            <a:custGeom>
              <a:avLst/>
              <a:gdLst/>
              <a:ahLst/>
              <a:cxnLst/>
              <a:rect l="l" t="t" r="r" b="b"/>
              <a:pathLst>
                <a:path w="988694" h="340994">
                  <a:moveTo>
                    <a:pt x="0" y="70494"/>
                  </a:moveTo>
                  <a:lnTo>
                    <a:pt x="185121" y="230969"/>
                  </a:lnTo>
                  <a:lnTo>
                    <a:pt x="281679" y="312597"/>
                  </a:lnTo>
                  <a:lnTo>
                    <a:pt x="321040" y="340699"/>
                  </a:lnTo>
                  <a:lnTo>
                    <a:pt x="334568" y="340597"/>
                  </a:lnTo>
                  <a:lnTo>
                    <a:pt x="347431" y="333781"/>
                  </a:lnTo>
                  <a:lnTo>
                    <a:pt x="371791" y="320771"/>
                  </a:lnTo>
                  <a:lnTo>
                    <a:pt x="405984" y="302482"/>
                  </a:lnTo>
                  <a:lnTo>
                    <a:pt x="448347" y="279827"/>
                  </a:lnTo>
                  <a:lnTo>
                    <a:pt x="497215" y="253720"/>
                  </a:lnTo>
                  <a:lnTo>
                    <a:pt x="550927" y="225075"/>
                  </a:lnTo>
                  <a:lnTo>
                    <a:pt x="607817" y="194804"/>
                  </a:lnTo>
                  <a:lnTo>
                    <a:pt x="666223" y="163823"/>
                  </a:lnTo>
                  <a:lnTo>
                    <a:pt x="724480" y="133044"/>
                  </a:lnTo>
                  <a:lnTo>
                    <a:pt x="780925" y="103380"/>
                  </a:lnTo>
                  <a:lnTo>
                    <a:pt x="833895" y="75747"/>
                  </a:lnTo>
                  <a:lnTo>
                    <a:pt x="881726" y="51056"/>
                  </a:lnTo>
                  <a:lnTo>
                    <a:pt x="922755" y="30223"/>
                  </a:lnTo>
                  <a:lnTo>
                    <a:pt x="977749" y="3781"/>
                  </a:lnTo>
                  <a:lnTo>
                    <a:pt x="988388" y="0"/>
                  </a:lnTo>
                  <a:lnTo>
                    <a:pt x="985570" y="3730"/>
                  </a:lnTo>
                </a:path>
              </a:pathLst>
            </a:custGeom>
            <a:ln w="12699">
              <a:solidFill>
                <a:srgbClr val="231F20"/>
              </a:solidFill>
            </a:ln>
          </p:spPr>
          <p:txBody>
            <a:bodyPr wrap="square" lIns="0" tIns="0" rIns="0" bIns="0" rtlCol="0"/>
            <a:lstStyle/>
            <a:p>
              <a:endParaRPr sz="649"/>
            </a:p>
          </p:txBody>
        </p:sp>
        <p:sp>
          <p:nvSpPr>
            <p:cNvPr id="17" name="object 17"/>
            <p:cNvSpPr/>
            <p:nvPr/>
          </p:nvSpPr>
          <p:spPr>
            <a:xfrm>
              <a:off x="953077" y="1368910"/>
              <a:ext cx="1000125" cy="328930"/>
            </a:xfrm>
            <a:custGeom>
              <a:avLst/>
              <a:gdLst/>
              <a:ahLst/>
              <a:cxnLst/>
              <a:rect l="l" t="t" r="r" b="b"/>
              <a:pathLst>
                <a:path w="1000125" h="328930">
                  <a:moveTo>
                    <a:pt x="0" y="74218"/>
                  </a:moveTo>
                  <a:lnTo>
                    <a:pt x="60822" y="122996"/>
                  </a:lnTo>
                  <a:lnTo>
                    <a:pt x="112740" y="164158"/>
                  </a:lnTo>
                  <a:lnTo>
                    <a:pt x="170378" y="209542"/>
                  </a:lnTo>
                  <a:lnTo>
                    <a:pt x="227274" y="253927"/>
                  </a:lnTo>
                  <a:lnTo>
                    <a:pt x="276964" y="292094"/>
                  </a:lnTo>
                  <a:lnTo>
                    <a:pt x="312987" y="318822"/>
                  </a:lnTo>
                  <a:lnTo>
                    <a:pt x="328879" y="328891"/>
                  </a:lnTo>
                  <a:lnTo>
                    <a:pt x="338994" y="324781"/>
                  </a:lnTo>
                  <a:lnTo>
                    <a:pt x="401347" y="295304"/>
                  </a:lnTo>
                  <a:lnTo>
                    <a:pt x="449035" y="272207"/>
                  </a:lnTo>
                  <a:lnTo>
                    <a:pt x="504698" y="245051"/>
                  </a:lnTo>
                  <a:lnTo>
                    <a:pt x="566062" y="214972"/>
                  </a:lnTo>
                  <a:lnTo>
                    <a:pt x="630853" y="183105"/>
                  </a:lnTo>
                  <a:lnTo>
                    <a:pt x="696795" y="150584"/>
                  </a:lnTo>
                  <a:lnTo>
                    <a:pt x="761616" y="118546"/>
                  </a:lnTo>
                  <a:lnTo>
                    <a:pt x="823039" y="88124"/>
                  </a:lnTo>
                  <a:lnTo>
                    <a:pt x="878792" y="60454"/>
                  </a:lnTo>
                  <a:lnTo>
                    <a:pt x="926599" y="36672"/>
                  </a:lnTo>
                  <a:lnTo>
                    <a:pt x="964186" y="17912"/>
                  </a:lnTo>
                  <a:lnTo>
                    <a:pt x="989279" y="5309"/>
                  </a:lnTo>
                  <a:lnTo>
                    <a:pt x="999604" y="0"/>
                  </a:lnTo>
                </a:path>
              </a:pathLst>
            </a:custGeom>
            <a:ln w="12700">
              <a:solidFill>
                <a:srgbClr val="231F20"/>
              </a:solidFill>
            </a:ln>
          </p:spPr>
          <p:txBody>
            <a:bodyPr wrap="square" lIns="0" tIns="0" rIns="0" bIns="0" rtlCol="0"/>
            <a:lstStyle/>
            <a:p>
              <a:endParaRPr sz="649"/>
            </a:p>
          </p:txBody>
        </p:sp>
        <p:sp>
          <p:nvSpPr>
            <p:cNvPr id="18" name="object 18"/>
            <p:cNvSpPr/>
            <p:nvPr/>
          </p:nvSpPr>
          <p:spPr>
            <a:xfrm>
              <a:off x="1791192" y="1339754"/>
              <a:ext cx="45085" cy="22225"/>
            </a:xfrm>
            <a:custGeom>
              <a:avLst/>
              <a:gdLst/>
              <a:ahLst/>
              <a:cxnLst/>
              <a:rect l="l" t="t" r="r" b="b"/>
              <a:pathLst>
                <a:path w="45085" h="22225">
                  <a:moveTo>
                    <a:pt x="44919" y="10845"/>
                  </a:moveTo>
                  <a:lnTo>
                    <a:pt x="44919" y="16840"/>
                  </a:lnTo>
                  <a:lnTo>
                    <a:pt x="34861" y="21691"/>
                  </a:lnTo>
                  <a:lnTo>
                    <a:pt x="22453" y="21691"/>
                  </a:lnTo>
                  <a:lnTo>
                    <a:pt x="10058" y="21691"/>
                  </a:lnTo>
                  <a:lnTo>
                    <a:pt x="0" y="16840"/>
                  </a:lnTo>
                  <a:lnTo>
                    <a:pt x="0" y="10845"/>
                  </a:lnTo>
                  <a:lnTo>
                    <a:pt x="0" y="4864"/>
                  </a:lnTo>
                  <a:lnTo>
                    <a:pt x="10058" y="0"/>
                  </a:lnTo>
                  <a:lnTo>
                    <a:pt x="22453" y="0"/>
                  </a:lnTo>
                  <a:lnTo>
                    <a:pt x="34861" y="0"/>
                  </a:lnTo>
                  <a:lnTo>
                    <a:pt x="44919" y="4864"/>
                  </a:lnTo>
                  <a:lnTo>
                    <a:pt x="44919" y="10845"/>
                  </a:lnTo>
                  <a:close/>
                </a:path>
              </a:pathLst>
            </a:custGeom>
            <a:ln w="12700">
              <a:solidFill>
                <a:srgbClr val="231F20"/>
              </a:solidFill>
            </a:ln>
          </p:spPr>
          <p:txBody>
            <a:bodyPr wrap="square" lIns="0" tIns="0" rIns="0" bIns="0" rtlCol="0"/>
            <a:lstStyle/>
            <a:p>
              <a:endParaRPr sz="649"/>
            </a:p>
          </p:txBody>
        </p:sp>
        <p:sp>
          <p:nvSpPr>
            <p:cNvPr id="19" name="object 19"/>
            <p:cNvSpPr/>
            <p:nvPr/>
          </p:nvSpPr>
          <p:spPr>
            <a:xfrm>
              <a:off x="722852" y="1631545"/>
              <a:ext cx="412115" cy="268605"/>
            </a:xfrm>
            <a:custGeom>
              <a:avLst/>
              <a:gdLst/>
              <a:ahLst/>
              <a:cxnLst/>
              <a:rect l="l" t="t" r="r" b="b"/>
              <a:pathLst>
                <a:path w="412115" h="268605">
                  <a:moveTo>
                    <a:pt x="335572" y="0"/>
                  </a:moveTo>
                  <a:lnTo>
                    <a:pt x="260973" y="29298"/>
                  </a:lnTo>
                  <a:lnTo>
                    <a:pt x="214394" y="52392"/>
                  </a:lnTo>
                  <a:lnTo>
                    <a:pt x="172281" y="86860"/>
                  </a:lnTo>
                  <a:lnTo>
                    <a:pt x="161845" y="97277"/>
                  </a:lnTo>
                  <a:lnTo>
                    <a:pt x="150634" y="104825"/>
                  </a:lnTo>
                  <a:lnTo>
                    <a:pt x="120641" y="121017"/>
                  </a:lnTo>
                  <a:lnTo>
                    <a:pt x="69578" y="150009"/>
                  </a:lnTo>
                  <a:lnTo>
                    <a:pt x="21384" y="178338"/>
                  </a:lnTo>
                  <a:lnTo>
                    <a:pt x="0" y="192544"/>
                  </a:lnTo>
                  <a:lnTo>
                    <a:pt x="48704" y="268312"/>
                  </a:lnTo>
                  <a:lnTo>
                    <a:pt x="74034" y="253901"/>
                  </a:lnTo>
                  <a:lnTo>
                    <a:pt x="123671" y="224410"/>
                  </a:lnTo>
                  <a:lnTo>
                    <a:pt x="173971" y="195141"/>
                  </a:lnTo>
                  <a:lnTo>
                    <a:pt x="201295" y="181394"/>
                  </a:lnTo>
                  <a:lnTo>
                    <a:pt x="217196" y="178796"/>
                  </a:lnTo>
                  <a:lnTo>
                    <a:pt x="242812" y="173880"/>
                  </a:lnTo>
                  <a:lnTo>
                    <a:pt x="268869" y="168304"/>
                  </a:lnTo>
                  <a:lnTo>
                    <a:pt x="286092" y="163728"/>
                  </a:lnTo>
                  <a:lnTo>
                    <a:pt x="307931" y="153618"/>
                  </a:lnTo>
                  <a:lnTo>
                    <a:pt x="380311" y="117492"/>
                  </a:lnTo>
                  <a:lnTo>
                    <a:pt x="401535" y="107175"/>
                  </a:lnTo>
                  <a:lnTo>
                    <a:pt x="408347" y="99099"/>
                  </a:lnTo>
                  <a:lnTo>
                    <a:pt x="411516" y="85342"/>
                  </a:lnTo>
                  <a:lnTo>
                    <a:pt x="410578" y="70726"/>
                  </a:lnTo>
                  <a:lnTo>
                    <a:pt x="405066" y="60070"/>
                  </a:lnTo>
                  <a:lnTo>
                    <a:pt x="369438" y="26935"/>
                  </a:lnTo>
                  <a:lnTo>
                    <a:pt x="348418" y="8552"/>
                  </a:lnTo>
                  <a:lnTo>
                    <a:pt x="335572" y="0"/>
                  </a:lnTo>
                  <a:close/>
                </a:path>
              </a:pathLst>
            </a:custGeom>
            <a:solidFill>
              <a:srgbClr val="FFFFFF"/>
            </a:solidFill>
          </p:spPr>
          <p:txBody>
            <a:bodyPr wrap="square" lIns="0" tIns="0" rIns="0" bIns="0" rtlCol="0"/>
            <a:lstStyle/>
            <a:p>
              <a:endParaRPr sz="649"/>
            </a:p>
          </p:txBody>
        </p:sp>
        <p:sp>
          <p:nvSpPr>
            <p:cNvPr id="20" name="object 20"/>
            <p:cNvSpPr/>
            <p:nvPr/>
          </p:nvSpPr>
          <p:spPr>
            <a:xfrm>
              <a:off x="722852" y="1631545"/>
              <a:ext cx="412115" cy="268605"/>
            </a:xfrm>
            <a:custGeom>
              <a:avLst/>
              <a:gdLst/>
              <a:ahLst/>
              <a:cxnLst/>
              <a:rect l="l" t="t" r="r" b="b"/>
              <a:pathLst>
                <a:path w="412115" h="268605">
                  <a:moveTo>
                    <a:pt x="48704" y="268312"/>
                  </a:moveTo>
                  <a:lnTo>
                    <a:pt x="74034" y="253901"/>
                  </a:lnTo>
                  <a:lnTo>
                    <a:pt x="123671" y="224410"/>
                  </a:lnTo>
                  <a:lnTo>
                    <a:pt x="173971" y="195141"/>
                  </a:lnTo>
                  <a:lnTo>
                    <a:pt x="201295" y="181394"/>
                  </a:lnTo>
                  <a:lnTo>
                    <a:pt x="217196" y="178796"/>
                  </a:lnTo>
                  <a:lnTo>
                    <a:pt x="242812" y="173880"/>
                  </a:lnTo>
                  <a:lnTo>
                    <a:pt x="286092" y="163728"/>
                  </a:lnTo>
                  <a:lnTo>
                    <a:pt x="344223" y="135589"/>
                  </a:lnTo>
                  <a:lnTo>
                    <a:pt x="380311" y="117492"/>
                  </a:lnTo>
                  <a:lnTo>
                    <a:pt x="401535" y="107175"/>
                  </a:lnTo>
                  <a:lnTo>
                    <a:pt x="408347" y="99099"/>
                  </a:lnTo>
                  <a:lnTo>
                    <a:pt x="411516" y="85342"/>
                  </a:lnTo>
                  <a:lnTo>
                    <a:pt x="410578" y="70726"/>
                  </a:lnTo>
                  <a:lnTo>
                    <a:pt x="369438" y="26935"/>
                  </a:lnTo>
                  <a:lnTo>
                    <a:pt x="335572" y="0"/>
                  </a:lnTo>
                  <a:lnTo>
                    <a:pt x="308336" y="8339"/>
                  </a:lnTo>
                  <a:lnTo>
                    <a:pt x="260973" y="29298"/>
                  </a:lnTo>
                  <a:lnTo>
                    <a:pt x="214394" y="52392"/>
                  </a:lnTo>
                  <a:lnTo>
                    <a:pt x="181613" y="76002"/>
                  </a:lnTo>
                  <a:lnTo>
                    <a:pt x="172281" y="86860"/>
                  </a:lnTo>
                  <a:lnTo>
                    <a:pt x="161845" y="97277"/>
                  </a:lnTo>
                  <a:lnTo>
                    <a:pt x="150634" y="104825"/>
                  </a:lnTo>
                  <a:lnTo>
                    <a:pt x="120641" y="121017"/>
                  </a:lnTo>
                  <a:lnTo>
                    <a:pt x="69578" y="150009"/>
                  </a:lnTo>
                  <a:lnTo>
                    <a:pt x="21384" y="178338"/>
                  </a:lnTo>
                  <a:lnTo>
                    <a:pt x="0" y="192544"/>
                  </a:lnTo>
                </a:path>
              </a:pathLst>
            </a:custGeom>
            <a:ln w="12700">
              <a:solidFill>
                <a:srgbClr val="231F20"/>
              </a:solidFill>
            </a:ln>
          </p:spPr>
          <p:txBody>
            <a:bodyPr wrap="square" lIns="0" tIns="0" rIns="0" bIns="0" rtlCol="0"/>
            <a:lstStyle/>
            <a:p>
              <a:endParaRPr sz="649"/>
            </a:p>
          </p:txBody>
        </p:sp>
        <p:pic>
          <p:nvPicPr>
            <p:cNvPr id="21" name="object 21"/>
            <p:cNvPicPr/>
            <p:nvPr/>
          </p:nvPicPr>
          <p:blipFill>
            <a:blip r:embed="rId4" cstate="print"/>
            <a:stretch>
              <a:fillRect/>
            </a:stretch>
          </p:blipFill>
          <p:spPr>
            <a:xfrm>
              <a:off x="527831" y="1721695"/>
              <a:ext cx="387257" cy="260812"/>
            </a:xfrm>
            <a:prstGeom prst="rect">
              <a:avLst/>
            </a:prstGeom>
          </p:spPr>
        </p:pic>
        <p:sp>
          <p:nvSpPr>
            <p:cNvPr id="22" name="object 22"/>
            <p:cNvSpPr/>
            <p:nvPr/>
          </p:nvSpPr>
          <p:spPr>
            <a:xfrm>
              <a:off x="495300" y="915976"/>
              <a:ext cx="1800225" cy="1800225"/>
            </a:xfrm>
            <a:custGeom>
              <a:avLst/>
              <a:gdLst/>
              <a:ahLst/>
              <a:cxnLst/>
              <a:rect l="l" t="t" r="r" b="b"/>
              <a:pathLst>
                <a:path w="1800225" h="1800225">
                  <a:moveTo>
                    <a:pt x="1799996" y="899998"/>
                  </a:moveTo>
                  <a:lnTo>
                    <a:pt x="1798748" y="947795"/>
                  </a:lnTo>
                  <a:lnTo>
                    <a:pt x="1795047" y="994943"/>
                  </a:lnTo>
                  <a:lnTo>
                    <a:pt x="1788955" y="1041379"/>
                  </a:lnTo>
                  <a:lnTo>
                    <a:pt x="1780533" y="1087041"/>
                  </a:lnTo>
                  <a:lnTo>
                    <a:pt x="1769844" y="1131867"/>
                  </a:lnTo>
                  <a:lnTo>
                    <a:pt x="1756951" y="1175794"/>
                  </a:lnTo>
                  <a:lnTo>
                    <a:pt x="1741915" y="1218760"/>
                  </a:lnTo>
                  <a:lnTo>
                    <a:pt x="1724798" y="1260703"/>
                  </a:lnTo>
                  <a:lnTo>
                    <a:pt x="1705664" y="1301561"/>
                  </a:lnTo>
                  <a:lnTo>
                    <a:pt x="1684573" y="1341272"/>
                  </a:lnTo>
                  <a:lnTo>
                    <a:pt x="1661589" y="1379773"/>
                  </a:lnTo>
                  <a:lnTo>
                    <a:pt x="1636773" y="1417002"/>
                  </a:lnTo>
                  <a:lnTo>
                    <a:pt x="1610188" y="1452897"/>
                  </a:lnTo>
                  <a:lnTo>
                    <a:pt x="1581895" y="1487397"/>
                  </a:lnTo>
                  <a:lnTo>
                    <a:pt x="1551958" y="1520437"/>
                  </a:lnTo>
                  <a:lnTo>
                    <a:pt x="1520437" y="1551958"/>
                  </a:lnTo>
                  <a:lnTo>
                    <a:pt x="1487397" y="1581895"/>
                  </a:lnTo>
                  <a:lnTo>
                    <a:pt x="1452897" y="1610188"/>
                  </a:lnTo>
                  <a:lnTo>
                    <a:pt x="1417002" y="1636773"/>
                  </a:lnTo>
                  <a:lnTo>
                    <a:pt x="1379773" y="1661589"/>
                  </a:lnTo>
                  <a:lnTo>
                    <a:pt x="1341272" y="1684573"/>
                  </a:lnTo>
                  <a:lnTo>
                    <a:pt x="1301561" y="1705664"/>
                  </a:lnTo>
                  <a:lnTo>
                    <a:pt x="1260703" y="1724798"/>
                  </a:lnTo>
                  <a:lnTo>
                    <a:pt x="1218760" y="1741915"/>
                  </a:lnTo>
                  <a:lnTo>
                    <a:pt x="1175794" y="1756951"/>
                  </a:lnTo>
                  <a:lnTo>
                    <a:pt x="1131867" y="1769844"/>
                  </a:lnTo>
                  <a:lnTo>
                    <a:pt x="1087041" y="1780533"/>
                  </a:lnTo>
                  <a:lnTo>
                    <a:pt x="1041379" y="1788955"/>
                  </a:lnTo>
                  <a:lnTo>
                    <a:pt x="994943" y="1795047"/>
                  </a:lnTo>
                  <a:lnTo>
                    <a:pt x="947795" y="1798748"/>
                  </a:lnTo>
                  <a:lnTo>
                    <a:pt x="899998" y="1799996"/>
                  </a:lnTo>
                  <a:lnTo>
                    <a:pt x="852200" y="1798748"/>
                  </a:lnTo>
                  <a:lnTo>
                    <a:pt x="805052" y="1795047"/>
                  </a:lnTo>
                  <a:lnTo>
                    <a:pt x="758616" y="1788955"/>
                  </a:lnTo>
                  <a:lnTo>
                    <a:pt x="712954" y="1780533"/>
                  </a:lnTo>
                  <a:lnTo>
                    <a:pt x="668129" y="1769844"/>
                  </a:lnTo>
                  <a:lnTo>
                    <a:pt x="624202" y="1756951"/>
                  </a:lnTo>
                  <a:lnTo>
                    <a:pt x="581236" y="1741915"/>
                  </a:lnTo>
                  <a:lnTo>
                    <a:pt x="539292" y="1724798"/>
                  </a:lnTo>
                  <a:lnTo>
                    <a:pt x="498434" y="1705664"/>
                  </a:lnTo>
                  <a:lnTo>
                    <a:pt x="458724" y="1684573"/>
                  </a:lnTo>
                  <a:lnTo>
                    <a:pt x="420223" y="1661589"/>
                  </a:lnTo>
                  <a:lnTo>
                    <a:pt x="382993" y="1636773"/>
                  </a:lnTo>
                  <a:lnTo>
                    <a:pt x="347098" y="1610188"/>
                  </a:lnTo>
                  <a:lnTo>
                    <a:pt x="312599" y="1581895"/>
                  </a:lnTo>
                  <a:lnTo>
                    <a:pt x="279558" y="1551958"/>
                  </a:lnTo>
                  <a:lnTo>
                    <a:pt x="248038" y="1520437"/>
                  </a:lnTo>
                  <a:lnTo>
                    <a:pt x="218100" y="1487397"/>
                  </a:lnTo>
                  <a:lnTo>
                    <a:pt x="189808" y="1452897"/>
                  </a:lnTo>
                  <a:lnTo>
                    <a:pt x="163222" y="1417002"/>
                  </a:lnTo>
                  <a:lnTo>
                    <a:pt x="138406" y="1379773"/>
                  </a:lnTo>
                  <a:lnTo>
                    <a:pt x="115422" y="1341272"/>
                  </a:lnTo>
                  <a:lnTo>
                    <a:pt x="94332" y="1301561"/>
                  </a:lnTo>
                  <a:lnTo>
                    <a:pt x="75197" y="1260703"/>
                  </a:lnTo>
                  <a:lnTo>
                    <a:pt x="58081" y="1218760"/>
                  </a:lnTo>
                  <a:lnTo>
                    <a:pt x="43044" y="1175794"/>
                  </a:lnTo>
                  <a:lnTo>
                    <a:pt x="30151" y="1131867"/>
                  </a:lnTo>
                  <a:lnTo>
                    <a:pt x="19462" y="1087041"/>
                  </a:lnTo>
                  <a:lnTo>
                    <a:pt x="11041" y="1041379"/>
                  </a:lnTo>
                  <a:lnTo>
                    <a:pt x="4948" y="994943"/>
                  </a:lnTo>
                  <a:lnTo>
                    <a:pt x="1247" y="947795"/>
                  </a:lnTo>
                  <a:lnTo>
                    <a:pt x="0" y="899998"/>
                  </a:lnTo>
                  <a:lnTo>
                    <a:pt x="1247" y="852199"/>
                  </a:lnTo>
                  <a:lnTo>
                    <a:pt x="4948" y="805050"/>
                  </a:lnTo>
                  <a:lnTo>
                    <a:pt x="11041" y="758613"/>
                  </a:lnTo>
                  <a:lnTo>
                    <a:pt x="19462" y="712950"/>
                  </a:lnTo>
                  <a:lnTo>
                    <a:pt x="30151" y="668124"/>
                  </a:lnTo>
                  <a:lnTo>
                    <a:pt x="43044" y="624197"/>
                  </a:lnTo>
                  <a:lnTo>
                    <a:pt x="58081" y="581230"/>
                  </a:lnTo>
                  <a:lnTo>
                    <a:pt x="75197" y="539287"/>
                  </a:lnTo>
                  <a:lnTo>
                    <a:pt x="94332" y="498429"/>
                  </a:lnTo>
                  <a:lnTo>
                    <a:pt x="115422" y="458718"/>
                  </a:lnTo>
                  <a:lnTo>
                    <a:pt x="138406" y="420217"/>
                  </a:lnTo>
                  <a:lnTo>
                    <a:pt x="163222" y="382988"/>
                  </a:lnTo>
                  <a:lnTo>
                    <a:pt x="189808" y="347093"/>
                  </a:lnTo>
                  <a:lnTo>
                    <a:pt x="218100" y="312594"/>
                  </a:lnTo>
                  <a:lnTo>
                    <a:pt x="248038" y="279553"/>
                  </a:lnTo>
                  <a:lnTo>
                    <a:pt x="279558" y="248033"/>
                  </a:lnTo>
                  <a:lnTo>
                    <a:pt x="312599" y="218096"/>
                  </a:lnTo>
                  <a:lnTo>
                    <a:pt x="347098" y="189804"/>
                  </a:lnTo>
                  <a:lnTo>
                    <a:pt x="382993" y="163219"/>
                  </a:lnTo>
                  <a:lnTo>
                    <a:pt x="420223" y="138403"/>
                  </a:lnTo>
                  <a:lnTo>
                    <a:pt x="458724" y="115419"/>
                  </a:lnTo>
                  <a:lnTo>
                    <a:pt x="498434" y="94329"/>
                  </a:lnTo>
                  <a:lnTo>
                    <a:pt x="539292" y="75195"/>
                  </a:lnTo>
                  <a:lnTo>
                    <a:pt x="581236" y="58079"/>
                  </a:lnTo>
                  <a:lnTo>
                    <a:pt x="624202" y="43043"/>
                  </a:lnTo>
                  <a:lnTo>
                    <a:pt x="668129" y="30150"/>
                  </a:lnTo>
                  <a:lnTo>
                    <a:pt x="712954" y="19462"/>
                  </a:lnTo>
                  <a:lnTo>
                    <a:pt x="758616" y="11040"/>
                  </a:lnTo>
                  <a:lnTo>
                    <a:pt x="805052" y="4948"/>
                  </a:lnTo>
                  <a:lnTo>
                    <a:pt x="852200" y="1247"/>
                  </a:lnTo>
                  <a:lnTo>
                    <a:pt x="899998" y="0"/>
                  </a:lnTo>
                  <a:lnTo>
                    <a:pt x="947795" y="1247"/>
                  </a:lnTo>
                  <a:lnTo>
                    <a:pt x="994943" y="4948"/>
                  </a:lnTo>
                  <a:lnTo>
                    <a:pt x="1041379" y="11040"/>
                  </a:lnTo>
                  <a:lnTo>
                    <a:pt x="1087041" y="19462"/>
                  </a:lnTo>
                  <a:lnTo>
                    <a:pt x="1131867" y="30150"/>
                  </a:lnTo>
                  <a:lnTo>
                    <a:pt x="1175794" y="43043"/>
                  </a:lnTo>
                  <a:lnTo>
                    <a:pt x="1218760" y="58079"/>
                  </a:lnTo>
                  <a:lnTo>
                    <a:pt x="1260703" y="75195"/>
                  </a:lnTo>
                  <a:lnTo>
                    <a:pt x="1301561" y="94329"/>
                  </a:lnTo>
                  <a:lnTo>
                    <a:pt x="1341272" y="115419"/>
                  </a:lnTo>
                  <a:lnTo>
                    <a:pt x="1379773" y="138403"/>
                  </a:lnTo>
                  <a:lnTo>
                    <a:pt x="1417002" y="163219"/>
                  </a:lnTo>
                  <a:lnTo>
                    <a:pt x="1452897" y="189804"/>
                  </a:lnTo>
                  <a:lnTo>
                    <a:pt x="1487397" y="218096"/>
                  </a:lnTo>
                  <a:lnTo>
                    <a:pt x="1520437" y="248033"/>
                  </a:lnTo>
                  <a:lnTo>
                    <a:pt x="1551958" y="279553"/>
                  </a:lnTo>
                  <a:lnTo>
                    <a:pt x="1581895" y="312594"/>
                  </a:lnTo>
                  <a:lnTo>
                    <a:pt x="1610188" y="347093"/>
                  </a:lnTo>
                  <a:lnTo>
                    <a:pt x="1636773" y="382988"/>
                  </a:lnTo>
                  <a:lnTo>
                    <a:pt x="1661589" y="420217"/>
                  </a:lnTo>
                  <a:lnTo>
                    <a:pt x="1684573" y="458718"/>
                  </a:lnTo>
                  <a:lnTo>
                    <a:pt x="1705664" y="498429"/>
                  </a:lnTo>
                  <a:lnTo>
                    <a:pt x="1724798" y="539287"/>
                  </a:lnTo>
                  <a:lnTo>
                    <a:pt x="1741915" y="581230"/>
                  </a:lnTo>
                  <a:lnTo>
                    <a:pt x="1756951" y="624197"/>
                  </a:lnTo>
                  <a:lnTo>
                    <a:pt x="1769844" y="668124"/>
                  </a:lnTo>
                  <a:lnTo>
                    <a:pt x="1780533" y="712950"/>
                  </a:lnTo>
                  <a:lnTo>
                    <a:pt x="1788955" y="758613"/>
                  </a:lnTo>
                  <a:lnTo>
                    <a:pt x="1795047" y="805050"/>
                  </a:lnTo>
                  <a:lnTo>
                    <a:pt x="1798748" y="852199"/>
                  </a:lnTo>
                  <a:lnTo>
                    <a:pt x="1799996" y="899998"/>
                  </a:lnTo>
                  <a:close/>
                </a:path>
              </a:pathLst>
            </a:custGeom>
            <a:ln w="25400">
              <a:solidFill>
                <a:srgbClr val="231F20"/>
              </a:solidFill>
            </a:ln>
          </p:spPr>
          <p:txBody>
            <a:bodyPr wrap="square" lIns="0" tIns="0" rIns="0" bIns="0" rtlCol="0"/>
            <a:lstStyle/>
            <a:p>
              <a:endParaRPr sz="649"/>
            </a:p>
          </p:txBody>
        </p:sp>
        <p:pic>
          <p:nvPicPr>
            <p:cNvPr id="23" name="object 23"/>
            <p:cNvPicPr/>
            <p:nvPr/>
          </p:nvPicPr>
          <p:blipFill>
            <a:blip r:embed="rId5" cstate="print"/>
            <a:stretch>
              <a:fillRect/>
            </a:stretch>
          </p:blipFill>
          <p:spPr>
            <a:xfrm>
              <a:off x="1286979" y="770788"/>
              <a:ext cx="581469" cy="651789"/>
            </a:xfrm>
            <a:prstGeom prst="rect">
              <a:avLst/>
            </a:prstGeom>
          </p:spPr>
        </p:pic>
        <p:sp>
          <p:nvSpPr>
            <p:cNvPr id="24" name="object 24"/>
            <p:cNvSpPr/>
            <p:nvPr/>
          </p:nvSpPr>
          <p:spPr>
            <a:xfrm>
              <a:off x="1286984" y="770801"/>
              <a:ext cx="581660" cy="652145"/>
            </a:xfrm>
            <a:custGeom>
              <a:avLst/>
              <a:gdLst/>
              <a:ahLst/>
              <a:cxnLst/>
              <a:rect l="l" t="t" r="r" b="b"/>
              <a:pathLst>
                <a:path w="581660" h="652144">
                  <a:moveTo>
                    <a:pt x="286600" y="651776"/>
                  </a:moveTo>
                  <a:lnTo>
                    <a:pt x="0" y="0"/>
                  </a:lnTo>
                  <a:lnTo>
                    <a:pt x="119786" y="0"/>
                  </a:lnTo>
                  <a:lnTo>
                    <a:pt x="128117" y="0"/>
                  </a:lnTo>
                  <a:lnTo>
                    <a:pt x="134150" y="1117"/>
                  </a:lnTo>
                  <a:lnTo>
                    <a:pt x="137883" y="3352"/>
                  </a:lnTo>
                  <a:lnTo>
                    <a:pt x="141604" y="5575"/>
                  </a:lnTo>
                  <a:lnTo>
                    <a:pt x="145097" y="9232"/>
                  </a:lnTo>
                  <a:lnTo>
                    <a:pt x="148386" y="14300"/>
                  </a:lnTo>
                  <a:lnTo>
                    <a:pt x="294982" y="349618"/>
                  </a:lnTo>
                  <a:lnTo>
                    <a:pt x="318445" y="296061"/>
                  </a:lnTo>
                  <a:lnTo>
                    <a:pt x="368615" y="181727"/>
                  </a:lnTo>
                  <a:lnTo>
                    <a:pt x="418507" y="68065"/>
                  </a:lnTo>
                  <a:lnTo>
                    <a:pt x="441134" y="16522"/>
                  </a:lnTo>
                  <a:lnTo>
                    <a:pt x="460654" y="0"/>
                  </a:lnTo>
                  <a:lnTo>
                    <a:pt x="466610" y="0"/>
                  </a:lnTo>
                  <a:lnTo>
                    <a:pt x="581469" y="0"/>
                  </a:lnTo>
                  <a:lnTo>
                    <a:pt x="286600" y="651776"/>
                  </a:lnTo>
                  <a:close/>
                </a:path>
              </a:pathLst>
            </a:custGeom>
            <a:ln w="7620">
              <a:solidFill>
                <a:srgbClr val="72BF44"/>
              </a:solidFill>
            </a:ln>
          </p:spPr>
          <p:txBody>
            <a:bodyPr wrap="square" lIns="0" tIns="0" rIns="0" bIns="0" rtlCol="0"/>
            <a:lstStyle/>
            <a:p>
              <a:endParaRPr sz="649"/>
            </a:p>
          </p:txBody>
        </p:sp>
      </p:grpSp>
      <p:grpSp>
        <p:nvGrpSpPr>
          <p:cNvPr id="25" name="object 25"/>
          <p:cNvGrpSpPr/>
          <p:nvPr/>
        </p:nvGrpSpPr>
        <p:grpSpPr>
          <a:xfrm>
            <a:off x="3910876" y="370356"/>
            <a:ext cx="878392" cy="942553"/>
            <a:chOff x="2404188" y="769735"/>
            <a:chExt cx="1825625" cy="1958975"/>
          </a:xfrm>
        </p:grpSpPr>
        <p:sp>
          <p:nvSpPr>
            <p:cNvPr id="26" name="object 26"/>
            <p:cNvSpPr/>
            <p:nvPr/>
          </p:nvSpPr>
          <p:spPr>
            <a:xfrm>
              <a:off x="3823511" y="1353726"/>
              <a:ext cx="259079" cy="86995"/>
            </a:xfrm>
            <a:custGeom>
              <a:avLst/>
              <a:gdLst/>
              <a:ahLst/>
              <a:cxnLst/>
              <a:rect l="l" t="t" r="r" b="b"/>
              <a:pathLst>
                <a:path w="259079" h="86994">
                  <a:moveTo>
                    <a:pt x="258584" y="0"/>
                  </a:moveTo>
                  <a:lnTo>
                    <a:pt x="146707" y="35342"/>
                  </a:lnTo>
                  <a:lnTo>
                    <a:pt x="65760" y="62798"/>
                  </a:lnTo>
                  <a:lnTo>
                    <a:pt x="16579" y="80581"/>
                  </a:lnTo>
                  <a:lnTo>
                    <a:pt x="0" y="86906"/>
                  </a:lnTo>
                </a:path>
              </a:pathLst>
            </a:custGeom>
            <a:ln w="38100">
              <a:solidFill>
                <a:srgbClr val="231F20"/>
              </a:solidFill>
            </a:ln>
          </p:spPr>
          <p:txBody>
            <a:bodyPr wrap="square" lIns="0" tIns="0" rIns="0" bIns="0" rtlCol="0"/>
            <a:lstStyle/>
            <a:p>
              <a:endParaRPr sz="649"/>
            </a:p>
          </p:txBody>
        </p:sp>
        <p:sp>
          <p:nvSpPr>
            <p:cNvPr id="27" name="object 27"/>
            <p:cNvSpPr/>
            <p:nvPr/>
          </p:nvSpPr>
          <p:spPr>
            <a:xfrm>
              <a:off x="2901346" y="1078176"/>
              <a:ext cx="922019" cy="895350"/>
            </a:xfrm>
            <a:custGeom>
              <a:avLst/>
              <a:gdLst/>
              <a:ahLst/>
              <a:cxnLst/>
              <a:rect l="l" t="t" r="r" b="b"/>
              <a:pathLst>
                <a:path w="922020" h="895350">
                  <a:moveTo>
                    <a:pt x="680997" y="0"/>
                  </a:moveTo>
                  <a:lnTo>
                    <a:pt x="749860" y="36872"/>
                  </a:lnTo>
                  <a:lnTo>
                    <a:pt x="806744" y="71370"/>
                  </a:lnTo>
                  <a:lnTo>
                    <a:pt x="862408" y="107001"/>
                  </a:lnTo>
                  <a:lnTo>
                    <a:pt x="904710" y="136583"/>
                  </a:lnTo>
                  <a:lnTo>
                    <a:pt x="921509" y="152933"/>
                  </a:lnTo>
                  <a:lnTo>
                    <a:pt x="920798" y="173540"/>
                  </a:lnTo>
                  <a:lnTo>
                    <a:pt x="918797" y="218819"/>
                  </a:lnTo>
                  <a:lnTo>
                    <a:pt x="915707" y="280468"/>
                  </a:lnTo>
                  <a:lnTo>
                    <a:pt x="911729" y="350188"/>
                  </a:lnTo>
                  <a:lnTo>
                    <a:pt x="907061" y="419678"/>
                  </a:lnTo>
                  <a:lnTo>
                    <a:pt x="901905" y="480640"/>
                  </a:lnTo>
                  <a:lnTo>
                    <a:pt x="896460" y="524772"/>
                  </a:lnTo>
                  <a:lnTo>
                    <a:pt x="855337" y="564050"/>
                  </a:lnTo>
                  <a:lnTo>
                    <a:pt x="818489" y="584614"/>
                  </a:lnTo>
                  <a:lnTo>
                    <a:pt x="771815" y="610493"/>
                  </a:lnTo>
                  <a:lnTo>
                    <a:pt x="717471" y="640459"/>
                  </a:lnTo>
                  <a:lnTo>
                    <a:pt x="657614" y="673284"/>
                  </a:lnTo>
                  <a:lnTo>
                    <a:pt x="594401" y="707741"/>
                  </a:lnTo>
                  <a:lnTo>
                    <a:pt x="529989" y="742602"/>
                  </a:lnTo>
                  <a:lnTo>
                    <a:pt x="466534" y="776640"/>
                  </a:lnTo>
                  <a:lnTo>
                    <a:pt x="406194" y="808627"/>
                  </a:lnTo>
                  <a:lnTo>
                    <a:pt x="351124" y="837335"/>
                  </a:lnTo>
                  <a:lnTo>
                    <a:pt x="303483" y="861537"/>
                  </a:lnTo>
                  <a:lnTo>
                    <a:pt x="265426" y="880005"/>
                  </a:lnTo>
                  <a:lnTo>
                    <a:pt x="226692" y="894829"/>
                  </a:lnTo>
                  <a:lnTo>
                    <a:pt x="201751" y="878691"/>
                  </a:lnTo>
                  <a:lnTo>
                    <a:pt x="159309" y="843027"/>
                  </a:lnTo>
                  <a:lnTo>
                    <a:pt x="108788" y="797171"/>
                  </a:lnTo>
                  <a:lnTo>
                    <a:pt x="59612" y="750453"/>
                  </a:lnTo>
                  <a:lnTo>
                    <a:pt x="21202" y="712208"/>
                  </a:lnTo>
                  <a:lnTo>
                    <a:pt x="852" y="670666"/>
                  </a:lnTo>
                  <a:lnTo>
                    <a:pt x="0" y="622967"/>
                  </a:lnTo>
                  <a:lnTo>
                    <a:pt x="213" y="557672"/>
                  </a:lnTo>
                  <a:lnTo>
                    <a:pt x="1280" y="483779"/>
                  </a:lnTo>
                  <a:lnTo>
                    <a:pt x="2990" y="410288"/>
                  </a:lnTo>
                  <a:lnTo>
                    <a:pt x="5132" y="346199"/>
                  </a:lnTo>
                  <a:lnTo>
                    <a:pt x="7494" y="300509"/>
                  </a:lnTo>
                  <a:lnTo>
                    <a:pt x="52750" y="261783"/>
                  </a:lnTo>
                  <a:lnTo>
                    <a:pt x="95405" y="242775"/>
                  </a:lnTo>
                  <a:lnTo>
                    <a:pt x="148665" y="219435"/>
                  </a:lnTo>
                  <a:lnTo>
                    <a:pt x="209877" y="192910"/>
                  </a:lnTo>
                  <a:lnTo>
                    <a:pt x="276390" y="164346"/>
                  </a:lnTo>
                  <a:lnTo>
                    <a:pt x="345550" y="134889"/>
                  </a:lnTo>
                  <a:lnTo>
                    <a:pt x="414705" y="105687"/>
                  </a:lnTo>
                  <a:lnTo>
                    <a:pt x="481203" y="77884"/>
                  </a:lnTo>
                  <a:lnTo>
                    <a:pt x="542391" y="52628"/>
                  </a:lnTo>
                  <a:lnTo>
                    <a:pt x="595617" y="31066"/>
                  </a:lnTo>
                  <a:lnTo>
                    <a:pt x="638228" y="14342"/>
                  </a:lnTo>
                  <a:lnTo>
                    <a:pt x="680997" y="0"/>
                  </a:lnTo>
                  <a:close/>
                </a:path>
              </a:pathLst>
            </a:custGeom>
            <a:ln w="25399">
              <a:solidFill>
                <a:srgbClr val="231F20"/>
              </a:solidFill>
            </a:ln>
          </p:spPr>
          <p:txBody>
            <a:bodyPr wrap="square" lIns="0" tIns="0" rIns="0" bIns="0" rtlCol="0"/>
            <a:lstStyle/>
            <a:p>
              <a:endParaRPr sz="649"/>
            </a:p>
          </p:txBody>
        </p:sp>
        <p:sp>
          <p:nvSpPr>
            <p:cNvPr id="28" name="object 28"/>
            <p:cNvSpPr/>
            <p:nvPr/>
          </p:nvSpPr>
          <p:spPr>
            <a:xfrm>
              <a:off x="2918099" y="1233049"/>
              <a:ext cx="908685" cy="327025"/>
            </a:xfrm>
            <a:custGeom>
              <a:avLst/>
              <a:gdLst/>
              <a:ahLst/>
              <a:cxnLst/>
              <a:rect l="l" t="t" r="r" b="b"/>
              <a:pathLst>
                <a:path w="908685" h="327025">
                  <a:moveTo>
                    <a:pt x="0" y="127342"/>
                  </a:moveTo>
                  <a:lnTo>
                    <a:pt x="25554" y="149524"/>
                  </a:lnTo>
                  <a:lnTo>
                    <a:pt x="69890" y="188561"/>
                  </a:lnTo>
                  <a:lnTo>
                    <a:pt x="122956" y="235138"/>
                  </a:lnTo>
                  <a:lnTo>
                    <a:pt x="174703" y="279941"/>
                  </a:lnTo>
                  <a:lnTo>
                    <a:pt x="215079" y="313653"/>
                  </a:lnTo>
                  <a:lnTo>
                    <a:pt x="234035" y="326961"/>
                  </a:lnTo>
                  <a:lnTo>
                    <a:pt x="244200" y="322875"/>
                  </a:lnTo>
                  <a:lnTo>
                    <a:pt x="306903" y="293574"/>
                  </a:lnTo>
                  <a:lnTo>
                    <a:pt x="354866" y="270615"/>
                  </a:lnTo>
                  <a:lnTo>
                    <a:pt x="410852" y="243621"/>
                  </a:lnTo>
                  <a:lnTo>
                    <a:pt x="472572" y="213721"/>
                  </a:lnTo>
                  <a:lnTo>
                    <a:pt x="537740" y="182043"/>
                  </a:lnTo>
                  <a:lnTo>
                    <a:pt x="604066" y="149715"/>
                  </a:lnTo>
                  <a:lnTo>
                    <a:pt x="669263" y="117866"/>
                  </a:lnTo>
                  <a:lnTo>
                    <a:pt x="731043" y="87623"/>
                  </a:lnTo>
                  <a:lnTo>
                    <a:pt x="787117" y="60116"/>
                  </a:lnTo>
                  <a:lnTo>
                    <a:pt x="835197" y="36471"/>
                  </a:lnTo>
                  <a:lnTo>
                    <a:pt x="872996" y="17818"/>
                  </a:lnTo>
                  <a:lnTo>
                    <a:pt x="898225" y="5285"/>
                  </a:lnTo>
                  <a:lnTo>
                    <a:pt x="908596" y="0"/>
                  </a:lnTo>
                </a:path>
              </a:pathLst>
            </a:custGeom>
            <a:ln w="12700">
              <a:solidFill>
                <a:srgbClr val="231F20"/>
              </a:solidFill>
            </a:ln>
          </p:spPr>
          <p:txBody>
            <a:bodyPr wrap="square" lIns="0" tIns="0" rIns="0" bIns="0" rtlCol="0"/>
            <a:lstStyle/>
            <a:p>
              <a:endParaRPr sz="649"/>
            </a:p>
          </p:txBody>
        </p:sp>
        <p:sp>
          <p:nvSpPr>
            <p:cNvPr id="29" name="object 29"/>
            <p:cNvSpPr/>
            <p:nvPr/>
          </p:nvSpPr>
          <p:spPr>
            <a:xfrm>
              <a:off x="2670094" y="1645311"/>
              <a:ext cx="412115" cy="268605"/>
            </a:xfrm>
            <a:custGeom>
              <a:avLst/>
              <a:gdLst/>
              <a:ahLst/>
              <a:cxnLst/>
              <a:rect l="l" t="t" r="r" b="b"/>
              <a:pathLst>
                <a:path w="412114" h="268605">
                  <a:moveTo>
                    <a:pt x="335572" y="0"/>
                  </a:moveTo>
                  <a:lnTo>
                    <a:pt x="260973" y="29298"/>
                  </a:lnTo>
                  <a:lnTo>
                    <a:pt x="214394" y="52392"/>
                  </a:lnTo>
                  <a:lnTo>
                    <a:pt x="172281" y="86860"/>
                  </a:lnTo>
                  <a:lnTo>
                    <a:pt x="161845" y="97277"/>
                  </a:lnTo>
                  <a:lnTo>
                    <a:pt x="150634" y="104825"/>
                  </a:lnTo>
                  <a:lnTo>
                    <a:pt x="120641" y="121017"/>
                  </a:lnTo>
                  <a:lnTo>
                    <a:pt x="69578" y="150009"/>
                  </a:lnTo>
                  <a:lnTo>
                    <a:pt x="21384" y="178338"/>
                  </a:lnTo>
                  <a:lnTo>
                    <a:pt x="0" y="192544"/>
                  </a:lnTo>
                  <a:lnTo>
                    <a:pt x="48704" y="268312"/>
                  </a:lnTo>
                  <a:lnTo>
                    <a:pt x="74034" y="253901"/>
                  </a:lnTo>
                  <a:lnTo>
                    <a:pt x="123671" y="224410"/>
                  </a:lnTo>
                  <a:lnTo>
                    <a:pt x="173971" y="195141"/>
                  </a:lnTo>
                  <a:lnTo>
                    <a:pt x="201295" y="181394"/>
                  </a:lnTo>
                  <a:lnTo>
                    <a:pt x="217196" y="178796"/>
                  </a:lnTo>
                  <a:lnTo>
                    <a:pt x="242812" y="173880"/>
                  </a:lnTo>
                  <a:lnTo>
                    <a:pt x="268869" y="168304"/>
                  </a:lnTo>
                  <a:lnTo>
                    <a:pt x="286092" y="163728"/>
                  </a:lnTo>
                  <a:lnTo>
                    <a:pt x="307931" y="153618"/>
                  </a:lnTo>
                  <a:lnTo>
                    <a:pt x="380311" y="117492"/>
                  </a:lnTo>
                  <a:lnTo>
                    <a:pt x="401535" y="107175"/>
                  </a:lnTo>
                  <a:lnTo>
                    <a:pt x="408347" y="99099"/>
                  </a:lnTo>
                  <a:lnTo>
                    <a:pt x="411516" y="85342"/>
                  </a:lnTo>
                  <a:lnTo>
                    <a:pt x="410578" y="70726"/>
                  </a:lnTo>
                  <a:lnTo>
                    <a:pt x="405066" y="60070"/>
                  </a:lnTo>
                  <a:lnTo>
                    <a:pt x="369438" y="26935"/>
                  </a:lnTo>
                  <a:lnTo>
                    <a:pt x="348418" y="8552"/>
                  </a:lnTo>
                  <a:lnTo>
                    <a:pt x="335572" y="0"/>
                  </a:lnTo>
                  <a:close/>
                </a:path>
              </a:pathLst>
            </a:custGeom>
            <a:solidFill>
              <a:srgbClr val="FFFFFF"/>
            </a:solidFill>
          </p:spPr>
          <p:txBody>
            <a:bodyPr wrap="square" lIns="0" tIns="0" rIns="0" bIns="0" rtlCol="0"/>
            <a:lstStyle/>
            <a:p>
              <a:endParaRPr sz="649"/>
            </a:p>
          </p:txBody>
        </p:sp>
        <p:sp>
          <p:nvSpPr>
            <p:cNvPr id="30" name="object 30"/>
            <p:cNvSpPr/>
            <p:nvPr/>
          </p:nvSpPr>
          <p:spPr>
            <a:xfrm>
              <a:off x="2670094" y="1645311"/>
              <a:ext cx="412115" cy="268605"/>
            </a:xfrm>
            <a:custGeom>
              <a:avLst/>
              <a:gdLst/>
              <a:ahLst/>
              <a:cxnLst/>
              <a:rect l="l" t="t" r="r" b="b"/>
              <a:pathLst>
                <a:path w="412114" h="268605">
                  <a:moveTo>
                    <a:pt x="48704" y="268312"/>
                  </a:moveTo>
                  <a:lnTo>
                    <a:pt x="74034" y="253901"/>
                  </a:lnTo>
                  <a:lnTo>
                    <a:pt x="123671" y="224410"/>
                  </a:lnTo>
                  <a:lnTo>
                    <a:pt x="173971" y="195141"/>
                  </a:lnTo>
                  <a:lnTo>
                    <a:pt x="201295" y="181394"/>
                  </a:lnTo>
                  <a:lnTo>
                    <a:pt x="217196" y="178796"/>
                  </a:lnTo>
                  <a:lnTo>
                    <a:pt x="242812" y="173880"/>
                  </a:lnTo>
                  <a:lnTo>
                    <a:pt x="286092" y="163728"/>
                  </a:lnTo>
                  <a:lnTo>
                    <a:pt x="344223" y="135589"/>
                  </a:lnTo>
                  <a:lnTo>
                    <a:pt x="380311" y="117492"/>
                  </a:lnTo>
                  <a:lnTo>
                    <a:pt x="401535" y="107175"/>
                  </a:lnTo>
                  <a:lnTo>
                    <a:pt x="408347" y="99099"/>
                  </a:lnTo>
                  <a:lnTo>
                    <a:pt x="411516" y="85342"/>
                  </a:lnTo>
                  <a:lnTo>
                    <a:pt x="410578" y="70726"/>
                  </a:lnTo>
                  <a:lnTo>
                    <a:pt x="369438" y="26935"/>
                  </a:lnTo>
                  <a:lnTo>
                    <a:pt x="335572" y="0"/>
                  </a:lnTo>
                  <a:lnTo>
                    <a:pt x="308336" y="8339"/>
                  </a:lnTo>
                  <a:lnTo>
                    <a:pt x="260973" y="29298"/>
                  </a:lnTo>
                  <a:lnTo>
                    <a:pt x="214394" y="52392"/>
                  </a:lnTo>
                  <a:lnTo>
                    <a:pt x="181613" y="76002"/>
                  </a:lnTo>
                  <a:lnTo>
                    <a:pt x="172281" y="86860"/>
                  </a:lnTo>
                  <a:lnTo>
                    <a:pt x="161845" y="97277"/>
                  </a:lnTo>
                  <a:lnTo>
                    <a:pt x="150634" y="104825"/>
                  </a:lnTo>
                  <a:lnTo>
                    <a:pt x="120641" y="121017"/>
                  </a:lnTo>
                  <a:lnTo>
                    <a:pt x="69578" y="150009"/>
                  </a:lnTo>
                  <a:lnTo>
                    <a:pt x="21384" y="178338"/>
                  </a:lnTo>
                  <a:lnTo>
                    <a:pt x="0" y="192544"/>
                  </a:lnTo>
                </a:path>
              </a:pathLst>
            </a:custGeom>
            <a:ln w="12700">
              <a:solidFill>
                <a:srgbClr val="231F20"/>
              </a:solidFill>
            </a:ln>
          </p:spPr>
          <p:txBody>
            <a:bodyPr wrap="square" lIns="0" tIns="0" rIns="0" bIns="0" rtlCol="0"/>
            <a:lstStyle/>
            <a:p>
              <a:endParaRPr sz="649"/>
            </a:p>
          </p:txBody>
        </p:sp>
        <p:pic>
          <p:nvPicPr>
            <p:cNvPr id="31" name="object 31"/>
            <p:cNvPicPr/>
            <p:nvPr/>
          </p:nvPicPr>
          <p:blipFill>
            <a:blip r:embed="rId6" cstate="print"/>
            <a:stretch>
              <a:fillRect/>
            </a:stretch>
          </p:blipFill>
          <p:spPr>
            <a:xfrm>
              <a:off x="2663690" y="1735461"/>
              <a:ext cx="198640" cy="183502"/>
            </a:xfrm>
            <a:prstGeom prst="rect">
              <a:avLst/>
            </a:prstGeom>
          </p:spPr>
        </p:pic>
        <p:sp>
          <p:nvSpPr>
            <p:cNvPr id="32" name="object 32"/>
            <p:cNvSpPr/>
            <p:nvPr/>
          </p:nvSpPr>
          <p:spPr>
            <a:xfrm>
              <a:off x="2439944" y="1874482"/>
              <a:ext cx="255904" cy="135255"/>
            </a:xfrm>
            <a:custGeom>
              <a:avLst/>
              <a:gdLst/>
              <a:ahLst/>
              <a:cxnLst/>
              <a:rect l="l" t="t" r="r" b="b"/>
              <a:pathLst>
                <a:path w="255905" h="135255">
                  <a:moveTo>
                    <a:pt x="255346" y="0"/>
                  </a:moveTo>
                  <a:lnTo>
                    <a:pt x="220559" y="17942"/>
                  </a:lnTo>
                  <a:lnTo>
                    <a:pt x="175751" y="41758"/>
                  </a:lnTo>
                  <a:lnTo>
                    <a:pt x="126106" y="68414"/>
                  </a:lnTo>
                  <a:lnTo>
                    <a:pt x="76809" y="94881"/>
                  </a:lnTo>
                  <a:lnTo>
                    <a:pt x="33045" y="118125"/>
                  </a:lnTo>
                  <a:lnTo>
                    <a:pt x="0" y="135115"/>
                  </a:lnTo>
                </a:path>
              </a:pathLst>
            </a:custGeom>
            <a:ln w="38100">
              <a:solidFill>
                <a:srgbClr val="231F20"/>
              </a:solidFill>
            </a:ln>
          </p:spPr>
          <p:txBody>
            <a:bodyPr wrap="square" lIns="0" tIns="0" rIns="0" bIns="0" rtlCol="0"/>
            <a:lstStyle/>
            <a:p>
              <a:endParaRPr sz="649"/>
            </a:p>
          </p:txBody>
        </p:sp>
        <p:sp>
          <p:nvSpPr>
            <p:cNvPr id="33" name="object 33"/>
            <p:cNvSpPr/>
            <p:nvPr/>
          </p:nvSpPr>
          <p:spPr>
            <a:xfrm>
              <a:off x="3128039" y="1560008"/>
              <a:ext cx="24130" cy="413384"/>
            </a:xfrm>
            <a:custGeom>
              <a:avLst/>
              <a:gdLst/>
              <a:ahLst/>
              <a:cxnLst/>
              <a:rect l="l" t="t" r="r" b="b"/>
              <a:pathLst>
                <a:path w="24130" h="413385">
                  <a:moveTo>
                    <a:pt x="24091" y="0"/>
                  </a:moveTo>
                  <a:lnTo>
                    <a:pt x="0" y="413004"/>
                  </a:lnTo>
                </a:path>
              </a:pathLst>
            </a:custGeom>
            <a:ln w="12700">
              <a:solidFill>
                <a:srgbClr val="231F20"/>
              </a:solidFill>
            </a:ln>
          </p:spPr>
          <p:txBody>
            <a:bodyPr wrap="square" lIns="0" tIns="0" rIns="0" bIns="0" rtlCol="0"/>
            <a:lstStyle/>
            <a:p>
              <a:endParaRPr sz="649"/>
            </a:p>
          </p:txBody>
        </p:sp>
        <p:sp>
          <p:nvSpPr>
            <p:cNvPr id="34" name="object 34"/>
            <p:cNvSpPr/>
            <p:nvPr/>
          </p:nvSpPr>
          <p:spPr>
            <a:xfrm>
              <a:off x="2416888" y="915976"/>
              <a:ext cx="1800225" cy="1800225"/>
            </a:xfrm>
            <a:custGeom>
              <a:avLst/>
              <a:gdLst/>
              <a:ahLst/>
              <a:cxnLst/>
              <a:rect l="l" t="t" r="r" b="b"/>
              <a:pathLst>
                <a:path w="1800225" h="1800225">
                  <a:moveTo>
                    <a:pt x="1799996" y="899998"/>
                  </a:moveTo>
                  <a:lnTo>
                    <a:pt x="1798748" y="947795"/>
                  </a:lnTo>
                  <a:lnTo>
                    <a:pt x="1795047" y="994943"/>
                  </a:lnTo>
                  <a:lnTo>
                    <a:pt x="1788954" y="1041379"/>
                  </a:lnTo>
                  <a:lnTo>
                    <a:pt x="1780533" y="1087041"/>
                  </a:lnTo>
                  <a:lnTo>
                    <a:pt x="1769844" y="1131867"/>
                  </a:lnTo>
                  <a:lnTo>
                    <a:pt x="1756950" y="1175794"/>
                  </a:lnTo>
                  <a:lnTo>
                    <a:pt x="1741913" y="1218760"/>
                  </a:lnTo>
                  <a:lnTo>
                    <a:pt x="1724797" y="1260703"/>
                  </a:lnTo>
                  <a:lnTo>
                    <a:pt x="1705662" y="1301561"/>
                  </a:lnTo>
                  <a:lnTo>
                    <a:pt x="1684571" y="1341272"/>
                  </a:lnTo>
                  <a:lnTo>
                    <a:pt x="1661586" y="1379773"/>
                  </a:lnTo>
                  <a:lnTo>
                    <a:pt x="1636769" y="1417002"/>
                  </a:lnTo>
                  <a:lnTo>
                    <a:pt x="1610184" y="1452897"/>
                  </a:lnTo>
                  <a:lnTo>
                    <a:pt x="1581891" y="1487397"/>
                  </a:lnTo>
                  <a:lnTo>
                    <a:pt x="1551953" y="1520437"/>
                  </a:lnTo>
                  <a:lnTo>
                    <a:pt x="1520433" y="1551958"/>
                  </a:lnTo>
                  <a:lnTo>
                    <a:pt x="1487391" y="1581895"/>
                  </a:lnTo>
                  <a:lnTo>
                    <a:pt x="1452892" y="1610188"/>
                  </a:lnTo>
                  <a:lnTo>
                    <a:pt x="1416997" y="1636773"/>
                  </a:lnTo>
                  <a:lnTo>
                    <a:pt x="1379767" y="1661589"/>
                  </a:lnTo>
                  <a:lnTo>
                    <a:pt x="1341266" y="1684573"/>
                  </a:lnTo>
                  <a:lnTo>
                    <a:pt x="1301555" y="1705664"/>
                  </a:lnTo>
                  <a:lnTo>
                    <a:pt x="1260698" y="1724798"/>
                  </a:lnTo>
                  <a:lnTo>
                    <a:pt x="1218755" y="1741915"/>
                  </a:lnTo>
                  <a:lnTo>
                    <a:pt x="1175789" y="1756951"/>
                  </a:lnTo>
                  <a:lnTo>
                    <a:pt x="1131862" y="1769844"/>
                  </a:lnTo>
                  <a:lnTo>
                    <a:pt x="1087037" y="1780533"/>
                  </a:lnTo>
                  <a:lnTo>
                    <a:pt x="1041376" y="1788955"/>
                  </a:lnTo>
                  <a:lnTo>
                    <a:pt x="994941" y="1795047"/>
                  </a:lnTo>
                  <a:lnTo>
                    <a:pt x="947794" y="1798748"/>
                  </a:lnTo>
                  <a:lnTo>
                    <a:pt x="899998" y="1799996"/>
                  </a:lnTo>
                  <a:lnTo>
                    <a:pt x="852199" y="1798748"/>
                  </a:lnTo>
                  <a:lnTo>
                    <a:pt x="805050" y="1795047"/>
                  </a:lnTo>
                  <a:lnTo>
                    <a:pt x="758613" y="1788955"/>
                  </a:lnTo>
                  <a:lnTo>
                    <a:pt x="712950" y="1780533"/>
                  </a:lnTo>
                  <a:lnTo>
                    <a:pt x="668124" y="1769844"/>
                  </a:lnTo>
                  <a:lnTo>
                    <a:pt x="624197" y="1756951"/>
                  </a:lnTo>
                  <a:lnTo>
                    <a:pt x="581230" y="1741915"/>
                  </a:lnTo>
                  <a:lnTo>
                    <a:pt x="539287" y="1724798"/>
                  </a:lnTo>
                  <a:lnTo>
                    <a:pt x="498429" y="1705664"/>
                  </a:lnTo>
                  <a:lnTo>
                    <a:pt x="458718" y="1684573"/>
                  </a:lnTo>
                  <a:lnTo>
                    <a:pt x="420217" y="1661589"/>
                  </a:lnTo>
                  <a:lnTo>
                    <a:pt x="382988" y="1636773"/>
                  </a:lnTo>
                  <a:lnTo>
                    <a:pt x="347093" y="1610188"/>
                  </a:lnTo>
                  <a:lnTo>
                    <a:pt x="312594" y="1581895"/>
                  </a:lnTo>
                  <a:lnTo>
                    <a:pt x="279553" y="1551958"/>
                  </a:lnTo>
                  <a:lnTo>
                    <a:pt x="248033" y="1520437"/>
                  </a:lnTo>
                  <a:lnTo>
                    <a:pt x="218096" y="1487397"/>
                  </a:lnTo>
                  <a:lnTo>
                    <a:pt x="189804" y="1452897"/>
                  </a:lnTo>
                  <a:lnTo>
                    <a:pt x="163219" y="1417002"/>
                  </a:lnTo>
                  <a:lnTo>
                    <a:pt x="138403" y="1379773"/>
                  </a:lnTo>
                  <a:lnTo>
                    <a:pt x="115419" y="1341272"/>
                  </a:lnTo>
                  <a:lnTo>
                    <a:pt x="94329" y="1301561"/>
                  </a:lnTo>
                  <a:lnTo>
                    <a:pt x="75195" y="1260703"/>
                  </a:lnTo>
                  <a:lnTo>
                    <a:pt x="58079" y="1218760"/>
                  </a:lnTo>
                  <a:lnTo>
                    <a:pt x="43043" y="1175794"/>
                  </a:lnTo>
                  <a:lnTo>
                    <a:pt x="30150" y="1131867"/>
                  </a:lnTo>
                  <a:lnTo>
                    <a:pt x="19462" y="1087041"/>
                  </a:lnTo>
                  <a:lnTo>
                    <a:pt x="11040" y="1041379"/>
                  </a:lnTo>
                  <a:lnTo>
                    <a:pt x="4948" y="994943"/>
                  </a:lnTo>
                  <a:lnTo>
                    <a:pt x="1247" y="947795"/>
                  </a:lnTo>
                  <a:lnTo>
                    <a:pt x="0" y="899998"/>
                  </a:lnTo>
                  <a:lnTo>
                    <a:pt x="1247" y="852199"/>
                  </a:lnTo>
                  <a:lnTo>
                    <a:pt x="4948" y="805050"/>
                  </a:lnTo>
                  <a:lnTo>
                    <a:pt x="11040" y="758613"/>
                  </a:lnTo>
                  <a:lnTo>
                    <a:pt x="19462" y="712950"/>
                  </a:lnTo>
                  <a:lnTo>
                    <a:pt x="30150" y="668124"/>
                  </a:lnTo>
                  <a:lnTo>
                    <a:pt x="43043" y="624197"/>
                  </a:lnTo>
                  <a:lnTo>
                    <a:pt x="58079" y="581230"/>
                  </a:lnTo>
                  <a:lnTo>
                    <a:pt x="75195" y="539287"/>
                  </a:lnTo>
                  <a:lnTo>
                    <a:pt x="94329" y="498429"/>
                  </a:lnTo>
                  <a:lnTo>
                    <a:pt x="115419" y="458718"/>
                  </a:lnTo>
                  <a:lnTo>
                    <a:pt x="138403" y="420217"/>
                  </a:lnTo>
                  <a:lnTo>
                    <a:pt x="163219" y="382988"/>
                  </a:lnTo>
                  <a:lnTo>
                    <a:pt x="189804" y="347093"/>
                  </a:lnTo>
                  <a:lnTo>
                    <a:pt x="218096" y="312594"/>
                  </a:lnTo>
                  <a:lnTo>
                    <a:pt x="248033" y="279553"/>
                  </a:lnTo>
                  <a:lnTo>
                    <a:pt x="279553" y="248033"/>
                  </a:lnTo>
                  <a:lnTo>
                    <a:pt x="312594" y="218096"/>
                  </a:lnTo>
                  <a:lnTo>
                    <a:pt x="347093" y="189804"/>
                  </a:lnTo>
                  <a:lnTo>
                    <a:pt x="382988" y="163219"/>
                  </a:lnTo>
                  <a:lnTo>
                    <a:pt x="420217" y="138403"/>
                  </a:lnTo>
                  <a:lnTo>
                    <a:pt x="458718" y="115419"/>
                  </a:lnTo>
                  <a:lnTo>
                    <a:pt x="498429" y="94329"/>
                  </a:lnTo>
                  <a:lnTo>
                    <a:pt x="539287" y="75195"/>
                  </a:lnTo>
                  <a:lnTo>
                    <a:pt x="581230" y="58079"/>
                  </a:lnTo>
                  <a:lnTo>
                    <a:pt x="624197" y="43043"/>
                  </a:lnTo>
                  <a:lnTo>
                    <a:pt x="668124" y="30150"/>
                  </a:lnTo>
                  <a:lnTo>
                    <a:pt x="712950" y="19462"/>
                  </a:lnTo>
                  <a:lnTo>
                    <a:pt x="758613" y="11040"/>
                  </a:lnTo>
                  <a:lnTo>
                    <a:pt x="805050" y="4948"/>
                  </a:lnTo>
                  <a:lnTo>
                    <a:pt x="852199" y="1247"/>
                  </a:lnTo>
                  <a:lnTo>
                    <a:pt x="899998" y="0"/>
                  </a:lnTo>
                  <a:lnTo>
                    <a:pt x="947794" y="1247"/>
                  </a:lnTo>
                  <a:lnTo>
                    <a:pt x="994941" y="4948"/>
                  </a:lnTo>
                  <a:lnTo>
                    <a:pt x="1041376" y="11040"/>
                  </a:lnTo>
                  <a:lnTo>
                    <a:pt x="1087037" y="19462"/>
                  </a:lnTo>
                  <a:lnTo>
                    <a:pt x="1131862" y="30150"/>
                  </a:lnTo>
                  <a:lnTo>
                    <a:pt x="1175789" y="43043"/>
                  </a:lnTo>
                  <a:lnTo>
                    <a:pt x="1218755" y="58079"/>
                  </a:lnTo>
                  <a:lnTo>
                    <a:pt x="1260698" y="75195"/>
                  </a:lnTo>
                  <a:lnTo>
                    <a:pt x="1301555" y="94329"/>
                  </a:lnTo>
                  <a:lnTo>
                    <a:pt x="1341266" y="115419"/>
                  </a:lnTo>
                  <a:lnTo>
                    <a:pt x="1379767" y="138403"/>
                  </a:lnTo>
                  <a:lnTo>
                    <a:pt x="1416997" y="163219"/>
                  </a:lnTo>
                  <a:lnTo>
                    <a:pt x="1452892" y="189804"/>
                  </a:lnTo>
                  <a:lnTo>
                    <a:pt x="1487391" y="218096"/>
                  </a:lnTo>
                  <a:lnTo>
                    <a:pt x="1520433" y="248033"/>
                  </a:lnTo>
                  <a:lnTo>
                    <a:pt x="1551953" y="279553"/>
                  </a:lnTo>
                  <a:lnTo>
                    <a:pt x="1581891" y="312594"/>
                  </a:lnTo>
                  <a:lnTo>
                    <a:pt x="1610184" y="347093"/>
                  </a:lnTo>
                  <a:lnTo>
                    <a:pt x="1636769" y="382988"/>
                  </a:lnTo>
                  <a:lnTo>
                    <a:pt x="1661586" y="420217"/>
                  </a:lnTo>
                  <a:lnTo>
                    <a:pt x="1684571" y="458718"/>
                  </a:lnTo>
                  <a:lnTo>
                    <a:pt x="1705662" y="498429"/>
                  </a:lnTo>
                  <a:lnTo>
                    <a:pt x="1724797" y="539287"/>
                  </a:lnTo>
                  <a:lnTo>
                    <a:pt x="1741913" y="581230"/>
                  </a:lnTo>
                  <a:lnTo>
                    <a:pt x="1756950" y="624197"/>
                  </a:lnTo>
                  <a:lnTo>
                    <a:pt x="1769844" y="668124"/>
                  </a:lnTo>
                  <a:lnTo>
                    <a:pt x="1780533" y="712950"/>
                  </a:lnTo>
                  <a:lnTo>
                    <a:pt x="1788954" y="758613"/>
                  </a:lnTo>
                  <a:lnTo>
                    <a:pt x="1795047" y="805050"/>
                  </a:lnTo>
                  <a:lnTo>
                    <a:pt x="1798748" y="852199"/>
                  </a:lnTo>
                  <a:lnTo>
                    <a:pt x="1799996" y="899998"/>
                  </a:lnTo>
                  <a:close/>
                </a:path>
              </a:pathLst>
            </a:custGeom>
            <a:ln w="25400">
              <a:solidFill>
                <a:srgbClr val="231F20"/>
              </a:solidFill>
            </a:ln>
          </p:spPr>
          <p:txBody>
            <a:bodyPr wrap="square" lIns="0" tIns="0" rIns="0" bIns="0" rtlCol="0"/>
            <a:lstStyle/>
            <a:p>
              <a:endParaRPr sz="649"/>
            </a:p>
          </p:txBody>
        </p:sp>
        <p:pic>
          <p:nvPicPr>
            <p:cNvPr id="35" name="object 35"/>
            <p:cNvPicPr/>
            <p:nvPr/>
          </p:nvPicPr>
          <p:blipFill>
            <a:blip r:embed="rId7" cstate="print"/>
            <a:stretch>
              <a:fillRect/>
            </a:stretch>
          </p:blipFill>
          <p:spPr>
            <a:xfrm>
              <a:off x="3161931" y="773557"/>
              <a:ext cx="595756" cy="646264"/>
            </a:xfrm>
            <a:prstGeom prst="rect">
              <a:avLst/>
            </a:prstGeom>
          </p:spPr>
        </p:pic>
        <p:sp>
          <p:nvSpPr>
            <p:cNvPr id="36" name="object 36"/>
            <p:cNvSpPr/>
            <p:nvPr/>
          </p:nvSpPr>
          <p:spPr>
            <a:xfrm>
              <a:off x="3161930" y="773545"/>
              <a:ext cx="596265" cy="646430"/>
            </a:xfrm>
            <a:custGeom>
              <a:avLst/>
              <a:gdLst/>
              <a:ahLst/>
              <a:cxnLst/>
              <a:rect l="l" t="t" r="r" b="b"/>
              <a:pathLst>
                <a:path w="596264" h="646430">
                  <a:moveTo>
                    <a:pt x="214528" y="313753"/>
                  </a:moveTo>
                  <a:lnTo>
                    <a:pt x="8483" y="0"/>
                  </a:lnTo>
                  <a:lnTo>
                    <a:pt x="128269" y="0"/>
                  </a:lnTo>
                  <a:lnTo>
                    <a:pt x="136613" y="0"/>
                  </a:lnTo>
                  <a:lnTo>
                    <a:pt x="142633" y="1117"/>
                  </a:lnTo>
                  <a:lnTo>
                    <a:pt x="146367" y="3352"/>
                  </a:lnTo>
                  <a:lnTo>
                    <a:pt x="150088" y="5575"/>
                  </a:lnTo>
                  <a:lnTo>
                    <a:pt x="153593" y="9232"/>
                  </a:lnTo>
                  <a:lnTo>
                    <a:pt x="156870" y="14300"/>
                  </a:lnTo>
                  <a:lnTo>
                    <a:pt x="303466" y="251180"/>
                  </a:lnTo>
                  <a:lnTo>
                    <a:pt x="304965" y="247599"/>
                  </a:lnTo>
                  <a:lnTo>
                    <a:pt x="306603" y="243954"/>
                  </a:lnTo>
                  <a:lnTo>
                    <a:pt x="308394" y="240233"/>
                  </a:lnTo>
                  <a:lnTo>
                    <a:pt x="310172" y="236499"/>
                  </a:lnTo>
                  <a:lnTo>
                    <a:pt x="312254" y="232714"/>
                  </a:lnTo>
                  <a:lnTo>
                    <a:pt x="314642" y="228828"/>
                  </a:lnTo>
                  <a:lnTo>
                    <a:pt x="449618" y="16535"/>
                  </a:lnTo>
                  <a:lnTo>
                    <a:pt x="452894" y="10871"/>
                  </a:lnTo>
                  <a:lnTo>
                    <a:pt x="456463" y="6705"/>
                  </a:lnTo>
                  <a:lnTo>
                    <a:pt x="460336" y="4013"/>
                  </a:lnTo>
                  <a:lnTo>
                    <a:pt x="464210" y="1333"/>
                  </a:lnTo>
                  <a:lnTo>
                    <a:pt x="469138" y="0"/>
                  </a:lnTo>
                  <a:lnTo>
                    <a:pt x="475094" y="0"/>
                  </a:lnTo>
                  <a:lnTo>
                    <a:pt x="589965" y="0"/>
                  </a:lnTo>
                  <a:lnTo>
                    <a:pt x="382130" y="308825"/>
                  </a:lnTo>
                  <a:lnTo>
                    <a:pt x="595769" y="646277"/>
                  </a:lnTo>
                  <a:lnTo>
                    <a:pt x="475995" y="646277"/>
                  </a:lnTo>
                  <a:lnTo>
                    <a:pt x="467639" y="646277"/>
                  </a:lnTo>
                  <a:lnTo>
                    <a:pt x="461022" y="644194"/>
                  </a:lnTo>
                  <a:lnTo>
                    <a:pt x="456095" y="640016"/>
                  </a:lnTo>
                  <a:lnTo>
                    <a:pt x="451192" y="635850"/>
                  </a:lnTo>
                  <a:lnTo>
                    <a:pt x="447230" y="631075"/>
                  </a:lnTo>
                  <a:lnTo>
                    <a:pt x="444258" y="625716"/>
                  </a:lnTo>
                  <a:lnTo>
                    <a:pt x="294525" y="378104"/>
                  </a:lnTo>
                  <a:lnTo>
                    <a:pt x="142570" y="625716"/>
                  </a:lnTo>
                  <a:lnTo>
                    <a:pt x="119621" y="646277"/>
                  </a:lnTo>
                  <a:lnTo>
                    <a:pt x="112166" y="646277"/>
                  </a:lnTo>
                  <a:lnTo>
                    <a:pt x="0" y="646277"/>
                  </a:lnTo>
                  <a:lnTo>
                    <a:pt x="214528" y="313753"/>
                  </a:lnTo>
                  <a:close/>
                </a:path>
              </a:pathLst>
            </a:custGeom>
            <a:ln w="7620">
              <a:solidFill>
                <a:srgbClr val="E3873E"/>
              </a:solidFill>
            </a:ln>
          </p:spPr>
          <p:txBody>
            <a:bodyPr wrap="square" lIns="0" tIns="0" rIns="0" bIns="0" rtlCol="0"/>
            <a:lstStyle/>
            <a:p>
              <a:endParaRPr sz="649"/>
            </a:p>
          </p:txBody>
        </p:sp>
      </p:grpSp>
      <p:sp>
        <p:nvSpPr>
          <p:cNvPr id="37" name="object 37"/>
          <p:cNvSpPr txBox="1"/>
          <p:nvPr/>
        </p:nvSpPr>
        <p:spPr>
          <a:xfrm>
            <a:off x="5806356" y="100972"/>
            <a:ext cx="371522" cy="109917"/>
          </a:xfrm>
          <a:prstGeom prst="rect">
            <a:avLst/>
          </a:prstGeom>
        </p:spPr>
        <p:txBody>
          <a:bodyPr vert="horz" wrap="square" lIns="0" tIns="6111" rIns="0" bIns="0" rtlCol="0">
            <a:spAutoFit/>
          </a:bodyPr>
          <a:lstStyle/>
          <a:p>
            <a:pPr marL="6110">
              <a:spcBef>
                <a:spcPts val="48"/>
              </a:spcBef>
            </a:pPr>
            <a:r>
              <a:rPr sz="674" spc="46" dirty="0">
                <a:solidFill>
                  <a:srgbClr val="231F20"/>
                </a:solidFill>
                <a:latin typeface="Tahoma"/>
                <a:cs typeface="Tahoma"/>
              </a:rPr>
              <a:t>W</a:t>
            </a:r>
            <a:r>
              <a:rPr sz="674" spc="-2" dirty="0">
                <a:solidFill>
                  <a:srgbClr val="231F20"/>
                </a:solidFill>
                <a:latin typeface="Tahoma"/>
                <a:cs typeface="Tahoma"/>
              </a:rPr>
              <a:t>arnings</a:t>
            </a:r>
            <a:endParaRPr sz="674">
              <a:latin typeface="Tahoma"/>
              <a:cs typeface="Tahoma"/>
            </a:endParaRPr>
          </a:p>
        </p:txBody>
      </p:sp>
      <p:sp>
        <p:nvSpPr>
          <p:cNvPr id="38" name="object 38"/>
          <p:cNvSpPr txBox="1"/>
          <p:nvPr/>
        </p:nvSpPr>
        <p:spPr>
          <a:xfrm>
            <a:off x="5199908" y="1233025"/>
            <a:ext cx="504121" cy="213663"/>
          </a:xfrm>
          <a:prstGeom prst="rect">
            <a:avLst/>
          </a:prstGeom>
        </p:spPr>
        <p:txBody>
          <a:bodyPr vert="horz" wrap="square" lIns="0" tIns="6111" rIns="0" bIns="0" rtlCol="0">
            <a:spAutoFit/>
          </a:bodyPr>
          <a:lstStyle/>
          <a:p>
            <a:pPr algn="ctr">
              <a:spcBef>
                <a:spcPts val="48"/>
              </a:spcBef>
            </a:pPr>
            <a:r>
              <a:rPr sz="674" spc="-7" dirty="0">
                <a:solidFill>
                  <a:srgbClr val="231F20"/>
                </a:solidFill>
                <a:latin typeface="Tahoma"/>
                <a:cs typeface="Tahoma"/>
              </a:rPr>
              <a:t>max</a:t>
            </a:r>
            <a:endParaRPr sz="674">
              <a:latin typeface="Tahoma"/>
              <a:cs typeface="Tahoma"/>
            </a:endParaRPr>
          </a:p>
          <a:p>
            <a:pPr algn="ctr">
              <a:lnSpc>
                <a:spcPct val="100000"/>
              </a:lnSpc>
            </a:pPr>
            <a:r>
              <a:rPr sz="674" spc="22" dirty="0">
                <a:solidFill>
                  <a:srgbClr val="231F20"/>
                </a:solidFill>
                <a:latin typeface="Tahoma"/>
                <a:cs typeface="Tahoma"/>
              </a:rPr>
              <a:t>20</a:t>
            </a:r>
            <a:r>
              <a:rPr sz="674" spc="-82" dirty="0">
                <a:solidFill>
                  <a:srgbClr val="231F20"/>
                </a:solidFill>
                <a:latin typeface="Tahoma"/>
                <a:cs typeface="Tahoma"/>
              </a:rPr>
              <a:t> </a:t>
            </a:r>
            <a:r>
              <a:rPr sz="674" spc="-7" dirty="0">
                <a:solidFill>
                  <a:srgbClr val="231F20"/>
                </a:solidFill>
                <a:latin typeface="Tahoma"/>
                <a:cs typeface="Tahoma"/>
              </a:rPr>
              <a:t>kg</a:t>
            </a:r>
            <a:r>
              <a:rPr sz="674" spc="-82" dirty="0">
                <a:solidFill>
                  <a:srgbClr val="231F20"/>
                </a:solidFill>
                <a:latin typeface="Tahoma"/>
                <a:cs typeface="Tahoma"/>
              </a:rPr>
              <a:t> </a:t>
            </a:r>
            <a:r>
              <a:rPr sz="674" spc="-7" dirty="0">
                <a:solidFill>
                  <a:srgbClr val="231F20"/>
                </a:solidFill>
                <a:latin typeface="Tahoma"/>
                <a:cs typeface="Tahoma"/>
              </a:rPr>
              <a:t>/</a:t>
            </a:r>
            <a:r>
              <a:rPr sz="674" spc="-82" dirty="0">
                <a:solidFill>
                  <a:srgbClr val="231F20"/>
                </a:solidFill>
                <a:latin typeface="Tahoma"/>
                <a:cs typeface="Tahoma"/>
              </a:rPr>
              <a:t> </a:t>
            </a:r>
            <a:r>
              <a:rPr sz="674" spc="22" dirty="0">
                <a:solidFill>
                  <a:srgbClr val="231F20"/>
                </a:solidFill>
                <a:latin typeface="Tahoma"/>
                <a:cs typeface="Tahoma"/>
              </a:rPr>
              <a:t>44</a:t>
            </a:r>
            <a:r>
              <a:rPr sz="674" spc="-82" dirty="0">
                <a:solidFill>
                  <a:srgbClr val="231F20"/>
                </a:solidFill>
                <a:latin typeface="Tahoma"/>
                <a:cs typeface="Tahoma"/>
              </a:rPr>
              <a:t> </a:t>
            </a:r>
            <a:r>
              <a:rPr sz="674" spc="5" dirty="0">
                <a:solidFill>
                  <a:srgbClr val="231F20"/>
                </a:solidFill>
                <a:latin typeface="Tahoma"/>
                <a:cs typeface="Tahoma"/>
              </a:rPr>
              <a:t>lbs</a:t>
            </a:r>
            <a:endParaRPr sz="674">
              <a:latin typeface="Tahoma"/>
              <a:cs typeface="Tahoma"/>
            </a:endParaRPr>
          </a:p>
        </p:txBody>
      </p:sp>
      <p:grpSp>
        <p:nvGrpSpPr>
          <p:cNvPr id="39" name="object 39"/>
          <p:cNvGrpSpPr/>
          <p:nvPr/>
        </p:nvGrpSpPr>
        <p:grpSpPr>
          <a:xfrm>
            <a:off x="4489821" y="1459317"/>
            <a:ext cx="1254803" cy="861588"/>
            <a:chOff x="3607452" y="3033002"/>
            <a:chExt cx="2607945" cy="1790700"/>
          </a:xfrm>
        </p:grpSpPr>
        <p:sp>
          <p:nvSpPr>
            <p:cNvPr id="40" name="object 40"/>
            <p:cNvSpPr/>
            <p:nvPr/>
          </p:nvSpPr>
          <p:spPr>
            <a:xfrm>
              <a:off x="3607452" y="4810781"/>
              <a:ext cx="2607945" cy="12700"/>
            </a:xfrm>
            <a:custGeom>
              <a:avLst/>
              <a:gdLst/>
              <a:ahLst/>
              <a:cxnLst/>
              <a:rect l="l" t="t" r="r" b="b"/>
              <a:pathLst>
                <a:path w="2607945" h="12700">
                  <a:moveTo>
                    <a:pt x="0" y="12700"/>
                  </a:moveTo>
                  <a:lnTo>
                    <a:pt x="2607698" y="12700"/>
                  </a:lnTo>
                  <a:lnTo>
                    <a:pt x="2607698" y="0"/>
                  </a:lnTo>
                  <a:lnTo>
                    <a:pt x="0" y="0"/>
                  </a:lnTo>
                  <a:lnTo>
                    <a:pt x="0" y="12700"/>
                  </a:lnTo>
                  <a:close/>
                </a:path>
              </a:pathLst>
            </a:custGeom>
            <a:solidFill>
              <a:srgbClr val="231F20"/>
            </a:solidFill>
          </p:spPr>
          <p:txBody>
            <a:bodyPr wrap="square" lIns="0" tIns="0" rIns="0" bIns="0" rtlCol="0"/>
            <a:lstStyle/>
            <a:p>
              <a:endParaRPr sz="649"/>
            </a:p>
          </p:txBody>
        </p:sp>
        <p:sp>
          <p:nvSpPr>
            <p:cNvPr id="41" name="object 41"/>
            <p:cNvSpPr/>
            <p:nvPr/>
          </p:nvSpPr>
          <p:spPr>
            <a:xfrm>
              <a:off x="4351092" y="4516115"/>
              <a:ext cx="889000" cy="293370"/>
            </a:xfrm>
            <a:custGeom>
              <a:avLst/>
              <a:gdLst/>
              <a:ahLst/>
              <a:cxnLst/>
              <a:rect l="l" t="t" r="r" b="b"/>
              <a:pathLst>
                <a:path w="889000" h="293370">
                  <a:moveTo>
                    <a:pt x="480012" y="0"/>
                  </a:moveTo>
                  <a:lnTo>
                    <a:pt x="480685" y="215061"/>
                  </a:lnTo>
                  <a:lnTo>
                    <a:pt x="481587" y="217360"/>
                  </a:lnTo>
                  <a:lnTo>
                    <a:pt x="888787" y="255485"/>
                  </a:lnTo>
                  <a:lnTo>
                    <a:pt x="888787" y="292760"/>
                  </a:lnTo>
                  <a:lnTo>
                    <a:pt x="2022" y="292760"/>
                  </a:lnTo>
                  <a:lnTo>
                    <a:pt x="602" y="270603"/>
                  </a:lnTo>
                  <a:lnTo>
                    <a:pt x="0" y="259335"/>
                  </a:lnTo>
                  <a:lnTo>
                    <a:pt x="97" y="255461"/>
                  </a:lnTo>
                  <a:lnTo>
                    <a:pt x="777" y="255485"/>
                  </a:lnTo>
                  <a:lnTo>
                    <a:pt x="408219" y="217995"/>
                  </a:lnTo>
                  <a:lnTo>
                    <a:pt x="408435" y="217017"/>
                  </a:lnTo>
                  <a:lnTo>
                    <a:pt x="408435" y="0"/>
                  </a:lnTo>
                </a:path>
              </a:pathLst>
            </a:custGeom>
            <a:ln w="12699">
              <a:solidFill>
                <a:srgbClr val="231F20"/>
              </a:solidFill>
            </a:ln>
          </p:spPr>
          <p:txBody>
            <a:bodyPr wrap="square" lIns="0" tIns="0" rIns="0" bIns="0" rtlCol="0"/>
            <a:lstStyle/>
            <a:p>
              <a:endParaRPr sz="649"/>
            </a:p>
          </p:txBody>
        </p:sp>
        <p:sp>
          <p:nvSpPr>
            <p:cNvPr id="42" name="object 42"/>
            <p:cNvSpPr/>
            <p:nvPr/>
          </p:nvSpPr>
          <p:spPr>
            <a:xfrm>
              <a:off x="4054888" y="3226840"/>
              <a:ext cx="621030" cy="1386840"/>
            </a:xfrm>
            <a:custGeom>
              <a:avLst/>
              <a:gdLst/>
              <a:ahLst/>
              <a:cxnLst/>
              <a:rect l="l" t="t" r="r" b="b"/>
              <a:pathLst>
                <a:path w="621029" h="1386839">
                  <a:moveTo>
                    <a:pt x="90795" y="0"/>
                  </a:moveTo>
                  <a:lnTo>
                    <a:pt x="41215" y="3272"/>
                  </a:lnTo>
                  <a:lnTo>
                    <a:pt x="5651" y="14247"/>
                  </a:lnTo>
                  <a:lnTo>
                    <a:pt x="0" y="30679"/>
                  </a:lnTo>
                  <a:lnTo>
                    <a:pt x="3089" y="63968"/>
                  </a:lnTo>
                  <a:lnTo>
                    <a:pt x="12996" y="109793"/>
                  </a:lnTo>
                  <a:lnTo>
                    <a:pt x="27795" y="163833"/>
                  </a:lnTo>
                  <a:lnTo>
                    <a:pt x="45562" y="221765"/>
                  </a:lnTo>
                  <a:lnTo>
                    <a:pt x="64371" y="279267"/>
                  </a:lnTo>
                  <a:lnTo>
                    <a:pt x="82299" y="332018"/>
                  </a:lnTo>
                  <a:lnTo>
                    <a:pt x="113298" y="421619"/>
                  </a:lnTo>
                  <a:lnTo>
                    <a:pt x="152117" y="526987"/>
                  </a:lnTo>
                  <a:lnTo>
                    <a:pt x="264110" y="825158"/>
                  </a:lnTo>
                  <a:lnTo>
                    <a:pt x="386061" y="1146054"/>
                  </a:lnTo>
                  <a:lnTo>
                    <a:pt x="440415" y="1286872"/>
                  </a:lnTo>
                  <a:lnTo>
                    <a:pt x="461249" y="1339129"/>
                  </a:lnTo>
                  <a:lnTo>
                    <a:pt x="494404" y="1382653"/>
                  </a:lnTo>
                  <a:lnTo>
                    <a:pt x="522908" y="1386840"/>
                  </a:lnTo>
                  <a:lnTo>
                    <a:pt x="569036" y="1376221"/>
                  </a:lnTo>
                  <a:lnTo>
                    <a:pt x="585636" y="1370027"/>
                  </a:lnTo>
                  <a:lnTo>
                    <a:pt x="603542" y="1360238"/>
                  </a:lnTo>
                  <a:lnTo>
                    <a:pt x="617113" y="1345524"/>
                  </a:lnTo>
                  <a:lnTo>
                    <a:pt x="620712" y="1324557"/>
                  </a:lnTo>
                  <a:lnTo>
                    <a:pt x="618428" y="1302663"/>
                  </a:lnTo>
                  <a:lnTo>
                    <a:pt x="610259" y="1213775"/>
                  </a:lnTo>
                  <a:lnTo>
                    <a:pt x="604557" y="1155067"/>
                  </a:lnTo>
                  <a:lnTo>
                    <a:pt x="597898" y="1092373"/>
                  </a:lnTo>
                  <a:lnTo>
                    <a:pt x="590372" y="1029837"/>
                  </a:lnTo>
                  <a:lnTo>
                    <a:pt x="582072" y="971602"/>
                  </a:lnTo>
                  <a:lnTo>
                    <a:pt x="573088" y="921810"/>
                  </a:lnTo>
                  <a:lnTo>
                    <a:pt x="563511" y="884604"/>
                  </a:lnTo>
                  <a:lnTo>
                    <a:pt x="531610" y="809322"/>
                  </a:lnTo>
                  <a:lnTo>
                    <a:pt x="507502" y="759448"/>
                  </a:lnTo>
                  <a:lnTo>
                    <a:pt x="480160" y="705302"/>
                  </a:lnTo>
                  <a:lnTo>
                    <a:pt x="451238" y="649795"/>
                  </a:lnTo>
                  <a:lnTo>
                    <a:pt x="422390" y="595838"/>
                  </a:lnTo>
                  <a:lnTo>
                    <a:pt x="395269" y="546343"/>
                  </a:lnTo>
                  <a:lnTo>
                    <a:pt x="371528" y="504221"/>
                  </a:lnTo>
                  <a:lnTo>
                    <a:pt x="340804" y="453744"/>
                  </a:lnTo>
                  <a:lnTo>
                    <a:pt x="313527" y="425824"/>
                  </a:lnTo>
                  <a:lnTo>
                    <a:pt x="279906" y="400396"/>
                  </a:lnTo>
                  <a:lnTo>
                    <a:pt x="239306" y="374737"/>
                  </a:lnTo>
                  <a:lnTo>
                    <a:pt x="272446" y="350934"/>
                  </a:lnTo>
                  <a:lnTo>
                    <a:pt x="290734" y="334478"/>
                  </a:lnTo>
                  <a:lnTo>
                    <a:pt x="300688" y="317698"/>
                  </a:lnTo>
                  <a:lnTo>
                    <a:pt x="308825" y="292923"/>
                  </a:lnTo>
                  <a:lnTo>
                    <a:pt x="314548" y="251622"/>
                  </a:lnTo>
                  <a:lnTo>
                    <a:pt x="309235" y="207749"/>
                  </a:lnTo>
                  <a:lnTo>
                    <a:pt x="294602" y="163234"/>
                  </a:lnTo>
                  <a:lnTo>
                    <a:pt x="272362" y="120004"/>
                  </a:lnTo>
                  <a:lnTo>
                    <a:pt x="244228" y="79988"/>
                  </a:lnTo>
                  <a:lnTo>
                    <a:pt x="211916" y="45113"/>
                  </a:lnTo>
                  <a:lnTo>
                    <a:pt x="177139" y="17308"/>
                  </a:lnTo>
                  <a:lnTo>
                    <a:pt x="140675" y="4616"/>
                  </a:lnTo>
                  <a:lnTo>
                    <a:pt x="90795" y="0"/>
                  </a:lnTo>
                  <a:close/>
                </a:path>
              </a:pathLst>
            </a:custGeom>
            <a:solidFill>
              <a:srgbClr val="D1D3D4"/>
            </a:solidFill>
          </p:spPr>
          <p:txBody>
            <a:bodyPr wrap="square" lIns="0" tIns="0" rIns="0" bIns="0" rtlCol="0"/>
            <a:lstStyle/>
            <a:p>
              <a:endParaRPr sz="649"/>
            </a:p>
          </p:txBody>
        </p:sp>
        <p:sp>
          <p:nvSpPr>
            <p:cNvPr id="43" name="object 43"/>
            <p:cNvSpPr/>
            <p:nvPr/>
          </p:nvSpPr>
          <p:spPr>
            <a:xfrm>
              <a:off x="4054888" y="3226840"/>
              <a:ext cx="621030" cy="1386840"/>
            </a:xfrm>
            <a:custGeom>
              <a:avLst/>
              <a:gdLst/>
              <a:ahLst/>
              <a:cxnLst/>
              <a:rect l="l" t="t" r="r" b="b"/>
              <a:pathLst>
                <a:path w="621029" h="1386839">
                  <a:moveTo>
                    <a:pt x="239306" y="374737"/>
                  </a:moveTo>
                  <a:lnTo>
                    <a:pt x="272446" y="350934"/>
                  </a:lnTo>
                  <a:lnTo>
                    <a:pt x="300688" y="317698"/>
                  </a:lnTo>
                  <a:lnTo>
                    <a:pt x="314548" y="251622"/>
                  </a:lnTo>
                  <a:lnTo>
                    <a:pt x="309235" y="207749"/>
                  </a:lnTo>
                  <a:lnTo>
                    <a:pt x="294602" y="163234"/>
                  </a:lnTo>
                  <a:lnTo>
                    <a:pt x="272362" y="120004"/>
                  </a:lnTo>
                  <a:lnTo>
                    <a:pt x="244228" y="79988"/>
                  </a:lnTo>
                  <a:lnTo>
                    <a:pt x="211916" y="45113"/>
                  </a:lnTo>
                  <a:lnTo>
                    <a:pt x="177139" y="17308"/>
                  </a:lnTo>
                  <a:lnTo>
                    <a:pt x="140675" y="4616"/>
                  </a:lnTo>
                  <a:lnTo>
                    <a:pt x="90795" y="0"/>
                  </a:lnTo>
                  <a:lnTo>
                    <a:pt x="41215" y="3272"/>
                  </a:lnTo>
                  <a:lnTo>
                    <a:pt x="5651" y="14247"/>
                  </a:lnTo>
                  <a:lnTo>
                    <a:pt x="0" y="30679"/>
                  </a:lnTo>
                  <a:lnTo>
                    <a:pt x="3089" y="63968"/>
                  </a:lnTo>
                  <a:lnTo>
                    <a:pt x="12996" y="109793"/>
                  </a:lnTo>
                  <a:lnTo>
                    <a:pt x="27795" y="163833"/>
                  </a:lnTo>
                  <a:lnTo>
                    <a:pt x="45562" y="221765"/>
                  </a:lnTo>
                  <a:lnTo>
                    <a:pt x="64371" y="279267"/>
                  </a:lnTo>
                  <a:lnTo>
                    <a:pt x="82299" y="332018"/>
                  </a:lnTo>
                  <a:lnTo>
                    <a:pt x="97420" y="375696"/>
                  </a:lnTo>
                  <a:lnTo>
                    <a:pt x="107810" y="405979"/>
                  </a:lnTo>
                  <a:lnTo>
                    <a:pt x="122814" y="447804"/>
                  </a:lnTo>
                  <a:lnTo>
                    <a:pt x="152117" y="526987"/>
                  </a:lnTo>
                  <a:lnTo>
                    <a:pt x="170996" y="577577"/>
                  </a:lnTo>
                  <a:lnTo>
                    <a:pt x="192089" y="633893"/>
                  </a:lnTo>
                  <a:lnTo>
                    <a:pt x="214941" y="694732"/>
                  </a:lnTo>
                  <a:lnTo>
                    <a:pt x="239099" y="758888"/>
                  </a:lnTo>
                  <a:lnTo>
                    <a:pt x="264110" y="825158"/>
                  </a:lnTo>
                  <a:lnTo>
                    <a:pt x="289518" y="892336"/>
                  </a:lnTo>
                  <a:lnTo>
                    <a:pt x="314871" y="959220"/>
                  </a:lnTo>
                  <a:lnTo>
                    <a:pt x="339715" y="1024603"/>
                  </a:lnTo>
                  <a:lnTo>
                    <a:pt x="363596" y="1087283"/>
                  </a:lnTo>
                  <a:lnTo>
                    <a:pt x="386061" y="1146054"/>
                  </a:lnTo>
                  <a:lnTo>
                    <a:pt x="406654" y="1199712"/>
                  </a:lnTo>
                  <a:lnTo>
                    <a:pt x="424924" y="1247053"/>
                  </a:lnTo>
                  <a:lnTo>
                    <a:pt x="440415" y="1286872"/>
                  </a:lnTo>
                  <a:lnTo>
                    <a:pt x="461249" y="1339129"/>
                  </a:lnTo>
                  <a:lnTo>
                    <a:pt x="494404" y="1382653"/>
                  </a:lnTo>
                  <a:lnTo>
                    <a:pt x="522908" y="1386840"/>
                  </a:lnTo>
                  <a:lnTo>
                    <a:pt x="569036" y="1376221"/>
                  </a:lnTo>
                  <a:lnTo>
                    <a:pt x="585636" y="1370027"/>
                  </a:lnTo>
                  <a:lnTo>
                    <a:pt x="603542" y="1360238"/>
                  </a:lnTo>
                  <a:lnTo>
                    <a:pt x="617113" y="1345524"/>
                  </a:lnTo>
                  <a:lnTo>
                    <a:pt x="620712" y="1324557"/>
                  </a:lnTo>
                  <a:lnTo>
                    <a:pt x="618428" y="1302663"/>
                  </a:lnTo>
                  <a:lnTo>
                    <a:pt x="614913" y="1264354"/>
                  </a:lnTo>
                  <a:lnTo>
                    <a:pt x="610259" y="1213775"/>
                  </a:lnTo>
                  <a:lnTo>
                    <a:pt x="604557" y="1155067"/>
                  </a:lnTo>
                  <a:lnTo>
                    <a:pt x="597898" y="1092373"/>
                  </a:lnTo>
                  <a:lnTo>
                    <a:pt x="590372" y="1029837"/>
                  </a:lnTo>
                  <a:lnTo>
                    <a:pt x="582072" y="971602"/>
                  </a:lnTo>
                  <a:lnTo>
                    <a:pt x="573088" y="921810"/>
                  </a:lnTo>
                  <a:lnTo>
                    <a:pt x="563511" y="884604"/>
                  </a:lnTo>
                  <a:lnTo>
                    <a:pt x="531610" y="809322"/>
                  </a:lnTo>
                  <a:lnTo>
                    <a:pt x="507502" y="759448"/>
                  </a:lnTo>
                  <a:lnTo>
                    <a:pt x="480160" y="705302"/>
                  </a:lnTo>
                  <a:lnTo>
                    <a:pt x="451238" y="649795"/>
                  </a:lnTo>
                  <a:lnTo>
                    <a:pt x="422390" y="595838"/>
                  </a:lnTo>
                  <a:lnTo>
                    <a:pt x="395269" y="546343"/>
                  </a:lnTo>
                  <a:lnTo>
                    <a:pt x="371528" y="504221"/>
                  </a:lnTo>
                  <a:lnTo>
                    <a:pt x="340804" y="453744"/>
                  </a:lnTo>
                  <a:lnTo>
                    <a:pt x="313527" y="425824"/>
                  </a:lnTo>
                  <a:lnTo>
                    <a:pt x="279906" y="400396"/>
                  </a:lnTo>
                  <a:lnTo>
                    <a:pt x="251359" y="381890"/>
                  </a:lnTo>
                  <a:lnTo>
                    <a:pt x="239306" y="374737"/>
                  </a:lnTo>
                  <a:close/>
                </a:path>
              </a:pathLst>
            </a:custGeom>
            <a:ln w="25400">
              <a:solidFill>
                <a:srgbClr val="231F20"/>
              </a:solidFill>
            </a:ln>
          </p:spPr>
          <p:txBody>
            <a:bodyPr wrap="square" lIns="0" tIns="0" rIns="0" bIns="0" rtlCol="0"/>
            <a:lstStyle/>
            <a:p>
              <a:endParaRPr sz="649"/>
            </a:p>
          </p:txBody>
        </p:sp>
        <p:sp>
          <p:nvSpPr>
            <p:cNvPr id="44" name="object 44"/>
            <p:cNvSpPr/>
            <p:nvPr/>
          </p:nvSpPr>
          <p:spPr>
            <a:xfrm>
              <a:off x="5312199" y="3033002"/>
              <a:ext cx="701040" cy="742950"/>
            </a:xfrm>
            <a:custGeom>
              <a:avLst/>
              <a:gdLst/>
              <a:ahLst/>
              <a:cxnLst/>
              <a:rect l="l" t="t" r="r" b="b"/>
              <a:pathLst>
                <a:path w="701039" h="742950">
                  <a:moveTo>
                    <a:pt x="350265" y="0"/>
                  </a:moveTo>
                  <a:lnTo>
                    <a:pt x="303664" y="9432"/>
                  </a:lnTo>
                  <a:lnTo>
                    <a:pt x="265568" y="35139"/>
                  </a:lnTo>
                  <a:lnTo>
                    <a:pt x="239861" y="73235"/>
                  </a:lnTo>
                  <a:lnTo>
                    <a:pt x="230428" y="119837"/>
                  </a:lnTo>
                  <a:lnTo>
                    <a:pt x="234422" y="150520"/>
                  </a:lnTo>
                  <a:lnTo>
                    <a:pt x="245710" y="178250"/>
                  </a:lnTo>
                  <a:lnTo>
                    <a:pt x="263250" y="202018"/>
                  </a:lnTo>
                  <a:lnTo>
                    <a:pt x="286003" y="220814"/>
                  </a:lnTo>
                  <a:lnTo>
                    <a:pt x="151650" y="222834"/>
                  </a:lnTo>
                  <a:lnTo>
                    <a:pt x="0" y="742797"/>
                  </a:lnTo>
                  <a:lnTo>
                    <a:pt x="700519" y="742797"/>
                  </a:lnTo>
                  <a:lnTo>
                    <a:pt x="548868" y="222834"/>
                  </a:lnTo>
                  <a:lnTo>
                    <a:pt x="538424" y="221118"/>
                  </a:lnTo>
                  <a:lnTo>
                    <a:pt x="509976" y="220102"/>
                  </a:lnTo>
                  <a:lnTo>
                    <a:pt x="469818" y="219684"/>
                  </a:lnTo>
                  <a:lnTo>
                    <a:pt x="416382" y="219684"/>
                  </a:lnTo>
                  <a:lnTo>
                    <a:pt x="438417" y="200874"/>
                  </a:lnTo>
                  <a:lnTo>
                    <a:pt x="453212" y="180314"/>
                  </a:lnTo>
                  <a:lnTo>
                    <a:pt x="350265" y="180314"/>
                  </a:lnTo>
                  <a:lnTo>
                    <a:pt x="326744" y="175554"/>
                  </a:lnTo>
                  <a:lnTo>
                    <a:pt x="307514" y="162582"/>
                  </a:lnTo>
                  <a:lnTo>
                    <a:pt x="294537" y="143356"/>
                  </a:lnTo>
                  <a:lnTo>
                    <a:pt x="289775" y="119837"/>
                  </a:lnTo>
                  <a:lnTo>
                    <a:pt x="294537" y="96317"/>
                  </a:lnTo>
                  <a:lnTo>
                    <a:pt x="307514" y="77092"/>
                  </a:lnTo>
                  <a:lnTo>
                    <a:pt x="326744" y="64119"/>
                  </a:lnTo>
                  <a:lnTo>
                    <a:pt x="350265" y="59359"/>
                  </a:lnTo>
                  <a:lnTo>
                    <a:pt x="451304" y="59359"/>
                  </a:lnTo>
                  <a:lnTo>
                    <a:pt x="434959" y="35139"/>
                  </a:lnTo>
                  <a:lnTo>
                    <a:pt x="396861" y="9432"/>
                  </a:lnTo>
                  <a:lnTo>
                    <a:pt x="350265" y="0"/>
                  </a:lnTo>
                  <a:close/>
                </a:path>
                <a:path w="701039" h="742950">
                  <a:moveTo>
                    <a:pt x="467853" y="219664"/>
                  </a:moveTo>
                  <a:lnTo>
                    <a:pt x="416382" y="219684"/>
                  </a:lnTo>
                  <a:lnTo>
                    <a:pt x="469818" y="219684"/>
                  </a:lnTo>
                  <a:lnTo>
                    <a:pt x="467853" y="219664"/>
                  </a:lnTo>
                  <a:close/>
                </a:path>
                <a:path w="701039" h="742950">
                  <a:moveTo>
                    <a:pt x="451304" y="59359"/>
                  </a:moveTo>
                  <a:lnTo>
                    <a:pt x="350265" y="59359"/>
                  </a:lnTo>
                  <a:lnTo>
                    <a:pt x="373785" y="64119"/>
                  </a:lnTo>
                  <a:lnTo>
                    <a:pt x="393011" y="77092"/>
                  </a:lnTo>
                  <a:lnTo>
                    <a:pt x="405983" y="96317"/>
                  </a:lnTo>
                  <a:lnTo>
                    <a:pt x="410743" y="119837"/>
                  </a:lnTo>
                  <a:lnTo>
                    <a:pt x="405983" y="143356"/>
                  </a:lnTo>
                  <a:lnTo>
                    <a:pt x="393011" y="162582"/>
                  </a:lnTo>
                  <a:lnTo>
                    <a:pt x="373785" y="175554"/>
                  </a:lnTo>
                  <a:lnTo>
                    <a:pt x="350265" y="180314"/>
                  </a:lnTo>
                  <a:lnTo>
                    <a:pt x="453212" y="180314"/>
                  </a:lnTo>
                  <a:lnTo>
                    <a:pt x="455368" y="177318"/>
                  </a:lnTo>
                  <a:lnTo>
                    <a:pt x="466256" y="149984"/>
                  </a:lnTo>
                  <a:lnTo>
                    <a:pt x="470103" y="119837"/>
                  </a:lnTo>
                  <a:lnTo>
                    <a:pt x="460669" y="73235"/>
                  </a:lnTo>
                  <a:lnTo>
                    <a:pt x="451304" y="59359"/>
                  </a:lnTo>
                  <a:close/>
                </a:path>
              </a:pathLst>
            </a:custGeom>
            <a:solidFill>
              <a:srgbClr val="808285"/>
            </a:solidFill>
          </p:spPr>
          <p:txBody>
            <a:bodyPr wrap="square" lIns="0" tIns="0" rIns="0" bIns="0" rtlCol="0"/>
            <a:lstStyle/>
            <a:p>
              <a:endParaRPr sz="649"/>
            </a:p>
          </p:txBody>
        </p:sp>
        <p:pic>
          <p:nvPicPr>
            <p:cNvPr id="45" name="object 45"/>
            <p:cNvPicPr/>
            <p:nvPr/>
          </p:nvPicPr>
          <p:blipFill>
            <a:blip r:embed="rId8" cstate="print"/>
            <a:stretch>
              <a:fillRect/>
            </a:stretch>
          </p:blipFill>
          <p:spPr>
            <a:xfrm>
              <a:off x="5546889" y="3804716"/>
              <a:ext cx="216471" cy="252514"/>
            </a:xfrm>
            <a:prstGeom prst="rect">
              <a:avLst/>
            </a:prstGeom>
          </p:spPr>
        </p:pic>
        <p:sp>
          <p:nvSpPr>
            <p:cNvPr id="46" name="object 46"/>
            <p:cNvSpPr/>
            <p:nvPr/>
          </p:nvSpPr>
          <p:spPr>
            <a:xfrm>
              <a:off x="5546889" y="3804709"/>
              <a:ext cx="216535" cy="252729"/>
            </a:xfrm>
            <a:custGeom>
              <a:avLst/>
              <a:gdLst/>
              <a:ahLst/>
              <a:cxnLst/>
              <a:rect l="l" t="t" r="r" b="b"/>
              <a:pathLst>
                <a:path w="216535" h="252729">
                  <a:moveTo>
                    <a:pt x="68173" y="0"/>
                  </a:moveTo>
                  <a:lnTo>
                    <a:pt x="81597" y="123317"/>
                  </a:lnTo>
                  <a:lnTo>
                    <a:pt x="0" y="125361"/>
                  </a:lnTo>
                  <a:lnTo>
                    <a:pt x="113893" y="252526"/>
                  </a:lnTo>
                  <a:lnTo>
                    <a:pt x="216471" y="118313"/>
                  </a:lnTo>
                  <a:lnTo>
                    <a:pt x="131444" y="121246"/>
                  </a:lnTo>
                  <a:lnTo>
                    <a:pt x="137388" y="838"/>
                  </a:lnTo>
                  <a:lnTo>
                    <a:pt x="68173" y="0"/>
                  </a:lnTo>
                  <a:close/>
                </a:path>
              </a:pathLst>
            </a:custGeom>
            <a:ln w="7620">
              <a:solidFill>
                <a:srgbClr val="E3873E"/>
              </a:solidFill>
            </a:ln>
          </p:spPr>
          <p:txBody>
            <a:bodyPr wrap="square" lIns="0" tIns="0" rIns="0" bIns="0" rtlCol="0"/>
            <a:lstStyle/>
            <a:p>
              <a:endParaRPr sz="649"/>
            </a:p>
          </p:txBody>
        </p:sp>
        <p:sp>
          <p:nvSpPr>
            <p:cNvPr id="47" name="object 47"/>
            <p:cNvSpPr/>
            <p:nvPr/>
          </p:nvSpPr>
          <p:spPr>
            <a:xfrm>
              <a:off x="5232482" y="4147276"/>
              <a:ext cx="768985" cy="243840"/>
            </a:xfrm>
            <a:custGeom>
              <a:avLst/>
              <a:gdLst/>
              <a:ahLst/>
              <a:cxnLst/>
              <a:rect l="l" t="t" r="r" b="b"/>
              <a:pathLst>
                <a:path w="768985" h="243839">
                  <a:moveTo>
                    <a:pt x="189282" y="0"/>
                  </a:moveTo>
                  <a:lnTo>
                    <a:pt x="133895" y="596"/>
                  </a:lnTo>
                  <a:lnTo>
                    <a:pt x="36968" y="3020"/>
                  </a:lnTo>
                  <a:lnTo>
                    <a:pt x="0" y="3563"/>
                  </a:lnTo>
                  <a:lnTo>
                    <a:pt x="9791" y="120823"/>
                  </a:lnTo>
                  <a:lnTo>
                    <a:pt x="31099" y="115865"/>
                  </a:lnTo>
                  <a:lnTo>
                    <a:pt x="77802" y="110681"/>
                  </a:lnTo>
                  <a:lnTo>
                    <a:pt x="140868" y="106028"/>
                  </a:lnTo>
                  <a:lnTo>
                    <a:pt x="211267" y="102657"/>
                  </a:lnTo>
                  <a:lnTo>
                    <a:pt x="279967" y="101325"/>
                  </a:lnTo>
                  <a:lnTo>
                    <a:pt x="337938" y="102785"/>
                  </a:lnTo>
                  <a:lnTo>
                    <a:pt x="376148" y="107792"/>
                  </a:lnTo>
                  <a:lnTo>
                    <a:pt x="406082" y="119126"/>
                  </a:lnTo>
                  <a:lnTo>
                    <a:pt x="448640" y="138630"/>
                  </a:lnTo>
                  <a:lnTo>
                    <a:pt x="553977" y="188998"/>
                  </a:lnTo>
                  <a:lnTo>
                    <a:pt x="607928" y="213287"/>
                  </a:lnTo>
                  <a:lnTo>
                    <a:pt x="656851" y="232595"/>
                  </a:lnTo>
                  <a:lnTo>
                    <a:pt x="696332" y="243637"/>
                  </a:lnTo>
                  <a:lnTo>
                    <a:pt x="721956" y="243124"/>
                  </a:lnTo>
                  <a:lnTo>
                    <a:pt x="750595" y="223739"/>
                  </a:lnTo>
                  <a:lnTo>
                    <a:pt x="766584" y="197826"/>
                  </a:lnTo>
                  <a:lnTo>
                    <a:pt x="768419" y="169450"/>
                  </a:lnTo>
                  <a:lnTo>
                    <a:pt x="754595" y="142679"/>
                  </a:lnTo>
                  <a:lnTo>
                    <a:pt x="693894" y="108306"/>
                  </a:lnTo>
                  <a:lnTo>
                    <a:pt x="643293" y="88234"/>
                  </a:lnTo>
                  <a:lnTo>
                    <a:pt x="584777" y="67838"/>
                  </a:lnTo>
                  <a:lnTo>
                    <a:pt x="522537" y="48316"/>
                  </a:lnTo>
                  <a:lnTo>
                    <a:pt x="460762" y="30869"/>
                  </a:lnTo>
                  <a:lnTo>
                    <a:pt x="403644" y="16695"/>
                  </a:lnTo>
                  <a:lnTo>
                    <a:pt x="355702" y="8375"/>
                  </a:lnTo>
                  <a:lnTo>
                    <a:pt x="302471" y="3247"/>
                  </a:lnTo>
                  <a:lnTo>
                    <a:pt x="246236" y="669"/>
                  </a:lnTo>
                  <a:lnTo>
                    <a:pt x="189282" y="0"/>
                  </a:lnTo>
                  <a:close/>
                </a:path>
              </a:pathLst>
            </a:custGeom>
            <a:solidFill>
              <a:srgbClr val="F1F2F2"/>
            </a:solidFill>
          </p:spPr>
          <p:txBody>
            <a:bodyPr wrap="square" lIns="0" tIns="0" rIns="0" bIns="0" rtlCol="0"/>
            <a:lstStyle/>
            <a:p>
              <a:endParaRPr sz="649"/>
            </a:p>
          </p:txBody>
        </p:sp>
        <p:sp>
          <p:nvSpPr>
            <p:cNvPr id="48" name="object 48"/>
            <p:cNvSpPr/>
            <p:nvPr/>
          </p:nvSpPr>
          <p:spPr>
            <a:xfrm>
              <a:off x="5232482" y="4147276"/>
              <a:ext cx="768985" cy="243840"/>
            </a:xfrm>
            <a:custGeom>
              <a:avLst/>
              <a:gdLst/>
              <a:ahLst/>
              <a:cxnLst/>
              <a:rect l="l" t="t" r="r" b="b"/>
              <a:pathLst>
                <a:path w="768985" h="243839">
                  <a:moveTo>
                    <a:pt x="0" y="3563"/>
                  </a:moveTo>
                  <a:lnTo>
                    <a:pt x="36968" y="3020"/>
                  </a:lnTo>
                  <a:lnTo>
                    <a:pt x="82362" y="1817"/>
                  </a:lnTo>
                  <a:lnTo>
                    <a:pt x="133895" y="596"/>
                  </a:lnTo>
                  <a:lnTo>
                    <a:pt x="189282" y="0"/>
                  </a:lnTo>
                  <a:lnTo>
                    <a:pt x="246236" y="669"/>
                  </a:lnTo>
                  <a:lnTo>
                    <a:pt x="302471" y="3247"/>
                  </a:lnTo>
                  <a:lnTo>
                    <a:pt x="355702" y="8375"/>
                  </a:lnTo>
                  <a:lnTo>
                    <a:pt x="403644" y="16695"/>
                  </a:lnTo>
                  <a:lnTo>
                    <a:pt x="460762" y="30869"/>
                  </a:lnTo>
                  <a:lnTo>
                    <a:pt x="522537" y="48316"/>
                  </a:lnTo>
                  <a:lnTo>
                    <a:pt x="584777" y="67838"/>
                  </a:lnTo>
                  <a:lnTo>
                    <a:pt x="643293" y="88234"/>
                  </a:lnTo>
                  <a:lnTo>
                    <a:pt x="693894" y="108306"/>
                  </a:lnTo>
                  <a:lnTo>
                    <a:pt x="732392" y="126854"/>
                  </a:lnTo>
                  <a:lnTo>
                    <a:pt x="768419" y="169450"/>
                  </a:lnTo>
                  <a:lnTo>
                    <a:pt x="766584" y="197826"/>
                  </a:lnTo>
                  <a:lnTo>
                    <a:pt x="750595" y="223739"/>
                  </a:lnTo>
                  <a:lnTo>
                    <a:pt x="721956" y="243124"/>
                  </a:lnTo>
                  <a:lnTo>
                    <a:pt x="696332" y="243637"/>
                  </a:lnTo>
                  <a:lnTo>
                    <a:pt x="656851" y="232595"/>
                  </a:lnTo>
                  <a:lnTo>
                    <a:pt x="607928" y="213287"/>
                  </a:lnTo>
                  <a:lnTo>
                    <a:pt x="553977" y="188998"/>
                  </a:lnTo>
                  <a:lnTo>
                    <a:pt x="499409" y="163016"/>
                  </a:lnTo>
                  <a:lnTo>
                    <a:pt x="448640" y="138630"/>
                  </a:lnTo>
                  <a:lnTo>
                    <a:pt x="406082" y="119126"/>
                  </a:lnTo>
                  <a:lnTo>
                    <a:pt x="376148" y="107792"/>
                  </a:lnTo>
                  <a:lnTo>
                    <a:pt x="337938" y="102785"/>
                  </a:lnTo>
                  <a:lnTo>
                    <a:pt x="279967" y="101325"/>
                  </a:lnTo>
                  <a:lnTo>
                    <a:pt x="211267" y="102657"/>
                  </a:lnTo>
                  <a:lnTo>
                    <a:pt x="140868" y="106028"/>
                  </a:lnTo>
                  <a:lnTo>
                    <a:pt x="77802" y="110681"/>
                  </a:lnTo>
                  <a:lnTo>
                    <a:pt x="31099" y="115865"/>
                  </a:lnTo>
                  <a:lnTo>
                    <a:pt x="9791" y="120823"/>
                  </a:lnTo>
                </a:path>
              </a:pathLst>
            </a:custGeom>
            <a:ln w="25400">
              <a:solidFill>
                <a:srgbClr val="231F20"/>
              </a:solidFill>
            </a:ln>
          </p:spPr>
          <p:txBody>
            <a:bodyPr wrap="square" lIns="0" tIns="0" rIns="0" bIns="0" rtlCol="0"/>
            <a:lstStyle/>
            <a:p>
              <a:endParaRPr sz="649"/>
            </a:p>
          </p:txBody>
        </p:sp>
        <p:sp>
          <p:nvSpPr>
            <p:cNvPr id="49" name="object 49"/>
            <p:cNvSpPr/>
            <p:nvPr/>
          </p:nvSpPr>
          <p:spPr>
            <a:xfrm>
              <a:off x="4335036" y="4011728"/>
              <a:ext cx="1052830" cy="640715"/>
            </a:xfrm>
            <a:custGeom>
              <a:avLst/>
              <a:gdLst/>
              <a:ahLst/>
              <a:cxnLst/>
              <a:rect l="l" t="t" r="r" b="b"/>
              <a:pathLst>
                <a:path w="1052829" h="640714">
                  <a:moveTo>
                    <a:pt x="699606" y="51"/>
                  </a:moveTo>
                  <a:lnTo>
                    <a:pt x="636676" y="0"/>
                  </a:lnTo>
                  <a:lnTo>
                    <a:pt x="569436" y="663"/>
                  </a:lnTo>
                  <a:lnTo>
                    <a:pt x="499476" y="1997"/>
                  </a:lnTo>
                  <a:lnTo>
                    <a:pt x="428386" y="3956"/>
                  </a:lnTo>
                  <a:lnTo>
                    <a:pt x="357756" y="6496"/>
                  </a:lnTo>
                  <a:lnTo>
                    <a:pt x="289174" y="9571"/>
                  </a:lnTo>
                  <a:lnTo>
                    <a:pt x="224231" y="13136"/>
                  </a:lnTo>
                  <a:lnTo>
                    <a:pt x="164516" y="17147"/>
                  </a:lnTo>
                  <a:lnTo>
                    <a:pt x="111618" y="21558"/>
                  </a:lnTo>
                  <a:lnTo>
                    <a:pt x="67129" y="26324"/>
                  </a:lnTo>
                  <a:lnTo>
                    <a:pt x="9729" y="36743"/>
                  </a:lnTo>
                  <a:lnTo>
                    <a:pt x="0" y="42306"/>
                  </a:lnTo>
                  <a:lnTo>
                    <a:pt x="306" y="58922"/>
                  </a:lnTo>
                  <a:lnTo>
                    <a:pt x="21005" y="136080"/>
                  </a:lnTo>
                  <a:lnTo>
                    <a:pt x="39112" y="190774"/>
                  </a:lnTo>
                  <a:lnTo>
                    <a:pt x="60865" y="252313"/>
                  </a:lnTo>
                  <a:lnTo>
                    <a:pt x="85121" y="317774"/>
                  </a:lnTo>
                  <a:lnTo>
                    <a:pt x="110737" y="384233"/>
                  </a:lnTo>
                  <a:lnTo>
                    <a:pt x="136569" y="448767"/>
                  </a:lnTo>
                  <a:lnTo>
                    <a:pt x="161473" y="508453"/>
                  </a:lnTo>
                  <a:lnTo>
                    <a:pt x="184306" y="560366"/>
                  </a:lnTo>
                  <a:lnTo>
                    <a:pt x="203924" y="601583"/>
                  </a:lnTo>
                  <a:lnTo>
                    <a:pt x="228942" y="640234"/>
                  </a:lnTo>
                  <a:lnTo>
                    <a:pt x="241501" y="639880"/>
                  </a:lnTo>
                  <a:lnTo>
                    <a:pt x="305989" y="629853"/>
                  </a:lnTo>
                  <a:lnTo>
                    <a:pt x="354211" y="620918"/>
                  </a:lnTo>
                  <a:lnTo>
                    <a:pt x="410613" y="609862"/>
                  </a:lnTo>
                  <a:lnTo>
                    <a:pt x="473341" y="597054"/>
                  </a:lnTo>
                  <a:lnTo>
                    <a:pt x="540541" y="582862"/>
                  </a:lnTo>
                  <a:lnTo>
                    <a:pt x="610359" y="567656"/>
                  </a:lnTo>
                  <a:lnTo>
                    <a:pt x="680942" y="551804"/>
                  </a:lnTo>
                  <a:lnTo>
                    <a:pt x="750435" y="535676"/>
                  </a:lnTo>
                  <a:lnTo>
                    <a:pt x="816984" y="519642"/>
                  </a:lnTo>
                  <a:lnTo>
                    <a:pt x="878736" y="504069"/>
                  </a:lnTo>
                  <a:lnTo>
                    <a:pt x="933836" y="489327"/>
                  </a:lnTo>
                  <a:lnTo>
                    <a:pt x="980431" y="475785"/>
                  </a:lnTo>
                  <a:lnTo>
                    <a:pt x="1016667" y="463812"/>
                  </a:lnTo>
                  <a:lnTo>
                    <a:pt x="1050645" y="446051"/>
                  </a:lnTo>
                  <a:lnTo>
                    <a:pt x="1052477" y="422213"/>
                  </a:lnTo>
                  <a:lnTo>
                    <a:pt x="1047660" y="384013"/>
                  </a:lnTo>
                  <a:lnTo>
                    <a:pt x="1037230" y="335212"/>
                  </a:lnTo>
                  <a:lnTo>
                    <a:pt x="1022221" y="279569"/>
                  </a:lnTo>
                  <a:lnTo>
                    <a:pt x="1003668" y="220845"/>
                  </a:lnTo>
                  <a:lnTo>
                    <a:pt x="982606" y="162800"/>
                  </a:lnTo>
                  <a:lnTo>
                    <a:pt x="960072" y="109194"/>
                  </a:lnTo>
                  <a:lnTo>
                    <a:pt x="937099" y="63788"/>
                  </a:lnTo>
                  <a:lnTo>
                    <a:pt x="914722" y="30341"/>
                  </a:lnTo>
                  <a:lnTo>
                    <a:pt x="876440" y="8310"/>
                  </a:lnTo>
                  <a:lnTo>
                    <a:pt x="806180" y="2480"/>
                  </a:lnTo>
                  <a:lnTo>
                    <a:pt x="756637" y="863"/>
                  </a:lnTo>
                  <a:lnTo>
                    <a:pt x="699606" y="51"/>
                  </a:lnTo>
                  <a:close/>
                </a:path>
              </a:pathLst>
            </a:custGeom>
            <a:solidFill>
              <a:srgbClr val="D1D3D4"/>
            </a:solidFill>
          </p:spPr>
          <p:txBody>
            <a:bodyPr wrap="square" lIns="0" tIns="0" rIns="0" bIns="0" rtlCol="0"/>
            <a:lstStyle/>
            <a:p>
              <a:endParaRPr sz="649"/>
            </a:p>
          </p:txBody>
        </p:sp>
        <p:sp>
          <p:nvSpPr>
            <p:cNvPr id="50" name="object 50"/>
            <p:cNvSpPr/>
            <p:nvPr/>
          </p:nvSpPr>
          <p:spPr>
            <a:xfrm>
              <a:off x="4335036" y="4011728"/>
              <a:ext cx="1052830" cy="640715"/>
            </a:xfrm>
            <a:custGeom>
              <a:avLst/>
              <a:gdLst/>
              <a:ahLst/>
              <a:cxnLst/>
              <a:rect l="l" t="t" r="r" b="b"/>
              <a:pathLst>
                <a:path w="1052829" h="640714">
                  <a:moveTo>
                    <a:pt x="1050645" y="446051"/>
                  </a:moveTo>
                  <a:lnTo>
                    <a:pt x="1047660" y="384013"/>
                  </a:lnTo>
                  <a:lnTo>
                    <a:pt x="1037230" y="335212"/>
                  </a:lnTo>
                  <a:lnTo>
                    <a:pt x="1022221" y="279569"/>
                  </a:lnTo>
                  <a:lnTo>
                    <a:pt x="1003668" y="220845"/>
                  </a:lnTo>
                  <a:lnTo>
                    <a:pt x="982606" y="162800"/>
                  </a:lnTo>
                  <a:lnTo>
                    <a:pt x="960072" y="109194"/>
                  </a:lnTo>
                  <a:lnTo>
                    <a:pt x="937099" y="63788"/>
                  </a:lnTo>
                  <a:lnTo>
                    <a:pt x="914722" y="30341"/>
                  </a:lnTo>
                  <a:lnTo>
                    <a:pt x="876440" y="8310"/>
                  </a:lnTo>
                  <a:lnTo>
                    <a:pt x="806180" y="2480"/>
                  </a:lnTo>
                  <a:lnTo>
                    <a:pt x="756637" y="863"/>
                  </a:lnTo>
                  <a:lnTo>
                    <a:pt x="699606" y="51"/>
                  </a:lnTo>
                  <a:lnTo>
                    <a:pt x="636676" y="0"/>
                  </a:lnTo>
                  <a:lnTo>
                    <a:pt x="569436" y="663"/>
                  </a:lnTo>
                  <a:lnTo>
                    <a:pt x="499476" y="1997"/>
                  </a:lnTo>
                  <a:lnTo>
                    <a:pt x="428386" y="3956"/>
                  </a:lnTo>
                  <a:lnTo>
                    <a:pt x="357756" y="6496"/>
                  </a:lnTo>
                  <a:lnTo>
                    <a:pt x="289174" y="9571"/>
                  </a:lnTo>
                  <a:lnTo>
                    <a:pt x="224231" y="13136"/>
                  </a:lnTo>
                  <a:lnTo>
                    <a:pt x="164516" y="17147"/>
                  </a:lnTo>
                  <a:lnTo>
                    <a:pt x="111618" y="21558"/>
                  </a:lnTo>
                  <a:lnTo>
                    <a:pt x="67129" y="26324"/>
                  </a:lnTo>
                  <a:lnTo>
                    <a:pt x="9729" y="36743"/>
                  </a:lnTo>
                  <a:lnTo>
                    <a:pt x="0" y="42306"/>
                  </a:lnTo>
                  <a:lnTo>
                    <a:pt x="306" y="58922"/>
                  </a:lnTo>
                  <a:lnTo>
                    <a:pt x="21005" y="136080"/>
                  </a:lnTo>
                  <a:lnTo>
                    <a:pt x="39112" y="190774"/>
                  </a:lnTo>
                  <a:lnTo>
                    <a:pt x="60865" y="252313"/>
                  </a:lnTo>
                  <a:lnTo>
                    <a:pt x="85121" y="317774"/>
                  </a:lnTo>
                  <a:lnTo>
                    <a:pt x="110737" y="384233"/>
                  </a:lnTo>
                  <a:lnTo>
                    <a:pt x="136569" y="448767"/>
                  </a:lnTo>
                  <a:lnTo>
                    <a:pt x="161473" y="508453"/>
                  </a:lnTo>
                  <a:lnTo>
                    <a:pt x="184306" y="560366"/>
                  </a:lnTo>
                  <a:lnTo>
                    <a:pt x="203924" y="601583"/>
                  </a:lnTo>
                  <a:lnTo>
                    <a:pt x="228942" y="640234"/>
                  </a:lnTo>
                  <a:lnTo>
                    <a:pt x="241501" y="639880"/>
                  </a:lnTo>
                  <a:lnTo>
                    <a:pt x="305989" y="629853"/>
                  </a:lnTo>
                  <a:lnTo>
                    <a:pt x="354211" y="620918"/>
                  </a:lnTo>
                  <a:lnTo>
                    <a:pt x="410613" y="609862"/>
                  </a:lnTo>
                  <a:lnTo>
                    <a:pt x="473341" y="597054"/>
                  </a:lnTo>
                  <a:lnTo>
                    <a:pt x="540541" y="582862"/>
                  </a:lnTo>
                  <a:lnTo>
                    <a:pt x="610359" y="567656"/>
                  </a:lnTo>
                  <a:lnTo>
                    <a:pt x="680942" y="551804"/>
                  </a:lnTo>
                  <a:lnTo>
                    <a:pt x="750435" y="535676"/>
                  </a:lnTo>
                  <a:lnTo>
                    <a:pt x="816984" y="519642"/>
                  </a:lnTo>
                  <a:lnTo>
                    <a:pt x="878736" y="504069"/>
                  </a:lnTo>
                  <a:lnTo>
                    <a:pt x="933836" y="489327"/>
                  </a:lnTo>
                  <a:lnTo>
                    <a:pt x="980431" y="475785"/>
                  </a:lnTo>
                  <a:lnTo>
                    <a:pt x="1016667" y="463812"/>
                  </a:lnTo>
                  <a:lnTo>
                    <a:pt x="1050645" y="446051"/>
                  </a:lnTo>
                  <a:close/>
                </a:path>
              </a:pathLst>
            </a:custGeom>
            <a:ln w="25399">
              <a:solidFill>
                <a:srgbClr val="231F20"/>
              </a:solidFill>
            </a:ln>
          </p:spPr>
          <p:txBody>
            <a:bodyPr wrap="square" lIns="0" tIns="0" rIns="0" bIns="0" rtlCol="0"/>
            <a:lstStyle/>
            <a:p>
              <a:endParaRPr sz="649"/>
            </a:p>
          </p:txBody>
        </p:sp>
      </p:grpSp>
      <p:grpSp>
        <p:nvGrpSpPr>
          <p:cNvPr id="51" name="object 51"/>
          <p:cNvGrpSpPr/>
          <p:nvPr/>
        </p:nvGrpSpPr>
        <p:grpSpPr>
          <a:xfrm>
            <a:off x="3004749" y="2484305"/>
            <a:ext cx="1348905" cy="875031"/>
            <a:chOff x="520920" y="5163306"/>
            <a:chExt cx="2803525" cy="1818639"/>
          </a:xfrm>
        </p:grpSpPr>
        <p:sp>
          <p:nvSpPr>
            <p:cNvPr id="52" name="object 52"/>
            <p:cNvSpPr/>
            <p:nvPr/>
          </p:nvSpPr>
          <p:spPr>
            <a:xfrm>
              <a:off x="2543812" y="5496593"/>
              <a:ext cx="669925" cy="1478915"/>
            </a:xfrm>
            <a:custGeom>
              <a:avLst/>
              <a:gdLst/>
              <a:ahLst/>
              <a:cxnLst/>
              <a:rect l="l" t="t" r="r" b="b"/>
              <a:pathLst>
                <a:path w="669925" h="1478915">
                  <a:moveTo>
                    <a:pt x="486778" y="367106"/>
                  </a:moveTo>
                  <a:lnTo>
                    <a:pt x="503412" y="356393"/>
                  </a:lnTo>
                  <a:lnTo>
                    <a:pt x="528489" y="358778"/>
                  </a:lnTo>
                  <a:lnTo>
                    <a:pt x="553659" y="363091"/>
                  </a:lnTo>
                  <a:lnTo>
                    <a:pt x="570572" y="358165"/>
                  </a:lnTo>
                  <a:lnTo>
                    <a:pt x="575919" y="350863"/>
                  </a:lnTo>
                  <a:lnTo>
                    <a:pt x="584085" y="338170"/>
                  </a:lnTo>
                  <a:lnTo>
                    <a:pt x="593490" y="320337"/>
                  </a:lnTo>
                  <a:lnTo>
                    <a:pt x="602551" y="297611"/>
                  </a:lnTo>
                  <a:lnTo>
                    <a:pt x="607106" y="295867"/>
                  </a:lnTo>
                  <a:lnTo>
                    <a:pt x="615534" y="297875"/>
                  </a:lnTo>
                  <a:lnTo>
                    <a:pt x="625032" y="299354"/>
                  </a:lnTo>
                  <a:lnTo>
                    <a:pt x="632802" y="296024"/>
                  </a:lnTo>
                  <a:lnTo>
                    <a:pt x="634947" y="282736"/>
                  </a:lnTo>
                  <a:lnTo>
                    <a:pt x="632969" y="261410"/>
                  </a:lnTo>
                  <a:lnTo>
                    <a:pt x="630908" y="239874"/>
                  </a:lnTo>
                  <a:lnTo>
                    <a:pt x="632802" y="225958"/>
                  </a:lnTo>
                  <a:lnTo>
                    <a:pt x="646663" y="202090"/>
                  </a:lnTo>
                  <a:lnTo>
                    <a:pt x="655504" y="177699"/>
                  </a:lnTo>
                  <a:lnTo>
                    <a:pt x="659020" y="153454"/>
                  </a:lnTo>
                  <a:lnTo>
                    <a:pt x="656907" y="130022"/>
                  </a:lnTo>
                  <a:lnTo>
                    <a:pt x="659518" y="124896"/>
                  </a:lnTo>
                  <a:lnTo>
                    <a:pt x="665533" y="117978"/>
                  </a:lnTo>
                  <a:lnTo>
                    <a:pt x="669573" y="110014"/>
                  </a:lnTo>
                  <a:lnTo>
                    <a:pt x="666254" y="101752"/>
                  </a:lnTo>
                  <a:lnTo>
                    <a:pt x="652543" y="88755"/>
                  </a:lnTo>
                  <a:lnTo>
                    <a:pt x="642700" y="79038"/>
                  </a:lnTo>
                  <a:lnTo>
                    <a:pt x="600418" y="42285"/>
                  </a:lnTo>
                  <a:lnTo>
                    <a:pt x="548425" y="14944"/>
                  </a:lnTo>
                  <a:lnTo>
                    <a:pt x="501120" y="2711"/>
                  </a:lnTo>
                  <a:lnTo>
                    <a:pt x="478039" y="0"/>
                  </a:lnTo>
                  <a:lnTo>
                    <a:pt x="458584" y="1460"/>
                  </a:lnTo>
                  <a:lnTo>
                    <a:pt x="446493" y="9398"/>
                  </a:lnTo>
                  <a:lnTo>
                    <a:pt x="437948" y="17233"/>
                  </a:lnTo>
                  <a:lnTo>
                    <a:pt x="424362" y="25441"/>
                  </a:lnTo>
                  <a:lnTo>
                    <a:pt x="391221" y="55338"/>
                  </a:lnTo>
                  <a:lnTo>
                    <a:pt x="383800" y="85417"/>
                  </a:lnTo>
                  <a:lnTo>
                    <a:pt x="380377" y="101333"/>
                  </a:lnTo>
                  <a:lnTo>
                    <a:pt x="374930" y="115880"/>
                  </a:lnTo>
                  <a:lnTo>
                    <a:pt x="368788" y="128489"/>
                  </a:lnTo>
                  <a:lnTo>
                    <a:pt x="363475" y="141159"/>
                  </a:lnTo>
                  <a:lnTo>
                    <a:pt x="360514" y="155892"/>
                  </a:lnTo>
                  <a:lnTo>
                    <a:pt x="361515" y="164102"/>
                  </a:lnTo>
                  <a:lnTo>
                    <a:pt x="364328" y="174407"/>
                  </a:lnTo>
                  <a:lnTo>
                    <a:pt x="367155" y="184662"/>
                  </a:lnTo>
                  <a:lnTo>
                    <a:pt x="368198" y="192722"/>
                  </a:lnTo>
                  <a:lnTo>
                    <a:pt x="368207" y="212800"/>
                  </a:lnTo>
                  <a:lnTo>
                    <a:pt x="369703" y="233902"/>
                  </a:lnTo>
                  <a:lnTo>
                    <a:pt x="370913" y="252279"/>
                  </a:lnTo>
                  <a:lnTo>
                    <a:pt x="362442" y="290787"/>
                  </a:lnTo>
                  <a:lnTo>
                    <a:pt x="318806" y="325229"/>
                  </a:lnTo>
                  <a:lnTo>
                    <a:pt x="281468" y="338750"/>
                  </a:lnTo>
                  <a:lnTo>
                    <a:pt x="239299" y="359800"/>
                  </a:lnTo>
                  <a:lnTo>
                    <a:pt x="196850" y="392734"/>
                  </a:lnTo>
                  <a:lnTo>
                    <a:pt x="168087" y="426592"/>
                  </a:lnTo>
                  <a:lnTo>
                    <a:pt x="139094" y="470480"/>
                  </a:lnTo>
                  <a:lnTo>
                    <a:pt x="110712" y="521421"/>
                  </a:lnTo>
                  <a:lnTo>
                    <a:pt x="83786" y="576443"/>
                  </a:lnTo>
                  <a:lnTo>
                    <a:pt x="59158" y="632567"/>
                  </a:lnTo>
                  <a:lnTo>
                    <a:pt x="37671" y="686821"/>
                  </a:lnTo>
                  <a:lnTo>
                    <a:pt x="20168" y="736228"/>
                  </a:lnTo>
                  <a:lnTo>
                    <a:pt x="7494" y="777812"/>
                  </a:lnTo>
                  <a:lnTo>
                    <a:pt x="0" y="825614"/>
                  </a:lnTo>
                  <a:lnTo>
                    <a:pt x="17367" y="838278"/>
                  </a:lnTo>
                  <a:lnTo>
                    <a:pt x="56907" y="853137"/>
                  </a:lnTo>
                  <a:lnTo>
                    <a:pt x="111205" y="869754"/>
                  </a:lnTo>
                  <a:lnTo>
                    <a:pt x="172850" y="887693"/>
                  </a:lnTo>
                  <a:lnTo>
                    <a:pt x="234426" y="906516"/>
                  </a:lnTo>
                  <a:lnTo>
                    <a:pt x="288521" y="925785"/>
                  </a:lnTo>
                  <a:lnTo>
                    <a:pt x="327722" y="945065"/>
                  </a:lnTo>
                  <a:lnTo>
                    <a:pt x="344614" y="963917"/>
                  </a:lnTo>
                  <a:lnTo>
                    <a:pt x="343586" y="991571"/>
                  </a:lnTo>
                  <a:lnTo>
                    <a:pt x="335150" y="1031981"/>
                  </a:lnTo>
                  <a:lnTo>
                    <a:pt x="321997" y="1082027"/>
                  </a:lnTo>
                  <a:lnTo>
                    <a:pt x="306814" y="1138586"/>
                  </a:lnTo>
                  <a:lnTo>
                    <a:pt x="292292" y="1198539"/>
                  </a:lnTo>
                  <a:lnTo>
                    <a:pt x="281119" y="1258764"/>
                  </a:lnTo>
                  <a:lnTo>
                    <a:pt x="275984" y="1316141"/>
                  </a:lnTo>
                  <a:lnTo>
                    <a:pt x="279577" y="1367548"/>
                  </a:lnTo>
                  <a:lnTo>
                    <a:pt x="285231" y="1372978"/>
                  </a:lnTo>
                  <a:lnTo>
                    <a:pt x="295705" y="1375410"/>
                  </a:lnTo>
                  <a:lnTo>
                    <a:pt x="305672" y="1377689"/>
                  </a:lnTo>
                  <a:lnTo>
                    <a:pt x="309803" y="1382661"/>
                  </a:lnTo>
                  <a:lnTo>
                    <a:pt x="308158" y="1412020"/>
                  </a:lnTo>
                  <a:lnTo>
                    <a:pt x="307721" y="1438987"/>
                  </a:lnTo>
                  <a:lnTo>
                    <a:pt x="308435" y="1460337"/>
                  </a:lnTo>
                  <a:lnTo>
                    <a:pt x="374469" y="1477796"/>
                  </a:lnTo>
                  <a:lnTo>
                    <a:pt x="437014" y="1478668"/>
                  </a:lnTo>
                  <a:lnTo>
                    <a:pt x="505736" y="1478708"/>
                  </a:lnTo>
                  <a:lnTo>
                    <a:pt x="570048" y="1478094"/>
                  </a:lnTo>
                  <a:lnTo>
                    <a:pt x="619365" y="1477003"/>
                  </a:lnTo>
                  <a:lnTo>
                    <a:pt x="643102" y="1475613"/>
                  </a:lnTo>
                  <a:lnTo>
                    <a:pt x="658229" y="1461959"/>
                  </a:lnTo>
                  <a:lnTo>
                    <a:pt x="661879" y="1437062"/>
                  </a:lnTo>
                  <a:lnTo>
                    <a:pt x="656718" y="1411983"/>
                  </a:lnTo>
                  <a:lnTo>
                    <a:pt x="593944" y="1383016"/>
                  </a:lnTo>
                  <a:lnTo>
                    <a:pt x="522144" y="1366097"/>
                  </a:lnTo>
                  <a:lnTo>
                    <a:pt x="458312" y="1352174"/>
                  </a:lnTo>
                  <a:lnTo>
                    <a:pt x="430745" y="1346390"/>
                  </a:lnTo>
                  <a:lnTo>
                    <a:pt x="445311" y="1338465"/>
                  </a:lnTo>
                  <a:lnTo>
                    <a:pt x="486585" y="1235051"/>
                  </a:lnTo>
                  <a:lnTo>
                    <a:pt x="508815" y="1092554"/>
                  </a:lnTo>
                  <a:lnTo>
                    <a:pt x="528327" y="954406"/>
                  </a:lnTo>
                  <a:lnTo>
                    <a:pt x="536702" y="892403"/>
                  </a:lnTo>
                  <a:lnTo>
                    <a:pt x="523303" y="853554"/>
                  </a:lnTo>
                  <a:lnTo>
                    <a:pt x="489208" y="809717"/>
                  </a:lnTo>
                  <a:lnTo>
                    <a:pt x="454225" y="773885"/>
                  </a:lnTo>
                  <a:lnTo>
                    <a:pt x="438162" y="759053"/>
                  </a:lnTo>
                </a:path>
              </a:pathLst>
            </a:custGeom>
            <a:ln w="12699">
              <a:solidFill>
                <a:srgbClr val="231F20"/>
              </a:solidFill>
            </a:ln>
          </p:spPr>
          <p:txBody>
            <a:bodyPr wrap="square" lIns="0" tIns="0" rIns="0" bIns="0" rtlCol="0"/>
            <a:lstStyle/>
            <a:p>
              <a:endParaRPr sz="649"/>
            </a:p>
          </p:txBody>
        </p:sp>
        <p:sp>
          <p:nvSpPr>
            <p:cNvPr id="53" name="object 53"/>
            <p:cNvSpPr/>
            <p:nvPr/>
          </p:nvSpPr>
          <p:spPr>
            <a:xfrm>
              <a:off x="2788050" y="5855452"/>
              <a:ext cx="341630" cy="422909"/>
            </a:xfrm>
            <a:custGeom>
              <a:avLst/>
              <a:gdLst/>
              <a:ahLst/>
              <a:cxnLst/>
              <a:rect l="l" t="t" r="r" b="b"/>
              <a:pathLst>
                <a:path w="341630" h="422910">
                  <a:moveTo>
                    <a:pt x="128066" y="152839"/>
                  </a:moveTo>
                  <a:lnTo>
                    <a:pt x="150202" y="249334"/>
                  </a:lnTo>
                  <a:lnTo>
                    <a:pt x="194678" y="169813"/>
                  </a:lnTo>
                  <a:lnTo>
                    <a:pt x="218400" y="126037"/>
                  </a:lnTo>
                  <a:lnTo>
                    <a:pt x="229375" y="102467"/>
                  </a:lnTo>
                  <a:lnTo>
                    <a:pt x="235610" y="83561"/>
                  </a:lnTo>
                  <a:lnTo>
                    <a:pt x="239762" y="63917"/>
                  </a:lnTo>
                  <a:lnTo>
                    <a:pt x="240661" y="46777"/>
                  </a:lnTo>
                  <a:lnTo>
                    <a:pt x="240518" y="29563"/>
                  </a:lnTo>
                  <a:lnTo>
                    <a:pt x="241541" y="9698"/>
                  </a:lnTo>
                  <a:lnTo>
                    <a:pt x="258543" y="0"/>
                  </a:lnTo>
                  <a:lnTo>
                    <a:pt x="293443" y="2484"/>
                  </a:lnTo>
                  <a:lnTo>
                    <a:pt x="327366" y="14398"/>
                  </a:lnTo>
                  <a:lnTo>
                    <a:pt x="341439" y="32989"/>
                  </a:lnTo>
                  <a:lnTo>
                    <a:pt x="334512" y="58022"/>
                  </a:lnTo>
                  <a:lnTo>
                    <a:pt x="322273" y="76936"/>
                  </a:lnTo>
                  <a:lnTo>
                    <a:pt x="308394" y="94724"/>
                  </a:lnTo>
                  <a:lnTo>
                    <a:pt x="296545" y="116378"/>
                  </a:lnTo>
                  <a:lnTo>
                    <a:pt x="277627" y="168418"/>
                  </a:lnTo>
                  <a:lnTo>
                    <a:pt x="258366" y="224288"/>
                  </a:lnTo>
                  <a:lnTo>
                    <a:pt x="239225" y="280033"/>
                  </a:lnTo>
                  <a:lnTo>
                    <a:pt x="220663" y="331696"/>
                  </a:lnTo>
                  <a:lnTo>
                    <a:pt x="203144" y="375322"/>
                  </a:lnTo>
                  <a:lnTo>
                    <a:pt x="187127" y="406955"/>
                  </a:lnTo>
                  <a:lnTo>
                    <a:pt x="173075" y="422638"/>
                  </a:lnTo>
                  <a:lnTo>
                    <a:pt x="130216" y="397773"/>
                  </a:lnTo>
                  <a:lnTo>
                    <a:pt x="72478" y="324980"/>
                  </a:lnTo>
                  <a:lnTo>
                    <a:pt x="21770" y="248707"/>
                  </a:lnTo>
                  <a:lnTo>
                    <a:pt x="0" y="213406"/>
                  </a:lnTo>
                  <a:lnTo>
                    <a:pt x="21708" y="195589"/>
                  </a:lnTo>
                  <a:lnTo>
                    <a:pt x="59475" y="172535"/>
                  </a:lnTo>
                  <a:lnTo>
                    <a:pt x="99521" y="154775"/>
                  </a:lnTo>
                  <a:lnTo>
                    <a:pt x="128066" y="152839"/>
                  </a:lnTo>
                  <a:close/>
                </a:path>
              </a:pathLst>
            </a:custGeom>
            <a:ln w="12700">
              <a:solidFill>
                <a:srgbClr val="231F20"/>
              </a:solidFill>
            </a:ln>
          </p:spPr>
          <p:txBody>
            <a:bodyPr wrap="square" lIns="0" tIns="0" rIns="0" bIns="0" rtlCol="0"/>
            <a:lstStyle/>
            <a:p>
              <a:endParaRPr sz="649"/>
            </a:p>
          </p:txBody>
        </p:sp>
        <p:sp>
          <p:nvSpPr>
            <p:cNvPr id="54" name="object 54"/>
            <p:cNvSpPr/>
            <p:nvPr/>
          </p:nvSpPr>
          <p:spPr>
            <a:xfrm>
              <a:off x="520920" y="6967191"/>
              <a:ext cx="2803525" cy="12700"/>
            </a:xfrm>
            <a:custGeom>
              <a:avLst/>
              <a:gdLst/>
              <a:ahLst/>
              <a:cxnLst/>
              <a:rect l="l" t="t" r="r" b="b"/>
              <a:pathLst>
                <a:path w="2803525" h="12700">
                  <a:moveTo>
                    <a:pt x="0" y="12700"/>
                  </a:moveTo>
                  <a:lnTo>
                    <a:pt x="2803037" y="12700"/>
                  </a:lnTo>
                  <a:lnTo>
                    <a:pt x="2803037" y="0"/>
                  </a:lnTo>
                  <a:lnTo>
                    <a:pt x="0" y="0"/>
                  </a:lnTo>
                  <a:lnTo>
                    <a:pt x="0" y="12700"/>
                  </a:lnTo>
                  <a:close/>
                </a:path>
              </a:pathLst>
            </a:custGeom>
            <a:solidFill>
              <a:srgbClr val="231F20"/>
            </a:solidFill>
          </p:spPr>
          <p:txBody>
            <a:bodyPr wrap="square" lIns="0" tIns="0" rIns="0" bIns="0" rtlCol="0"/>
            <a:lstStyle/>
            <a:p>
              <a:endParaRPr sz="649"/>
            </a:p>
          </p:txBody>
        </p:sp>
        <p:sp>
          <p:nvSpPr>
            <p:cNvPr id="55" name="object 55"/>
            <p:cNvSpPr/>
            <p:nvPr/>
          </p:nvSpPr>
          <p:spPr>
            <a:xfrm>
              <a:off x="1064751" y="5169656"/>
              <a:ext cx="601980" cy="845185"/>
            </a:xfrm>
            <a:custGeom>
              <a:avLst/>
              <a:gdLst/>
              <a:ahLst/>
              <a:cxnLst/>
              <a:rect l="l" t="t" r="r" b="b"/>
              <a:pathLst>
                <a:path w="601980" h="845185">
                  <a:moveTo>
                    <a:pt x="12476" y="215963"/>
                  </a:moveTo>
                  <a:lnTo>
                    <a:pt x="0" y="169635"/>
                  </a:lnTo>
                  <a:lnTo>
                    <a:pt x="3495" y="135769"/>
                  </a:lnTo>
                  <a:lnTo>
                    <a:pt x="12942" y="114990"/>
                  </a:lnTo>
                  <a:lnTo>
                    <a:pt x="18318" y="107924"/>
                  </a:lnTo>
                  <a:lnTo>
                    <a:pt x="18209" y="99697"/>
                  </a:lnTo>
                  <a:lnTo>
                    <a:pt x="42746" y="54891"/>
                  </a:lnTo>
                  <a:lnTo>
                    <a:pt x="75128" y="31656"/>
                  </a:lnTo>
                  <a:lnTo>
                    <a:pt x="111030" y="11890"/>
                  </a:lnTo>
                  <a:lnTo>
                    <a:pt x="159096" y="2891"/>
                  </a:lnTo>
                  <a:lnTo>
                    <a:pt x="179125" y="3671"/>
                  </a:lnTo>
                  <a:lnTo>
                    <a:pt x="196954" y="3349"/>
                  </a:lnTo>
                  <a:lnTo>
                    <a:pt x="210659" y="0"/>
                  </a:lnTo>
                  <a:lnTo>
                    <a:pt x="225079" y="2323"/>
                  </a:lnTo>
                  <a:lnTo>
                    <a:pt x="243605" y="14254"/>
                  </a:lnTo>
                  <a:lnTo>
                    <a:pt x="262143" y="26744"/>
                  </a:lnTo>
                  <a:lnTo>
                    <a:pt x="276598" y="30746"/>
                  </a:lnTo>
                  <a:lnTo>
                    <a:pt x="282639" y="30912"/>
                  </a:lnTo>
                  <a:lnTo>
                    <a:pt x="281370" y="36166"/>
                  </a:lnTo>
                  <a:lnTo>
                    <a:pt x="276876" y="43873"/>
                  </a:lnTo>
                  <a:lnTo>
                    <a:pt x="273245" y="51396"/>
                  </a:lnTo>
                  <a:lnTo>
                    <a:pt x="280360" y="65617"/>
                  </a:lnTo>
                  <a:lnTo>
                    <a:pt x="298612" y="89482"/>
                  </a:lnTo>
                  <a:lnTo>
                    <a:pt x="317870" y="114460"/>
                  </a:lnTo>
                  <a:lnTo>
                    <a:pt x="328007" y="132016"/>
                  </a:lnTo>
                  <a:lnTo>
                    <a:pt x="328338" y="145269"/>
                  </a:lnTo>
                  <a:lnTo>
                    <a:pt x="326206" y="160123"/>
                  </a:lnTo>
                  <a:lnTo>
                    <a:pt x="323523" y="172226"/>
                  </a:lnTo>
                  <a:lnTo>
                    <a:pt x="322203" y="177228"/>
                  </a:lnTo>
                  <a:lnTo>
                    <a:pt x="351000" y="203828"/>
                  </a:lnTo>
                  <a:lnTo>
                    <a:pt x="365787" y="218527"/>
                  </a:lnTo>
                  <a:lnTo>
                    <a:pt x="371235" y="226575"/>
                  </a:lnTo>
                  <a:lnTo>
                    <a:pt x="372013" y="233222"/>
                  </a:lnTo>
                  <a:lnTo>
                    <a:pt x="367893" y="240317"/>
                  </a:lnTo>
                  <a:lnTo>
                    <a:pt x="358830" y="245908"/>
                  </a:lnTo>
                  <a:lnTo>
                    <a:pt x="349767" y="249573"/>
                  </a:lnTo>
                  <a:lnTo>
                    <a:pt x="345648" y="250888"/>
                  </a:lnTo>
                  <a:lnTo>
                    <a:pt x="351634" y="271463"/>
                  </a:lnTo>
                  <a:lnTo>
                    <a:pt x="355154" y="283664"/>
                  </a:lnTo>
                  <a:lnTo>
                    <a:pt x="357578" y="292297"/>
                  </a:lnTo>
                  <a:lnTo>
                    <a:pt x="360278" y="302171"/>
                  </a:lnTo>
                  <a:lnTo>
                    <a:pt x="361845" y="315495"/>
                  </a:lnTo>
                  <a:lnTo>
                    <a:pt x="360208" y="329804"/>
                  </a:lnTo>
                  <a:lnTo>
                    <a:pt x="355752" y="342920"/>
                  </a:lnTo>
                  <a:lnTo>
                    <a:pt x="348861" y="352666"/>
                  </a:lnTo>
                  <a:lnTo>
                    <a:pt x="335406" y="358006"/>
                  </a:lnTo>
                  <a:lnTo>
                    <a:pt x="316293" y="362078"/>
                  </a:lnTo>
                  <a:lnTo>
                    <a:pt x="299449" y="368991"/>
                  </a:lnTo>
                  <a:lnTo>
                    <a:pt x="292803" y="382854"/>
                  </a:lnTo>
                  <a:lnTo>
                    <a:pt x="291930" y="402697"/>
                  </a:lnTo>
                  <a:lnTo>
                    <a:pt x="289136" y="422817"/>
                  </a:lnTo>
                  <a:lnTo>
                    <a:pt x="287442" y="440189"/>
                  </a:lnTo>
                  <a:lnTo>
                    <a:pt x="289869" y="451789"/>
                  </a:lnTo>
                  <a:lnTo>
                    <a:pt x="312087" y="462842"/>
                  </a:lnTo>
                  <a:lnTo>
                    <a:pt x="356578" y="481145"/>
                  </a:lnTo>
                  <a:lnTo>
                    <a:pt x="406586" y="507507"/>
                  </a:lnTo>
                  <a:lnTo>
                    <a:pt x="445355" y="542734"/>
                  </a:lnTo>
                  <a:lnTo>
                    <a:pt x="465861" y="575246"/>
                  </a:lnTo>
                  <a:lnTo>
                    <a:pt x="489783" y="617498"/>
                  </a:lnTo>
                  <a:lnTo>
                    <a:pt x="515432" y="665774"/>
                  </a:lnTo>
                  <a:lnTo>
                    <a:pt x="541117" y="716358"/>
                  </a:lnTo>
                  <a:lnTo>
                    <a:pt x="565148" y="765532"/>
                  </a:lnTo>
                  <a:lnTo>
                    <a:pt x="585836" y="809582"/>
                  </a:lnTo>
                  <a:lnTo>
                    <a:pt x="601489" y="844791"/>
                  </a:lnTo>
                </a:path>
              </a:pathLst>
            </a:custGeom>
            <a:ln w="12699">
              <a:solidFill>
                <a:srgbClr val="231F20"/>
              </a:solidFill>
            </a:ln>
          </p:spPr>
          <p:txBody>
            <a:bodyPr wrap="square" lIns="0" tIns="0" rIns="0" bIns="0" rtlCol="0"/>
            <a:lstStyle/>
            <a:p>
              <a:endParaRPr sz="649"/>
            </a:p>
          </p:txBody>
        </p:sp>
        <p:sp>
          <p:nvSpPr>
            <p:cNvPr id="56" name="object 56"/>
            <p:cNvSpPr/>
            <p:nvPr/>
          </p:nvSpPr>
          <p:spPr>
            <a:xfrm>
              <a:off x="1399774" y="5919219"/>
              <a:ext cx="1189990" cy="1055370"/>
            </a:xfrm>
            <a:custGeom>
              <a:avLst/>
              <a:gdLst/>
              <a:ahLst/>
              <a:cxnLst/>
              <a:rect l="l" t="t" r="r" b="b"/>
              <a:pathLst>
                <a:path w="1189989" h="1055370">
                  <a:moveTo>
                    <a:pt x="165773" y="0"/>
                  </a:moveTo>
                  <a:lnTo>
                    <a:pt x="231517" y="62555"/>
                  </a:lnTo>
                  <a:lnTo>
                    <a:pt x="281212" y="111094"/>
                  </a:lnTo>
                  <a:lnTo>
                    <a:pt x="313245" y="144780"/>
                  </a:lnTo>
                  <a:lnTo>
                    <a:pt x="340488" y="184519"/>
                  </a:lnTo>
                  <a:lnTo>
                    <a:pt x="350809" y="198242"/>
                  </a:lnTo>
                  <a:lnTo>
                    <a:pt x="359130" y="202133"/>
                  </a:lnTo>
                  <a:lnTo>
                    <a:pt x="378354" y="199499"/>
                  </a:lnTo>
                  <a:lnTo>
                    <a:pt x="421023" y="195200"/>
                  </a:lnTo>
                  <a:lnTo>
                    <a:pt x="612083" y="177222"/>
                  </a:lnTo>
                  <a:lnTo>
                    <a:pt x="670915" y="171170"/>
                  </a:lnTo>
                  <a:lnTo>
                    <a:pt x="737384" y="172319"/>
                  </a:lnTo>
                  <a:lnTo>
                    <a:pt x="781350" y="188345"/>
                  </a:lnTo>
                  <a:lnTo>
                    <a:pt x="805648" y="212313"/>
                  </a:lnTo>
                  <a:lnTo>
                    <a:pt x="813117" y="237286"/>
                  </a:lnTo>
                  <a:lnTo>
                    <a:pt x="300774" y="397014"/>
                  </a:lnTo>
                  <a:lnTo>
                    <a:pt x="378209" y="381170"/>
                  </a:lnTo>
                  <a:lnTo>
                    <a:pt x="444001" y="379044"/>
                  </a:lnTo>
                  <a:lnTo>
                    <a:pt x="498273" y="386961"/>
                  </a:lnTo>
                  <a:lnTo>
                    <a:pt x="541150" y="401248"/>
                  </a:lnTo>
                  <a:lnTo>
                    <a:pt x="593217" y="434238"/>
                  </a:lnTo>
                  <a:lnTo>
                    <a:pt x="607883" y="494543"/>
                  </a:lnTo>
                  <a:lnTo>
                    <a:pt x="619669" y="554585"/>
                  </a:lnTo>
                  <a:lnTo>
                    <a:pt x="647105" y="699404"/>
                  </a:lnTo>
                  <a:lnTo>
                    <a:pt x="660740" y="770163"/>
                  </a:lnTo>
                  <a:lnTo>
                    <a:pt x="672975" y="830476"/>
                  </a:lnTo>
                  <a:lnTo>
                    <a:pt x="682803" y="873335"/>
                  </a:lnTo>
                  <a:lnTo>
                    <a:pt x="709501" y="898488"/>
                  </a:lnTo>
                  <a:lnTo>
                    <a:pt x="716644" y="900254"/>
                  </a:lnTo>
                  <a:lnTo>
                    <a:pt x="718718" y="906475"/>
                  </a:lnTo>
                  <a:lnTo>
                    <a:pt x="716274" y="932375"/>
                  </a:lnTo>
                  <a:lnTo>
                    <a:pt x="713232" y="977549"/>
                  </a:lnTo>
                  <a:lnTo>
                    <a:pt x="712342" y="1022720"/>
                  </a:lnTo>
                  <a:lnTo>
                    <a:pt x="774478" y="1054205"/>
                  </a:lnTo>
                  <a:lnTo>
                    <a:pt x="832412" y="1055063"/>
                  </a:lnTo>
                  <a:lnTo>
                    <a:pt x="900879" y="1055008"/>
                  </a:lnTo>
                  <a:lnTo>
                    <a:pt x="973343" y="1054324"/>
                  </a:lnTo>
                  <a:lnTo>
                    <a:pt x="1043267" y="1053297"/>
                  </a:lnTo>
                  <a:lnTo>
                    <a:pt x="1172438" y="1051001"/>
                  </a:lnTo>
                  <a:lnTo>
                    <a:pt x="1189399" y="1016774"/>
                  </a:lnTo>
                  <a:lnTo>
                    <a:pt x="1183429" y="990479"/>
                  </a:lnTo>
                  <a:lnTo>
                    <a:pt x="1173175" y="972718"/>
                  </a:lnTo>
                  <a:lnTo>
                    <a:pt x="1146864" y="962482"/>
                  </a:lnTo>
                  <a:lnTo>
                    <a:pt x="1092371" y="946800"/>
                  </a:lnTo>
                  <a:lnTo>
                    <a:pt x="956845" y="910540"/>
                  </a:lnTo>
                  <a:lnTo>
                    <a:pt x="904815" y="895680"/>
                  </a:lnTo>
                  <a:lnTo>
                    <a:pt x="882611" y="886815"/>
                  </a:lnTo>
                  <a:lnTo>
                    <a:pt x="884789" y="880211"/>
                  </a:lnTo>
                  <a:lnTo>
                    <a:pt x="902660" y="868840"/>
                  </a:lnTo>
                  <a:lnTo>
                    <a:pt x="903909" y="862228"/>
                  </a:lnTo>
                  <a:lnTo>
                    <a:pt x="901206" y="845243"/>
                  </a:lnTo>
                  <a:lnTo>
                    <a:pt x="899144" y="808140"/>
                  </a:lnTo>
                  <a:lnTo>
                    <a:pt x="896967" y="756946"/>
                  </a:lnTo>
                  <a:lnTo>
                    <a:pt x="893917" y="697694"/>
                  </a:lnTo>
                  <a:lnTo>
                    <a:pt x="889236" y="636413"/>
                  </a:lnTo>
                  <a:lnTo>
                    <a:pt x="882167" y="579132"/>
                  </a:lnTo>
                  <a:lnTo>
                    <a:pt x="868603" y="496061"/>
                  </a:lnTo>
                  <a:lnTo>
                    <a:pt x="857248" y="429093"/>
                  </a:lnTo>
                  <a:lnTo>
                    <a:pt x="841101" y="336449"/>
                  </a:lnTo>
                  <a:lnTo>
                    <a:pt x="836274" y="307267"/>
                  </a:lnTo>
                  <a:lnTo>
                    <a:pt x="827685" y="263223"/>
                  </a:lnTo>
                  <a:lnTo>
                    <a:pt x="794774" y="222401"/>
                  </a:lnTo>
                  <a:lnTo>
                    <a:pt x="740673" y="202221"/>
                  </a:lnTo>
                  <a:lnTo>
                    <a:pt x="693247" y="199415"/>
                  </a:lnTo>
                  <a:lnTo>
                    <a:pt x="662038" y="199783"/>
                  </a:lnTo>
                  <a:lnTo>
                    <a:pt x="634336" y="205571"/>
                  </a:lnTo>
                  <a:lnTo>
                    <a:pt x="591716" y="220757"/>
                  </a:lnTo>
                  <a:lnTo>
                    <a:pt x="539313" y="242072"/>
                  </a:lnTo>
                  <a:lnTo>
                    <a:pt x="425701" y="290018"/>
                  </a:lnTo>
                  <a:lnTo>
                    <a:pt x="374763" y="310111"/>
                  </a:lnTo>
                  <a:lnTo>
                    <a:pt x="334583" y="323261"/>
                  </a:lnTo>
                  <a:lnTo>
                    <a:pt x="310299" y="326199"/>
                  </a:lnTo>
                  <a:lnTo>
                    <a:pt x="281919" y="317384"/>
                  </a:lnTo>
                  <a:lnTo>
                    <a:pt x="240136" y="290541"/>
                  </a:lnTo>
                  <a:lnTo>
                    <a:pt x="155860" y="224154"/>
                  </a:lnTo>
                  <a:lnTo>
                    <a:pt x="0" y="96710"/>
                  </a:lnTo>
                  <a:lnTo>
                    <a:pt x="6333" y="94643"/>
                  </a:lnTo>
                  <a:lnTo>
                    <a:pt x="23463" y="88376"/>
                  </a:lnTo>
                  <a:lnTo>
                    <a:pt x="78892" y="62839"/>
                  </a:lnTo>
                  <a:lnTo>
                    <a:pt x="121708" y="37772"/>
                  </a:lnTo>
                  <a:lnTo>
                    <a:pt x="139512" y="23420"/>
                  </a:lnTo>
                  <a:lnTo>
                    <a:pt x="165773" y="0"/>
                  </a:lnTo>
                  <a:close/>
                </a:path>
              </a:pathLst>
            </a:custGeom>
            <a:solidFill>
              <a:srgbClr val="FFFFFF"/>
            </a:solidFill>
          </p:spPr>
          <p:txBody>
            <a:bodyPr wrap="square" lIns="0" tIns="0" rIns="0" bIns="0" rtlCol="0"/>
            <a:lstStyle/>
            <a:p>
              <a:endParaRPr sz="649"/>
            </a:p>
          </p:txBody>
        </p:sp>
        <p:sp>
          <p:nvSpPr>
            <p:cNvPr id="57" name="object 57"/>
            <p:cNvSpPr/>
            <p:nvPr/>
          </p:nvSpPr>
          <p:spPr>
            <a:xfrm>
              <a:off x="1399774" y="5919219"/>
              <a:ext cx="1189990" cy="1055370"/>
            </a:xfrm>
            <a:custGeom>
              <a:avLst/>
              <a:gdLst/>
              <a:ahLst/>
              <a:cxnLst/>
              <a:rect l="l" t="t" r="r" b="b"/>
              <a:pathLst>
                <a:path w="1189989" h="1055370">
                  <a:moveTo>
                    <a:pt x="813117" y="237286"/>
                  </a:moveTo>
                  <a:lnTo>
                    <a:pt x="805648" y="212313"/>
                  </a:lnTo>
                  <a:lnTo>
                    <a:pt x="781350" y="188345"/>
                  </a:lnTo>
                  <a:lnTo>
                    <a:pt x="737384" y="172319"/>
                  </a:lnTo>
                  <a:lnTo>
                    <a:pt x="670915" y="171170"/>
                  </a:lnTo>
                  <a:lnTo>
                    <a:pt x="612083" y="177222"/>
                  </a:lnTo>
                  <a:lnTo>
                    <a:pt x="545649" y="183572"/>
                  </a:lnTo>
                  <a:lnTo>
                    <a:pt x="479375" y="189728"/>
                  </a:lnTo>
                  <a:lnTo>
                    <a:pt x="421023" y="195200"/>
                  </a:lnTo>
                  <a:lnTo>
                    <a:pt x="378354" y="199499"/>
                  </a:lnTo>
                  <a:lnTo>
                    <a:pt x="359130" y="202133"/>
                  </a:lnTo>
                  <a:lnTo>
                    <a:pt x="350809" y="198242"/>
                  </a:lnTo>
                  <a:lnTo>
                    <a:pt x="340488" y="184519"/>
                  </a:lnTo>
                  <a:lnTo>
                    <a:pt x="328017" y="165266"/>
                  </a:lnTo>
                  <a:lnTo>
                    <a:pt x="313245" y="144780"/>
                  </a:lnTo>
                  <a:lnTo>
                    <a:pt x="281212" y="111094"/>
                  </a:lnTo>
                  <a:lnTo>
                    <a:pt x="231517" y="62555"/>
                  </a:lnTo>
                  <a:lnTo>
                    <a:pt x="185818" y="18933"/>
                  </a:lnTo>
                  <a:lnTo>
                    <a:pt x="165773" y="0"/>
                  </a:lnTo>
                  <a:lnTo>
                    <a:pt x="139512" y="23420"/>
                  </a:lnTo>
                  <a:lnTo>
                    <a:pt x="121708" y="37772"/>
                  </a:lnTo>
                  <a:lnTo>
                    <a:pt x="78892" y="62839"/>
                  </a:lnTo>
                  <a:lnTo>
                    <a:pt x="23463" y="88376"/>
                  </a:lnTo>
                  <a:lnTo>
                    <a:pt x="0" y="96710"/>
                  </a:lnTo>
                  <a:lnTo>
                    <a:pt x="155860" y="224154"/>
                  </a:lnTo>
                  <a:lnTo>
                    <a:pt x="240136" y="290541"/>
                  </a:lnTo>
                  <a:lnTo>
                    <a:pt x="281919" y="317384"/>
                  </a:lnTo>
                  <a:lnTo>
                    <a:pt x="310299" y="326199"/>
                  </a:lnTo>
                  <a:lnTo>
                    <a:pt x="334583" y="323261"/>
                  </a:lnTo>
                  <a:lnTo>
                    <a:pt x="374763" y="310111"/>
                  </a:lnTo>
                  <a:lnTo>
                    <a:pt x="425701" y="290018"/>
                  </a:lnTo>
                  <a:lnTo>
                    <a:pt x="482263" y="266249"/>
                  </a:lnTo>
                  <a:lnTo>
                    <a:pt x="539313" y="242072"/>
                  </a:lnTo>
                  <a:lnTo>
                    <a:pt x="591716" y="220757"/>
                  </a:lnTo>
                  <a:lnTo>
                    <a:pt x="634336" y="205571"/>
                  </a:lnTo>
                  <a:lnTo>
                    <a:pt x="662038" y="199783"/>
                  </a:lnTo>
                  <a:lnTo>
                    <a:pt x="693247" y="199415"/>
                  </a:lnTo>
                  <a:lnTo>
                    <a:pt x="717667" y="199588"/>
                  </a:lnTo>
                  <a:lnTo>
                    <a:pt x="767638" y="209232"/>
                  </a:lnTo>
                  <a:lnTo>
                    <a:pt x="814768" y="241015"/>
                  </a:lnTo>
                  <a:lnTo>
                    <a:pt x="833589" y="287172"/>
                  </a:lnTo>
                  <a:lnTo>
                    <a:pt x="836274" y="307267"/>
                  </a:lnTo>
                  <a:lnTo>
                    <a:pt x="841101" y="336449"/>
                  </a:lnTo>
                  <a:lnTo>
                    <a:pt x="848086" y="376474"/>
                  </a:lnTo>
                  <a:lnTo>
                    <a:pt x="857248" y="429093"/>
                  </a:lnTo>
                  <a:lnTo>
                    <a:pt x="868603" y="496061"/>
                  </a:lnTo>
                  <a:lnTo>
                    <a:pt x="882167" y="579132"/>
                  </a:lnTo>
                  <a:lnTo>
                    <a:pt x="889236" y="636413"/>
                  </a:lnTo>
                  <a:lnTo>
                    <a:pt x="893917" y="697694"/>
                  </a:lnTo>
                  <a:lnTo>
                    <a:pt x="896967" y="756946"/>
                  </a:lnTo>
                  <a:lnTo>
                    <a:pt x="899144" y="808140"/>
                  </a:lnTo>
                  <a:lnTo>
                    <a:pt x="901206" y="845243"/>
                  </a:lnTo>
                  <a:lnTo>
                    <a:pt x="903909" y="862228"/>
                  </a:lnTo>
                  <a:lnTo>
                    <a:pt x="902660" y="868840"/>
                  </a:lnTo>
                  <a:lnTo>
                    <a:pt x="893879" y="874526"/>
                  </a:lnTo>
                  <a:lnTo>
                    <a:pt x="884789" y="880211"/>
                  </a:lnTo>
                  <a:lnTo>
                    <a:pt x="882611" y="886815"/>
                  </a:lnTo>
                  <a:lnTo>
                    <a:pt x="904815" y="895680"/>
                  </a:lnTo>
                  <a:lnTo>
                    <a:pt x="956845" y="910540"/>
                  </a:lnTo>
                  <a:lnTo>
                    <a:pt x="1024197" y="928533"/>
                  </a:lnTo>
                  <a:lnTo>
                    <a:pt x="1092371" y="946800"/>
                  </a:lnTo>
                  <a:lnTo>
                    <a:pt x="1146864" y="962482"/>
                  </a:lnTo>
                  <a:lnTo>
                    <a:pt x="1173175" y="972718"/>
                  </a:lnTo>
                  <a:lnTo>
                    <a:pt x="1183429" y="990479"/>
                  </a:lnTo>
                  <a:lnTo>
                    <a:pt x="1189399" y="1016774"/>
                  </a:lnTo>
                  <a:lnTo>
                    <a:pt x="1187073" y="1040612"/>
                  </a:lnTo>
                  <a:lnTo>
                    <a:pt x="1172438" y="1051001"/>
                  </a:lnTo>
                  <a:lnTo>
                    <a:pt x="1149351" y="1051351"/>
                  </a:lnTo>
                  <a:lnTo>
                    <a:pt x="1104115" y="1052211"/>
                  </a:lnTo>
                  <a:lnTo>
                    <a:pt x="1043267" y="1053297"/>
                  </a:lnTo>
                  <a:lnTo>
                    <a:pt x="973343" y="1054324"/>
                  </a:lnTo>
                  <a:lnTo>
                    <a:pt x="900879" y="1055008"/>
                  </a:lnTo>
                  <a:lnTo>
                    <a:pt x="832412" y="1055063"/>
                  </a:lnTo>
                  <a:lnTo>
                    <a:pt x="774478" y="1054205"/>
                  </a:lnTo>
                  <a:lnTo>
                    <a:pt x="733614" y="1052150"/>
                  </a:lnTo>
                  <a:lnTo>
                    <a:pt x="716356" y="1048613"/>
                  </a:lnTo>
                  <a:lnTo>
                    <a:pt x="712342" y="1022720"/>
                  </a:lnTo>
                  <a:lnTo>
                    <a:pt x="713232" y="977549"/>
                  </a:lnTo>
                  <a:lnTo>
                    <a:pt x="716274" y="932375"/>
                  </a:lnTo>
                  <a:lnTo>
                    <a:pt x="718718" y="906475"/>
                  </a:lnTo>
                  <a:lnTo>
                    <a:pt x="716644" y="900254"/>
                  </a:lnTo>
                  <a:lnTo>
                    <a:pt x="709501" y="898488"/>
                  </a:lnTo>
                  <a:lnTo>
                    <a:pt x="699591" y="897029"/>
                  </a:lnTo>
                  <a:lnTo>
                    <a:pt x="689216" y="891730"/>
                  </a:lnTo>
                  <a:lnTo>
                    <a:pt x="672975" y="830476"/>
                  </a:lnTo>
                  <a:lnTo>
                    <a:pt x="660740" y="770163"/>
                  </a:lnTo>
                  <a:lnTo>
                    <a:pt x="647105" y="699404"/>
                  </a:lnTo>
                  <a:lnTo>
                    <a:pt x="633079" y="625209"/>
                  </a:lnTo>
                  <a:lnTo>
                    <a:pt x="619669" y="554585"/>
                  </a:lnTo>
                  <a:lnTo>
                    <a:pt x="607883" y="494543"/>
                  </a:lnTo>
                  <a:lnTo>
                    <a:pt x="598730" y="452091"/>
                  </a:lnTo>
                  <a:lnTo>
                    <a:pt x="572756" y="418231"/>
                  </a:lnTo>
                  <a:lnTo>
                    <a:pt x="498273" y="386961"/>
                  </a:lnTo>
                  <a:lnTo>
                    <a:pt x="444001" y="379044"/>
                  </a:lnTo>
                  <a:lnTo>
                    <a:pt x="378209" y="381170"/>
                  </a:lnTo>
                  <a:lnTo>
                    <a:pt x="300774" y="397014"/>
                  </a:lnTo>
                </a:path>
              </a:pathLst>
            </a:custGeom>
            <a:ln w="12700">
              <a:solidFill>
                <a:srgbClr val="231F20"/>
              </a:solidFill>
            </a:ln>
          </p:spPr>
          <p:txBody>
            <a:bodyPr wrap="square" lIns="0" tIns="0" rIns="0" bIns="0" rtlCol="0"/>
            <a:lstStyle/>
            <a:p>
              <a:endParaRPr sz="649"/>
            </a:p>
          </p:txBody>
        </p:sp>
        <p:sp>
          <p:nvSpPr>
            <p:cNvPr id="58" name="object 58"/>
            <p:cNvSpPr/>
            <p:nvPr/>
          </p:nvSpPr>
          <p:spPr>
            <a:xfrm>
              <a:off x="2073315" y="6309501"/>
              <a:ext cx="768985" cy="243840"/>
            </a:xfrm>
            <a:custGeom>
              <a:avLst/>
              <a:gdLst/>
              <a:ahLst/>
              <a:cxnLst/>
              <a:rect l="l" t="t" r="r" b="b"/>
              <a:pathLst>
                <a:path w="768985" h="243840">
                  <a:moveTo>
                    <a:pt x="189280" y="0"/>
                  </a:moveTo>
                  <a:lnTo>
                    <a:pt x="133895" y="597"/>
                  </a:lnTo>
                  <a:lnTo>
                    <a:pt x="36968" y="3021"/>
                  </a:lnTo>
                  <a:lnTo>
                    <a:pt x="0" y="3565"/>
                  </a:lnTo>
                  <a:lnTo>
                    <a:pt x="9791" y="120811"/>
                  </a:lnTo>
                  <a:lnTo>
                    <a:pt x="31099" y="115858"/>
                  </a:lnTo>
                  <a:lnTo>
                    <a:pt x="77802" y="110678"/>
                  </a:lnTo>
                  <a:lnTo>
                    <a:pt x="140867" y="106027"/>
                  </a:lnTo>
                  <a:lnTo>
                    <a:pt x="211264" y="102658"/>
                  </a:lnTo>
                  <a:lnTo>
                    <a:pt x="279962" y="101326"/>
                  </a:lnTo>
                  <a:lnTo>
                    <a:pt x="337930" y="102787"/>
                  </a:lnTo>
                  <a:lnTo>
                    <a:pt x="376135" y="107794"/>
                  </a:lnTo>
                  <a:lnTo>
                    <a:pt x="406073" y="119124"/>
                  </a:lnTo>
                  <a:lnTo>
                    <a:pt x="448633" y="138625"/>
                  </a:lnTo>
                  <a:lnTo>
                    <a:pt x="553972" y="188990"/>
                  </a:lnTo>
                  <a:lnTo>
                    <a:pt x="607925" y="213279"/>
                  </a:lnTo>
                  <a:lnTo>
                    <a:pt x="656851" y="232590"/>
                  </a:lnTo>
                  <a:lnTo>
                    <a:pt x="696336" y="243634"/>
                  </a:lnTo>
                  <a:lnTo>
                    <a:pt x="721969" y="243125"/>
                  </a:lnTo>
                  <a:lnTo>
                    <a:pt x="750598" y="223736"/>
                  </a:lnTo>
                  <a:lnTo>
                    <a:pt x="766581" y="197823"/>
                  </a:lnTo>
                  <a:lnTo>
                    <a:pt x="768414" y="169450"/>
                  </a:lnTo>
                  <a:lnTo>
                    <a:pt x="754595" y="142681"/>
                  </a:lnTo>
                  <a:lnTo>
                    <a:pt x="693899" y="108307"/>
                  </a:lnTo>
                  <a:lnTo>
                    <a:pt x="643297" y="88234"/>
                  </a:lnTo>
                  <a:lnTo>
                    <a:pt x="584778" y="67837"/>
                  </a:lnTo>
                  <a:lnTo>
                    <a:pt x="522534" y="48313"/>
                  </a:lnTo>
                  <a:lnTo>
                    <a:pt x="460755" y="30863"/>
                  </a:lnTo>
                  <a:lnTo>
                    <a:pt x="403631" y="16684"/>
                  </a:lnTo>
                  <a:lnTo>
                    <a:pt x="355694" y="8368"/>
                  </a:lnTo>
                  <a:lnTo>
                    <a:pt x="302466" y="3244"/>
                  </a:lnTo>
                  <a:lnTo>
                    <a:pt x="246233" y="668"/>
                  </a:lnTo>
                  <a:lnTo>
                    <a:pt x="189280" y="0"/>
                  </a:lnTo>
                  <a:close/>
                </a:path>
              </a:pathLst>
            </a:custGeom>
            <a:solidFill>
              <a:srgbClr val="F1F2F2"/>
            </a:solidFill>
          </p:spPr>
          <p:txBody>
            <a:bodyPr wrap="square" lIns="0" tIns="0" rIns="0" bIns="0" rtlCol="0"/>
            <a:lstStyle/>
            <a:p>
              <a:endParaRPr sz="649"/>
            </a:p>
          </p:txBody>
        </p:sp>
        <p:sp>
          <p:nvSpPr>
            <p:cNvPr id="59" name="object 59"/>
            <p:cNvSpPr/>
            <p:nvPr/>
          </p:nvSpPr>
          <p:spPr>
            <a:xfrm>
              <a:off x="2073315" y="6309501"/>
              <a:ext cx="768985" cy="243840"/>
            </a:xfrm>
            <a:custGeom>
              <a:avLst/>
              <a:gdLst/>
              <a:ahLst/>
              <a:cxnLst/>
              <a:rect l="l" t="t" r="r" b="b"/>
              <a:pathLst>
                <a:path w="768985" h="243840">
                  <a:moveTo>
                    <a:pt x="0" y="3565"/>
                  </a:moveTo>
                  <a:lnTo>
                    <a:pt x="36968" y="3021"/>
                  </a:lnTo>
                  <a:lnTo>
                    <a:pt x="82362" y="1818"/>
                  </a:lnTo>
                  <a:lnTo>
                    <a:pt x="133895" y="597"/>
                  </a:lnTo>
                  <a:lnTo>
                    <a:pt x="189280" y="0"/>
                  </a:lnTo>
                  <a:lnTo>
                    <a:pt x="246233" y="668"/>
                  </a:lnTo>
                  <a:lnTo>
                    <a:pt x="302466" y="3244"/>
                  </a:lnTo>
                  <a:lnTo>
                    <a:pt x="355694" y="8368"/>
                  </a:lnTo>
                  <a:lnTo>
                    <a:pt x="403631" y="16684"/>
                  </a:lnTo>
                  <a:lnTo>
                    <a:pt x="460755" y="30863"/>
                  </a:lnTo>
                  <a:lnTo>
                    <a:pt x="522534" y="48313"/>
                  </a:lnTo>
                  <a:lnTo>
                    <a:pt x="584778" y="67837"/>
                  </a:lnTo>
                  <a:lnTo>
                    <a:pt x="643297" y="88234"/>
                  </a:lnTo>
                  <a:lnTo>
                    <a:pt x="693899" y="108307"/>
                  </a:lnTo>
                  <a:lnTo>
                    <a:pt x="732396" y="126855"/>
                  </a:lnTo>
                  <a:lnTo>
                    <a:pt x="768414" y="169450"/>
                  </a:lnTo>
                  <a:lnTo>
                    <a:pt x="766581" y="197823"/>
                  </a:lnTo>
                  <a:lnTo>
                    <a:pt x="750598" y="223736"/>
                  </a:lnTo>
                  <a:lnTo>
                    <a:pt x="721969" y="243125"/>
                  </a:lnTo>
                  <a:lnTo>
                    <a:pt x="696336" y="243634"/>
                  </a:lnTo>
                  <a:lnTo>
                    <a:pt x="656851" y="232590"/>
                  </a:lnTo>
                  <a:lnTo>
                    <a:pt x="607925" y="213279"/>
                  </a:lnTo>
                  <a:lnTo>
                    <a:pt x="553972" y="188990"/>
                  </a:lnTo>
                  <a:lnTo>
                    <a:pt x="499404" y="163009"/>
                  </a:lnTo>
                  <a:lnTo>
                    <a:pt x="448633" y="138625"/>
                  </a:lnTo>
                  <a:lnTo>
                    <a:pt x="406073" y="119124"/>
                  </a:lnTo>
                  <a:lnTo>
                    <a:pt x="376135" y="107794"/>
                  </a:lnTo>
                  <a:lnTo>
                    <a:pt x="337930" y="102787"/>
                  </a:lnTo>
                  <a:lnTo>
                    <a:pt x="279962" y="101326"/>
                  </a:lnTo>
                  <a:lnTo>
                    <a:pt x="211264" y="102658"/>
                  </a:lnTo>
                  <a:lnTo>
                    <a:pt x="140867" y="106027"/>
                  </a:lnTo>
                  <a:lnTo>
                    <a:pt x="77802" y="110678"/>
                  </a:lnTo>
                  <a:lnTo>
                    <a:pt x="31099" y="115858"/>
                  </a:lnTo>
                  <a:lnTo>
                    <a:pt x="9791" y="120811"/>
                  </a:lnTo>
                </a:path>
              </a:pathLst>
            </a:custGeom>
            <a:ln w="25400">
              <a:solidFill>
                <a:srgbClr val="231F20"/>
              </a:solidFill>
            </a:ln>
          </p:spPr>
          <p:txBody>
            <a:bodyPr wrap="square" lIns="0" tIns="0" rIns="0" bIns="0" rtlCol="0"/>
            <a:lstStyle/>
            <a:p>
              <a:endParaRPr sz="649"/>
            </a:p>
          </p:txBody>
        </p:sp>
        <p:sp>
          <p:nvSpPr>
            <p:cNvPr id="60" name="object 60"/>
            <p:cNvSpPr/>
            <p:nvPr/>
          </p:nvSpPr>
          <p:spPr>
            <a:xfrm>
              <a:off x="1191926" y="6678340"/>
              <a:ext cx="889000" cy="293370"/>
            </a:xfrm>
            <a:custGeom>
              <a:avLst/>
              <a:gdLst/>
              <a:ahLst/>
              <a:cxnLst/>
              <a:rect l="l" t="t" r="r" b="b"/>
              <a:pathLst>
                <a:path w="889000" h="293370">
                  <a:moveTo>
                    <a:pt x="480012" y="0"/>
                  </a:moveTo>
                  <a:lnTo>
                    <a:pt x="408422" y="0"/>
                  </a:lnTo>
                  <a:lnTo>
                    <a:pt x="408422" y="217017"/>
                  </a:lnTo>
                  <a:lnTo>
                    <a:pt x="408219" y="217982"/>
                  </a:lnTo>
                  <a:lnTo>
                    <a:pt x="97" y="255455"/>
                  </a:lnTo>
                  <a:lnTo>
                    <a:pt x="0" y="259333"/>
                  </a:lnTo>
                  <a:lnTo>
                    <a:pt x="2022" y="292760"/>
                  </a:lnTo>
                  <a:lnTo>
                    <a:pt x="888787" y="292760"/>
                  </a:lnTo>
                  <a:lnTo>
                    <a:pt x="888787" y="255473"/>
                  </a:lnTo>
                  <a:lnTo>
                    <a:pt x="481574" y="217360"/>
                  </a:lnTo>
                  <a:lnTo>
                    <a:pt x="480685" y="215049"/>
                  </a:lnTo>
                  <a:lnTo>
                    <a:pt x="480012" y="0"/>
                  </a:lnTo>
                  <a:close/>
                </a:path>
              </a:pathLst>
            </a:custGeom>
            <a:solidFill>
              <a:srgbClr val="FFFFFF"/>
            </a:solidFill>
          </p:spPr>
          <p:txBody>
            <a:bodyPr wrap="square" lIns="0" tIns="0" rIns="0" bIns="0" rtlCol="0"/>
            <a:lstStyle/>
            <a:p>
              <a:endParaRPr sz="649"/>
            </a:p>
          </p:txBody>
        </p:sp>
        <p:sp>
          <p:nvSpPr>
            <p:cNvPr id="61" name="object 61"/>
            <p:cNvSpPr/>
            <p:nvPr/>
          </p:nvSpPr>
          <p:spPr>
            <a:xfrm>
              <a:off x="1191926" y="6678340"/>
              <a:ext cx="889000" cy="293370"/>
            </a:xfrm>
            <a:custGeom>
              <a:avLst/>
              <a:gdLst/>
              <a:ahLst/>
              <a:cxnLst/>
              <a:rect l="l" t="t" r="r" b="b"/>
              <a:pathLst>
                <a:path w="889000" h="293370">
                  <a:moveTo>
                    <a:pt x="480012" y="0"/>
                  </a:moveTo>
                  <a:lnTo>
                    <a:pt x="480685" y="215049"/>
                  </a:lnTo>
                  <a:lnTo>
                    <a:pt x="481574" y="217360"/>
                  </a:lnTo>
                  <a:lnTo>
                    <a:pt x="888787" y="255473"/>
                  </a:lnTo>
                  <a:lnTo>
                    <a:pt x="888787" y="292760"/>
                  </a:lnTo>
                  <a:lnTo>
                    <a:pt x="2022" y="292760"/>
                  </a:lnTo>
                  <a:lnTo>
                    <a:pt x="602" y="270603"/>
                  </a:lnTo>
                  <a:lnTo>
                    <a:pt x="0" y="259333"/>
                  </a:lnTo>
                  <a:lnTo>
                    <a:pt x="97" y="255455"/>
                  </a:lnTo>
                  <a:lnTo>
                    <a:pt x="777" y="255473"/>
                  </a:lnTo>
                  <a:lnTo>
                    <a:pt x="408219" y="217982"/>
                  </a:lnTo>
                  <a:lnTo>
                    <a:pt x="408422" y="217017"/>
                  </a:lnTo>
                  <a:lnTo>
                    <a:pt x="408422" y="0"/>
                  </a:lnTo>
                </a:path>
              </a:pathLst>
            </a:custGeom>
            <a:ln w="12699">
              <a:solidFill>
                <a:srgbClr val="231F20"/>
              </a:solidFill>
            </a:ln>
          </p:spPr>
          <p:txBody>
            <a:bodyPr wrap="square" lIns="0" tIns="0" rIns="0" bIns="0" rtlCol="0"/>
            <a:lstStyle/>
            <a:p>
              <a:endParaRPr sz="649"/>
            </a:p>
          </p:txBody>
        </p:sp>
        <p:sp>
          <p:nvSpPr>
            <p:cNvPr id="62" name="object 62"/>
            <p:cNvSpPr/>
            <p:nvPr/>
          </p:nvSpPr>
          <p:spPr>
            <a:xfrm>
              <a:off x="895714" y="5389065"/>
              <a:ext cx="621030" cy="1386840"/>
            </a:xfrm>
            <a:custGeom>
              <a:avLst/>
              <a:gdLst/>
              <a:ahLst/>
              <a:cxnLst/>
              <a:rect l="l" t="t" r="r" b="b"/>
              <a:pathLst>
                <a:path w="621030" h="1386840">
                  <a:moveTo>
                    <a:pt x="90802" y="0"/>
                  </a:moveTo>
                  <a:lnTo>
                    <a:pt x="41219" y="3269"/>
                  </a:lnTo>
                  <a:lnTo>
                    <a:pt x="5647" y="14243"/>
                  </a:lnTo>
                  <a:lnTo>
                    <a:pt x="0" y="30677"/>
                  </a:lnTo>
                  <a:lnTo>
                    <a:pt x="3092" y="63968"/>
                  </a:lnTo>
                  <a:lnTo>
                    <a:pt x="13001" y="109794"/>
                  </a:lnTo>
                  <a:lnTo>
                    <a:pt x="27802" y="163833"/>
                  </a:lnTo>
                  <a:lnTo>
                    <a:pt x="45570" y="221764"/>
                  </a:lnTo>
                  <a:lnTo>
                    <a:pt x="64380" y="279265"/>
                  </a:lnTo>
                  <a:lnTo>
                    <a:pt x="82307" y="332015"/>
                  </a:lnTo>
                  <a:lnTo>
                    <a:pt x="113307" y="421614"/>
                  </a:lnTo>
                  <a:lnTo>
                    <a:pt x="152126" y="526982"/>
                  </a:lnTo>
                  <a:lnTo>
                    <a:pt x="264119" y="825153"/>
                  </a:lnTo>
                  <a:lnTo>
                    <a:pt x="386069" y="1146049"/>
                  </a:lnTo>
                  <a:lnTo>
                    <a:pt x="440424" y="1286867"/>
                  </a:lnTo>
                  <a:lnTo>
                    <a:pt x="461257" y="1339124"/>
                  </a:lnTo>
                  <a:lnTo>
                    <a:pt x="494408" y="1382655"/>
                  </a:lnTo>
                  <a:lnTo>
                    <a:pt x="522912" y="1386843"/>
                  </a:lnTo>
                  <a:lnTo>
                    <a:pt x="569045" y="1376229"/>
                  </a:lnTo>
                  <a:lnTo>
                    <a:pt x="585640" y="1370029"/>
                  </a:lnTo>
                  <a:lnTo>
                    <a:pt x="603546" y="1360239"/>
                  </a:lnTo>
                  <a:lnTo>
                    <a:pt x="617120" y="1345525"/>
                  </a:lnTo>
                  <a:lnTo>
                    <a:pt x="620721" y="1324552"/>
                  </a:lnTo>
                  <a:lnTo>
                    <a:pt x="618434" y="1302658"/>
                  </a:lnTo>
                  <a:lnTo>
                    <a:pt x="610263" y="1213770"/>
                  </a:lnTo>
                  <a:lnTo>
                    <a:pt x="604561" y="1155062"/>
                  </a:lnTo>
                  <a:lnTo>
                    <a:pt x="597902" y="1092368"/>
                  </a:lnTo>
                  <a:lnTo>
                    <a:pt x="590378" y="1029832"/>
                  </a:lnTo>
                  <a:lnTo>
                    <a:pt x="582079" y="971597"/>
                  </a:lnTo>
                  <a:lnTo>
                    <a:pt x="573096" y="921805"/>
                  </a:lnTo>
                  <a:lnTo>
                    <a:pt x="563520" y="884599"/>
                  </a:lnTo>
                  <a:lnTo>
                    <a:pt x="531618" y="809317"/>
                  </a:lnTo>
                  <a:lnTo>
                    <a:pt x="507509" y="759444"/>
                  </a:lnTo>
                  <a:lnTo>
                    <a:pt x="480166" y="705298"/>
                  </a:lnTo>
                  <a:lnTo>
                    <a:pt x="451243" y="649790"/>
                  </a:lnTo>
                  <a:lnTo>
                    <a:pt x="422393" y="595833"/>
                  </a:lnTo>
                  <a:lnTo>
                    <a:pt x="395272" y="546338"/>
                  </a:lnTo>
                  <a:lnTo>
                    <a:pt x="371532" y="504216"/>
                  </a:lnTo>
                  <a:lnTo>
                    <a:pt x="340813" y="453739"/>
                  </a:lnTo>
                  <a:lnTo>
                    <a:pt x="313531" y="425819"/>
                  </a:lnTo>
                  <a:lnTo>
                    <a:pt x="279910" y="400391"/>
                  </a:lnTo>
                  <a:lnTo>
                    <a:pt x="239315" y="374732"/>
                  </a:lnTo>
                  <a:lnTo>
                    <a:pt x="272455" y="350930"/>
                  </a:lnTo>
                  <a:lnTo>
                    <a:pt x="290743" y="334475"/>
                  </a:lnTo>
                  <a:lnTo>
                    <a:pt x="300697" y="317698"/>
                  </a:lnTo>
                  <a:lnTo>
                    <a:pt x="308834" y="292931"/>
                  </a:lnTo>
                  <a:lnTo>
                    <a:pt x="314556" y="251629"/>
                  </a:lnTo>
                  <a:lnTo>
                    <a:pt x="309242" y="207755"/>
                  </a:lnTo>
                  <a:lnTo>
                    <a:pt x="294607" y="163237"/>
                  </a:lnTo>
                  <a:lnTo>
                    <a:pt x="272365" y="120004"/>
                  </a:lnTo>
                  <a:lnTo>
                    <a:pt x="244232" y="79985"/>
                  </a:lnTo>
                  <a:lnTo>
                    <a:pt x="211921" y="45109"/>
                  </a:lnTo>
                  <a:lnTo>
                    <a:pt x="177148" y="17303"/>
                  </a:lnTo>
                  <a:lnTo>
                    <a:pt x="140684" y="4616"/>
                  </a:lnTo>
                  <a:lnTo>
                    <a:pt x="90802" y="0"/>
                  </a:lnTo>
                  <a:close/>
                </a:path>
              </a:pathLst>
            </a:custGeom>
            <a:solidFill>
              <a:srgbClr val="D1D3D4"/>
            </a:solidFill>
          </p:spPr>
          <p:txBody>
            <a:bodyPr wrap="square" lIns="0" tIns="0" rIns="0" bIns="0" rtlCol="0"/>
            <a:lstStyle/>
            <a:p>
              <a:endParaRPr sz="649"/>
            </a:p>
          </p:txBody>
        </p:sp>
        <p:sp>
          <p:nvSpPr>
            <p:cNvPr id="63" name="object 63"/>
            <p:cNvSpPr/>
            <p:nvPr/>
          </p:nvSpPr>
          <p:spPr>
            <a:xfrm>
              <a:off x="895714" y="5389065"/>
              <a:ext cx="621030" cy="1386840"/>
            </a:xfrm>
            <a:custGeom>
              <a:avLst/>
              <a:gdLst/>
              <a:ahLst/>
              <a:cxnLst/>
              <a:rect l="l" t="t" r="r" b="b"/>
              <a:pathLst>
                <a:path w="621030" h="1386840">
                  <a:moveTo>
                    <a:pt x="239315" y="374732"/>
                  </a:moveTo>
                  <a:lnTo>
                    <a:pt x="272455" y="350930"/>
                  </a:lnTo>
                  <a:lnTo>
                    <a:pt x="300697" y="317698"/>
                  </a:lnTo>
                  <a:lnTo>
                    <a:pt x="314556" y="251629"/>
                  </a:lnTo>
                  <a:lnTo>
                    <a:pt x="309242" y="207755"/>
                  </a:lnTo>
                  <a:lnTo>
                    <a:pt x="294607" y="163237"/>
                  </a:lnTo>
                  <a:lnTo>
                    <a:pt x="272365" y="120004"/>
                  </a:lnTo>
                  <a:lnTo>
                    <a:pt x="244232" y="79985"/>
                  </a:lnTo>
                  <a:lnTo>
                    <a:pt x="211921" y="45109"/>
                  </a:lnTo>
                  <a:lnTo>
                    <a:pt x="177148" y="17303"/>
                  </a:lnTo>
                  <a:lnTo>
                    <a:pt x="140684" y="4616"/>
                  </a:lnTo>
                  <a:lnTo>
                    <a:pt x="90802" y="0"/>
                  </a:lnTo>
                  <a:lnTo>
                    <a:pt x="41219" y="3269"/>
                  </a:lnTo>
                  <a:lnTo>
                    <a:pt x="5647" y="14243"/>
                  </a:lnTo>
                  <a:lnTo>
                    <a:pt x="0" y="30677"/>
                  </a:lnTo>
                  <a:lnTo>
                    <a:pt x="3092" y="63968"/>
                  </a:lnTo>
                  <a:lnTo>
                    <a:pt x="13001" y="109794"/>
                  </a:lnTo>
                  <a:lnTo>
                    <a:pt x="27802" y="163833"/>
                  </a:lnTo>
                  <a:lnTo>
                    <a:pt x="45570" y="221764"/>
                  </a:lnTo>
                  <a:lnTo>
                    <a:pt x="64380" y="279265"/>
                  </a:lnTo>
                  <a:lnTo>
                    <a:pt x="82307" y="332015"/>
                  </a:lnTo>
                  <a:lnTo>
                    <a:pt x="97429" y="375692"/>
                  </a:lnTo>
                  <a:lnTo>
                    <a:pt x="107819" y="405974"/>
                  </a:lnTo>
                  <a:lnTo>
                    <a:pt x="122823" y="447799"/>
                  </a:lnTo>
                  <a:lnTo>
                    <a:pt x="152126" y="526982"/>
                  </a:lnTo>
                  <a:lnTo>
                    <a:pt x="171005" y="577572"/>
                  </a:lnTo>
                  <a:lnTo>
                    <a:pt x="192098" y="633888"/>
                  </a:lnTo>
                  <a:lnTo>
                    <a:pt x="214950" y="694727"/>
                  </a:lnTo>
                  <a:lnTo>
                    <a:pt x="239108" y="758883"/>
                  </a:lnTo>
                  <a:lnTo>
                    <a:pt x="264119" y="825153"/>
                  </a:lnTo>
                  <a:lnTo>
                    <a:pt x="289527" y="892332"/>
                  </a:lnTo>
                  <a:lnTo>
                    <a:pt x="314880" y="959215"/>
                  </a:lnTo>
                  <a:lnTo>
                    <a:pt x="339724" y="1024599"/>
                  </a:lnTo>
                  <a:lnTo>
                    <a:pt x="363605" y="1087278"/>
                  </a:lnTo>
                  <a:lnTo>
                    <a:pt x="386069" y="1146049"/>
                  </a:lnTo>
                  <a:lnTo>
                    <a:pt x="406663" y="1199707"/>
                  </a:lnTo>
                  <a:lnTo>
                    <a:pt x="424933" y="1247048"/>
                  </a:lnTo>
                  <a:lnTo>
                    <a:pt x="440424" y="1286867"/>
                  </a:lnTo>
                  <a:lnTo>
                    <a:pt x="461257" y="1339124"/>
                  </a:lnTo>
                  <a:lnTo>
                    <a:pt x="494408" y="1382655"/>
                  </a:lnTo>
                  <a:lnTo>
                    <a:pt x="522912" y="1386843"/>
                  </a:lnTo>
                  <a:lnTo>
                    <a:pt x="569045" y="1376229"/>
                  </a:lnTo>
                  <a:lnTo>
                    <a:pt x="585640" y="1370029"/>
                  </a:lnTo>
                  <a:lnTo>
                    <a:pt x="603546" y="1360239"/>
                  </a:lnTo>
                  <a:lnTo>
                    <a:pt x="617120" y="1345525"/>
                  </a:lnTo>
                  <a:lnTo>
                    <a:pt x="620721" y="1324552"/>
                  </a:lnTo>
                  <a:lnTo>
                    <a:pt x="618434" y="1302658"/>
                  </a:lnTo>
                  <a:lnTo>
                    <a:pt x="614917" y="1264350"/>
                  </a:lnTo>
                  <a:lnTo>
                    <a:pt x="610263" y="1213770"/>
                  </a:lnTo>
                  <a:lnTo>
                    <a:pt x="604561" y="1155062"/>
                  </a:lnTo>
                  <a:lnTo>
                    <a:pt x="597902" y="1092368"/>
                  </a:lnTo>
                  <a:lnTo>
                    <a:pt x="590378" y="1029832"/>
                  </a:lnTo>
                  <a:lnTo>
                    <a:pt x="582079" y="971597"/>
                  </a:lnTo>
                  <a:lnTo>
                    <a:pt x="573096" y="921805"/>
                  </a:lnTo>
                  <a:lnTo>
                    <a:pt x="563520" y="884599"/>
                  </a:lnTo>
                  <a:lnTo>
                    <a:pt x="531618" y="809317"/>
                  </a:lnTo>
                  <a:lnTo>
                    <a:pt x="507509" y="759444"/>
                  </a:lnTo>
                  <a:lnTo>
                    <a:pt x="480166" y="705298"/>
                  </a:lnTo>
                  <a:lnTo>
                    <a:pt x="451243" y="649790"/>
                  </a:lnTo>
                  <a:lnTo>
                    <a:pt x="422393" y="595833"/>
                  </a:lnTo>
                  <a:lnTo>
                    <a:pt x="395272" y="546338"/>
                  </a:lnTo>
                  <a:lnTo>
                    <a:pt x="371532" y="504216"/>
                  </a:lnTo>
                  <a:lnTo>
                    <a:pt x="340813" y="453739"/>
                  </a:lnTo>
                  <a:lnTo>
                    <a:pt x="313531" y="425819"/>
                  </a:lnTo>
                  <a:lnTo>
                    <a:pt x="279910" y="400391"/>
                  </a:lnTo>
                  <a:lnTo>
                    <a:pt x="251366" y="381885"/>
                  </a:lnTo>
                  <a:lnTo>
                    <a:pt x="239315" y="374732"/>
                  </a:lnTo>
                  <a:close/>
                </a:path>
              </a:pathLst>
            </a:custGeom>
            <a:ln w="25400">
              <a:solidFill>
                <a:srgbClr val="231F20"/>
              </a:solidFill>
            </a:ln>
          </p:spPr>
          <p:txBody>
            <a:bodyPr wrap="square" lIns="0" tIns="0" rIns="0" bIns="0" rtlCol="0"/>
            <a:lstStyle/>
            <a:p>
              <a:endParaRPr sz="649"/>
            </a:p>
          </p:txBody>
        </p:sp>
        <p:sp>
          <p:nvSpPr>
            <p:cNvPr id="64" name="object 64"/>
            <p:cNvSpPr/>
            <p:nvPr/>
          </p:nvSpPr>
          <p:spPr>
            <a:xfrm>
              <a:off x="1175876" y="6173949"/>
              <a:ext cx="1052830" cy="640715"/>
            </a:xfrm>
            <a:custGeom>
              <a:avLst/>
              <a:gdLst/>
              <a:ahLst/>
              <a:cxnLst/>
              <a:rect l="l" t="t" r="r" b="b"/>
              <a:pathLst>
                <a:path w="1052830" h="640715">
                  <a:moveTo>
                    <a:pt x="699594" y="51"/>
                  </a:moveTo>
                  <a:lnTo>
                    <a:pt x="636664" y="0"/>
                  </a:lnTo>
                  <a:lnTo>
                    <a:pt x="569424" y="663"/>
                  </a:lnTo>
                  <a:lnTo>
                    <a:pt x="499465" y="1997"/>
                  </a:lnTo>
                  <a:lnTo>
                    <a:pt x="428375" y="3956"/>
                  </a:lnTo>
                  <a:lnTo>
                    <a:pt x="357745" y="6496"/>
                  </a:lnTo>
                  <a:lnTo>
                    <a:pt x="289164" y="9571"/>
                  </a:lnTo>
                  <a:lnTo>
                    <a:pt x="224222" y="13136"/>
                  </a:lnTo>
                  <a:lnTo>
                    <a:pt x="164508" y="17147"/>
                  </a:lnTo>
                  <a:lnTo>
                    <a:pt x="111612" y="21558"/>
                  </a:lnTo>
                  <a:lnTo>
                    <a:pt x="67123" y="26324"/>
                  </a:lnTo>
                  <a:lnTo>
                    <a:pt x="9727" y="36743"/>
                  </a:lnTo>
                  <a:lnTo>
                    <a:pt x="0" y="42306"/>
                  </a:lnTo>
                  <a:lnTo>
                    <a:pt x="303" y="58922"/>
                  </a:lnTo>
                  <a:lnTo>
                    <a:pt x="20998" y="136081"/>
                  </a:lnTo>
                  <a:lnTo>
                    <a:pt x="39104" y="190776"/>
                  </a:lnTo>
                  <a:lnTo>
                    <a:pt x="60856" y="252316"/>
                  </a:lnTo>
                  <a:lnTo>
                    <a:pt x="85111" y="317778"/>
                  </a:lnTo>
                  <a:lnTo>
                    <a:pt x="110726" y="384238"/>
                  </a:lnTo>
                  <a:lnTo>
                    <a:pt x="136557" y="448773"/>
                  </a:lnTo>
                  <a:lnTo>
                    <a:pt x="161460" y="508458"/>
                  </a:lnTo>
                  <a:lnTo>
                    <a:pt x="184293" y="560371"/>
                  </a:lnTo>
                  <a:lnTo>
                    <a:pt x="203911" y="601587"/>
                  </a:lnTo>
                  <a:lnTo>
                    <a:pt x="228930" y="640234"/>
                  </a:lnTo>
                  <a:lnTo>
                    <a:pt x="241488" y="639880"/>
                  </a:lnTo>
                  <a:lnTo>
                    <a:pt x="305977" y="629853"/>
                  </a:lnTo>
                  <a:lnTo>
                    <a:pt x="354200" y="620920"/>
                  </a:lnTo>
                  <a:lnTo>
                    <a:pt x="410602" y="609865"/>
                  </a:lnTo>
                  <a:lnTo>
                    <a:pt x="473331" y="597057"/>
                  </a:lnTo>
                  <a:lnTo>
                    <a:pt x="540532" y="582866"/>
                  </a:lnTo>
                  <a:lnTo>
                    <a:pt x="610351" y="567660"/>
                  </a:lnTo>
                  <a:lnTo>
                    <a:pt x="680934" y="551809"/>
                  </a:lnTo>
                  <a:lnTo>
                    <a:pt x="750427" y="535682"/>
                  </a:lnTo>
                  <a:lnTo>
                    <a:pt x="816977" y="519647"/>
                  </a:lnTo>
                  <a:lnTo>
                    <a:pt x="878729" y="504074"/>
                  </a:lnTo>
                  <a:lnTo>
                    <a:pt x="933829" y="489332"/>
                  </a:lnTo>
                  <a:lnTo>
                    <a:pt x="980423" y="475789"/>
                  </a:lnTo>
                  <a:lnTo>
                    <a:pt x="1016658" y="463816"/>
                  </a:lnTo>
                  <a:lnTo>
                    <a:pt x="1050632" y="446051"/>
                  </a:lnTo>
                  <a:lnTo>
                    <a:pt x="1052465" y="422213"/>
                  </a:lnTo>
                  <a:lnTo>
                    <a:pt x="1047649" y="384013"/>
                  </a:lnTo>
                  <a:lnTo>
                    <a:pt x="1037220" y="335212"/>
                  </a:lnTo>
                  <a:lnTo>
                    <a:pt x="1022212" y="279569"/>
                  </a:lnTo>
                  <a:lnTo>
                    <a:pt x="1003660" y="220845"/>
                  </a:lnTo>
                  <a:lnTo>
                    <a:pt x="982599" y="162800"/>
                  </a:lnTo>
                  <a:lnTo>
                    <a:pt x="960065" y="109194"/>
                  </a:lnTo>
                  <a:lnTo>
                    <a:pt x="937091" y="63788"/>
                  </a:lnTo>
                  <a:lnTo>
                    <a:pt x="914713" y="30341"/>
                  </a:lnTo>
                  <a:lnTo>
                    <a:pt x="876427" y="8310"/>
                  </a:lnTo>
                  <a:lnTo>
                    <a:pt x="806167" y="2480"/>
                  </a:lnTo>
                  <a:lnTo>
                    <a:pt x="756625" y="863"/>
                  </a:lnTo>
                  <a:lnTo>
                    <a:pt x="699594" y="51"/>
                  </a:lnTo>
                  <a:close/>
                </a:path>
              </a:pathLst>
            </a:custGeom>
            <a:solidFill>
              <a:srgbClr val="D1D3D4"/>
            </a:solidFill>
          </p:spPr>
          <p:txBody>
            <a:bodyPr wrap="square" lIns="0" tIns="0" rIns="0" bIns="0" rtlCol="0"/>
            <a:lstStyle/>
            <a:p>
              <a:endParaRPr sz="649"/>
            </a:p>
          </p:txBody>
        </p:sp>
        <p:sp>
          <p:nvSpPr>
            <p:cNvPr id="65" name="object 65"/>
            <p:cNvSpPr/>
            <p:nvPr/>
          </p:nvSpPr>
          <p:spPr>
            <a:xfrm>
              <a:off x="1175876" y="6173949"/>
              <a:ext cx="1052830" cy="640715"/>
            </a:xfrm>
            <a:custGeom>
              <a:avLst/>
              <a:gdLst/>
              <a:ahLst/>
              <a:cxnLst/>
              <a:rect l="l" t="t" r="r" b="b"/>
              <a:pathLst>
                <a:path w="1052830" h="640715">
                  <a:moveTo>
                    <a:pt x="1050632" y="446051"/>
                  </a:moveTo>
                  <a:lnTo>
                    <a:pt x="1047649" y="384013"/>
                  </a:lnTo>
                  <a:lnTo>
                    <a:pt x="1037220" y="335212"/>
                  </a:lnTo>
                  <a:lnTo>
                    <a:pt x="1022212" y="279569"/>
                  </a:lnTo>
                  <a:lnTo>
                    <a:pt x="1003660" y="220845"/>
                  </a:lnTo>
                  <a:lnTo>
                    <a:pt x="982599" y="162800"/>
                  </a:lnTo>
                  <a:lnTo>
                    <a:pt x="960065" y="109194"/>
                  </a:lnTo>
                  <a:lnTo>
                    <a:pt x="937091" y="63788"/>
                  </a:lnTo>
                  <a:lnTo>
                    <a:pt x="914713" y="30341"/>
                  </a:lnTo>
                  <a:lnTo>
                    <a:pt x="876427" y="8310"/>
                  </a:lnTo>
                  <a:lnTo>
                    <a:pt x="806167" y="2480"/>
                  </a:lnTo>
                  <a:lnTo>
                    <a:pt x="756625" y="863"/>
                  </a:lnTo>
                  <a:lnTo>
                    <a:pt x="699594" y="51"/>
                  </a:lnTo>
                  <a:lnTo>
                    <a:pt x="636664" y="0"/>
                  </a:lnTo>
                  <a:lnTo>
                    <a:pt x="569424" y="663"/>
                  </a:lnTo>
                  <a:lnTo>
                    <a:pt x="499465" y="1997"/>
                  </a:lnTo>
                  <a:lnTo>
                    <a:pt x="428375" y="3956"/>
                  </a:lnTo>
                  <a:lnTo>
                    <a:pt x="357745" y="6496"/>
                  </a:lnTo>
                  <a:lnTo>
                    <a:pt x="289164" y="9571"/>
                  </a:lnTo>
                  <a:lnTo>
                    <a:pt x="224222" y="13136"/>
                  </a:lnTo>
                  <a:lnTo>
                    <a:pt x="164508" y="17147"/>
                  </a:lnTo>
                  <a:lnTo>
                    <a:pt x="111612" y="21558"/>
                  </a:lnTo>
                  <a:lnTo>
                    <a:pt x="67123" y="26324"/>
                  </a:lnTo>
                  <a:lnTo>
                    <a:pt x="9727" y="36743"/>
                  </a:lnTo>
                  <a:lnTo>
                    <a:pt x="0" y="42306"/>
                  </a:lnTo>
                  <a:lnTo>
                    <a:pt x="303" y="58922"/>
                  </a:lnTo>
                  <a:lnTo>
                    <a:pt x="20998" y="136081"/>
                  </a:lnTo>
                  <a:lnTo>
                    <a:pt x="39104" y="190776"/>
                  </a:lnTo>
                  <a:lnTo>
                    <a:pt x="60856" y="252316"/>
                  </a:lnTo>
                  <a:lnTo>
                    <a:pt x="85111" y="317778"/>
                  </a:lnTo>
                  <a:lnTo>
                    <a:pt x="110726" y="384238"/>
                  </a:lnTo>
                  <a:lnTo>
                    <a:pt x="136557" y="448773"/>
                  </a:lnTo>
                  <a:lnTo>
                    <a:pt x="161460" y="508458"/>
                  </a:lnTo>
                  <a:lnTo>
                    <a:pt x="184293" y="560371"/>
                  </a:lnTo>
                  <a:lnTo>
                    <a:pt x="203911" y="601587"/>
                  </a:lnTo>
                  <a:lnTo>
                    <a:pt x="228930" y="640234"/>
                  </a:lnTo>
                  <a:lnTo>
                    <a:pt x="241488" y="639880"/>
                  </a:lnTo>
                  <a:lnTo>
                    <a:pt x="305977" y="629853"/>
                  </a:lnTo>
                  <a:lnTo>
                    <a:pt x="354200" y="620920"/>
                  </a:lnTo>
                  <a:lnTo>
                    <a:pt x="410602" y="609865"/>
                  </a:lnTo>
                  <a:lnTo>
                    <a:pt x="473331" y="597057"/>
                  </a:lnTo>
                  <a:lnTo>
                    <a:pt x="540532" y="582866"/>
                  </a:lnTo>
                  <a:lnTo>
                    <a:pt x="610351" y="567660"/>
                  </a:lnTo>
                  <a:lnTo>
                    <a:pt x="680934" y="551809"/>
                  </a:lnTo>
                  <a:lnTo>
                    <a:pt x="750427" y="535682"/>
                  </a:lnTo>
                  <a:lnTo>
                    <a:pt x="816977" y="519647"/>
                  </a:lnTo>
                  <a:lnTo>
                    <a:pt x="878729" y="504074"/>
                  </a:lnTo>
                  <a:lnTo>
                    <a:pt x="933829" y="489332"/>
                  </a:lnTo>
                  <a:lnTo>
                    <a:pt x="980423" y="475789"/>
                  </a:lnTo>
                  <a:lnTo>
                    <a:pt x="1016658" y="463816"/>
                  </a:lnTo>
                  <a:lnTo>
                    <a:pt x="1050632" y="446051"/>
                  </a:lnTo>
                  <a:close/>
                </a:path>
              </a:pathLst>
            </a:custGeom>
            <a:ln w="25400">
              <a:solidFill>
                <a:srgbClr val="231F20"/>
              </a:solidFill>
            </a:ln>
          </p:spPr>
          <p:txBody>
            <a:bodyPr wrap="square" lIns="0" tIns="0" rIns="0" bIns="0" rtlCol="0"/>
            <a:lstStyle/>
            <a:p>
              <a:endParaRPr sz="649"/>
            </a:p>
          </p:txBody>
        </p:sp>
        <p:pic>
          <p:nvPicPr>
            <p:cNvPr id="66" name="object 66"/>
            <p:cNvPicPr/>
            <p:nvPr/>
          </p:nvPicPr>
          <p:blipFill>
            <a:blip r:embed="rId9" cstate="print"/>
            <a:stretch>
              <a:fillRect/>
            </a:stretch>
          </p:blipFill>
          <p:spPr>
            <a:xfrm>
              <a:off x="2512999" y="6084138"/>
              <a:ext cx="595769" cy="646277"/>
            </a:xfrm>
            <a:prstGeom prst="rect">
              <a:avLst/>
            </a:prstGeom>
          </p:spPr>
        </p:pic>
        <p:sp>
          <p:nvSpPr>
            <p:cNvPr id="67" name="object 67"/>
            <p:cNvSpPr/>
            <p:nvPr/>
          </p:nvSpPr>
          <p:spPr>
            <a:xfrm>
              <a:off x="2512985" y="6084133"/>
              <a:ext cx="596265" cy="646430"/>
            </a:xfrm>
            <a:custGeom>
              <a:avLst/>
              <a:gdLst/>
              <a:ahLst/>
              <a:cxnLst/>
              <a:rect l="l" t="t" r="r" b="b"/>
              <a:pathLst>
                <a:path w="596264" h="646429">
                  <a:moveTo>
                    <a:pt x="214541" y="313753"/>
                  </a:moveTo>
                  <a:lnTo>
                    <a:pt x="8483" y="0"/>
                  </a:lnTo>
                  <a:lnTo>
                    <a:pt x="128282" y="0"/>
                  </a:lnTo>
                  <a:lnTo>
                    <a:pt x="136613" y="0"/>
                  </a:lnTo>
                  <a:lnTo>
                    <a:pt x="303479" y="251180"/>
                  </a:lnTo>
                  <a:lnTo>
                    <a:pt x="304965" y="247611"/>
                  </a:lnTo>
                  <a:lnTo>
                    <a:pt x="306603" y="243954"/>
                  </a:lnTo>
                  <a:lnTo>
                    <a:pt x="308406" y="240233"/>
                  </a:lnTo>
                  <a:lnTo>
                    <a:pt x="310172" y="236499"/>
                  </a:lnTo>
                  <a:lnTo>
                    <a:pt x="312267" y="232714"/>
                  </a:lnTo>
                  <a:lnTo>
                    <a:pt x="314655" y="228828"/>
                  </a:lnTo>
                  <a:lnTo>
                    <a:pt x="449630" y="16535"/>
                  </a:lnTo>
                  <a:lnTo>
                    <a:pt x="452907" y="10871"/>
                  </a:lnTo>
                  <a:lnTo>
                    <a:pt x="456476" y="6705"/>
                  </a:lnTo>
                  <a:lnTo>
                    <a:pt x="460349" y="4013"/>
                  </a:lnTo>
                  <a:lnTo>
                    <a:pt x="464223" y="1333"/>
                  </a:lnTo>
                  <a:lnTo>
                    <a:pt x="469138" y="0"/>
                  </a:lnTo>
                  <a:lnTo>
                    <a:pt x="475106" y="0"/>
                  </a:lnTo>
                  <a:lnTo>
                    <a:pt x="589978" y="0"/>
                  </a:lnTo>
                  <a:lnTo>
                    <a:pt x="382130" y="308838"/>
                  </a:lnTo>
                  <a:lnTo>
                    <a:pt x="595782" y="646290"/>
                  </a:lnTo>
                  <a:lnTo>
                    <a:pt x="475996" y="646290"/>
                  </a:lnTo>
                  <a:lnTo>
                    <a:pt x="467652" y="646290"/>
                  </a:lnTo>
                  <a:lnTo>
                    <a:pt x="461022" y="644207"/>
                  </a:lnTo>
                  <a:lnTo>
                    <a:pt x="456107" y="640016"/>
                  </a:lnTo>
                  <a:lnTo>
                    <a:pt x="451192" y="635850"/>
                  </a:lnTo>
                  <a:lnTo>
                    <a:pt x="447243" y="631075"/>
                  </a:lnTo>
                  <a:lnTo>
                    <a:pt x="444271" y="625716"/>
                  </a:lnTo>
                  <a:lnTo>
                    <a:pt x="294538" y="378117"/>
                  </a:lnTo>
                  <a:lnTo>
                    <a:pt x="142582" y="625716"/>
                  </a:lnTo>
                  <a:lnTo>
                    <a:pt x="130276" y="639800"/>
                  </a:lnTo>
                  <a:lnTo>
                    <a:pt x="125666" y="644131"/>
                  </a:lnTo>
                  <a:lnTo>
                    <a:pt x="119621" y="646290"/>
                  </a:lnTo>
                  <a:lnTo>
                    <a:pt x="112179" y="646290"/>
                  </a:lnTo>
                  <a:lnTo>
                    <a:pt x="0" y="646290"/>
                  </a:lnTo>
                  <a:lnTo>
                    <a:pt x="214541" y="313753"/>
                  </a:lnTo>
                  <a:close/>
                </a:path>
              </a:pathLst>
            </a:custGeom>
            <a:ln w="7620">
              <a:solidFill>
                <a:srgbClr val="E3873E"/>
              </a:solidFill>
            </a:ln>
          </p:spPr>
          <p:txBody>
            <a:bodyPr wrap="square" lIns="0" tIns="0" rIns="0" bIns="0" rtlCol="0"/>
            <a:lstStyle/>
            <a:p>
              <a:endParaRPr sz="649"/>
            </a:p>
          </p:txBody>
        </p:sp>
      </p:grpSp>
      <p:grpSp>
        <p:nvGrpSpPr>
          <p:cNvPr id="68" name="object 68"/>
          <p:cNvGrpSpPr/>
          <p:nvPr/>
        </p:nvGrpSpPr>
        <p:grpSpPr>
          <a:xfrm>
            <a:off x="4593705" y="2495239"/>
            <a:ext cx="1442091" cy="877476"/>
            <a:chOff x="3823360" y="5186031"/>
            <a:chExt cx="2997200" cy="1823720"/>
          </a:xfrm>
        </p:grpSpPr>
        <p:sp>
          <p:nvSpPr>
            <p:cNvPr id="69" name="object 69"/>
            <p:cNvSpPr/>
            <p:nvPr/>
          </p:nvSpPr>
          <p:spPr>
            <a:xfrm>
              <a:off x="3823360" y="6989916"/>
              <a:ext cx="2997200" cy="12700"/>
            </a:xfrm>
            <a:custGeom>
              <a:avLst/>
              <a:gdLst/>
              <a:ahLst/>
              <a:cxnLst/>
              <a:rect l="l" t="t" r="r" b="b"/>
              <a:pathLst>
                <a:path w="2997200" h="12700">
                  <a:moveTo>
                    <a:pt x="2997121" y="0"/>
                  </a:moveTo>
                  <a:lnTo>
                    <a:pt x="0" y="0"/>
                  </a:lnTo>
                  <a:lnTo>
                    <a:pt x="0" y="12699"/>
                  </a:lnTo>
                  <a:lnTo>
                    <a:pt x="2997121" y="12699"/>
                  </a:lnTo>
                  <a:lnTo>
                    <a:pt x="2997121" y="0"/>
                  </a:lnTo>
                  <a:close/>
                </a:path>
              </a:pathLst>
            </a:custGeom>
            <a:solidFill>
              <a:srgbClr val="231F20"/>
            </a:solidFill>
          </p:spPr>
          <p:txBody>
            <a:bodyPr wrap="square" lIns="0" tIns="0" rIns="0" bIns="0" rtlCol="0"/>
            <a:lstStyle/>
            <a:p>
              <a:endParaRPr sz="649"/>
            </a:p>
          </p:txBody>
        </p:sp>
        <p:pic>
          <p:nvPicPr>
            <p:cNvPr id="70" name="object 70"/>
            <p:cNvPicPr/>
            <p:nvPr/>
          </p:nvPicPr>
          <p:blipFill>
            <a:blip r:embed="rId10" cstate="print"/>
            <a:stretch>
              <a:fillRect/>
            </a:stretch>
          </p:blipFill>
          <p:spPr>
            <a:xfrm>
              <a:off x="4082090" y="5186031"/>
              <a:ext cx="2496804" cy="1823406"/>
            </a:xfrm>
            <a:prstGeom prst="rect">
              <a:avLst/>
            </a:prstGeom>
          </p:spPr>
        </p:pic>
        <p:pic>
          <p:nvPicPr>
            <p:cNvPr id="71" name="object 71"/>
            <p:cNvPicPr/>
            <p:nvPr/>
          </p:nvPicPr>
          <p:blipFill>
            <a:blip r:embed="rId11" cstate="print"/>
            <a:stretch>
              <a:fillRect/>
            </a:stretch>
          </p:blipFill>
          <p:spPr>
            <a:xfrm>
              <a:off x="5712091" y="6106858"/>
              <a:ext cx="595731" cy="646290"/>
            </a:xfrm>
            <a:prstGeom prst="rect">
              <a:avLst/>
            </a:prstGeom>
          </p:spPr>
        </p:pic>
        <p:sp>
          <p:nvSpPr>
            <p:cNvPr id="72" name="object 72"/>
            <p:cNvSpPr/>
            <p:nvPr/>
          </p:nvSpPr>
          <p:spPr>
            <a:xfrm>
              <a:off x="5712068" y="6106857"/>
              <a:ext cx="596265" cy="646430"/>
            </a:xfrm>
            <a:custGeom>
              <a:avLst/>
              <a:gdLst/>
              <a:ahLst/>
              <a:cxnLst/>
              <a:rect l="l" t="t" r="r" b="b"/>
              <a:pathLst>
                <a:path w="596264" h="646429">
                  <a:moveTo>
                    <a:pt x="214528" y="313753"/>
                  </a:moveTo>
                  <a:lnTo>
                    <a:pt x="8483" y="0"/>
                  </a:lnTo>
                  <a:lnTo>
                    <a:pt x="128269" y="0"/>
                  </a:lnTo>
                  <a:lnTo>
                    <a:pt x="136601" y="0"/>
                  </a:lnTo>
                  <a:lnTo>
                    <a:pt x="303466" y="251180"/>
                  </a:lnTo>
                  <a:lnTo>
                    <a:pt x="304965" y="247599"/>
                  </a:lnTo>
                  <a:lnTo>
                    <a:pt x="306603" y="243966"/>
                  </a:lnTo>
                  <a:lnTo>
                    <a:pt x="308394" y="240233"/>
                  </a:lnTo>
                  <a:lnTo>
                    <a:pt x="310172" y="236512"/>
                  </a:lnTo>
                  <a:lnTo>
                    <a:pt x="312254" y="232714"/>
                  </a:lnTo>
                  <a:lnTo>
                    <a:pt x="314642" y="228828"/>
                  </a:lnTo>
                  <a:lnTo>
                    <a:pt x="449618" y="16535"/>
                  </a:lnTo>
                  <a:lnTo>
                    <a:pt x="452894" y="10871"/>
                  </a:lnTo>
                  <a:lnTo>
                    <a:pt x="456476" y="6705"/>
                  </a:lnTo>
                  <a:lnTo>
                    <a:pt x="460336" y="4013"/>
                  </a:lnTo>
                  <a:lnTo>
                    <a:pt x="464210" y="1333"/>
                  </a:lnTo>
                  <a:lnTo>
                    <a:pt x="469138" y="0"/>
                  </a:lnTo>
                  <a:lnTo>
                    <a:pt x="475106" y="0"/>
                  </a:lnTo>
                  <a:lnTo>
                    <a:pt x="589965" y="0"/>
                  </a:lnTo>
                  <a:lnTo>
                    <a:pt x="382130" y="308838"/>
                  </a:lnTo>
                  <a:lnTo>
                    <a:pt x="595769" y="646290"/>
                  </a:lnTo>
                  <a:lnTo>
                    <a:pt x="475995" y="646290"/>
                  </a:lnTo>
                  <a:lnTo>
                    <a:pt x="467652" y="646290"/>
                  </a:lnTo>
                  <a:lnTo>
                    <a:pt x="461022" y="644207"/>
                  </a:lnTo>
                  <a:lnTo>
                    <a:pt x="456095" y="640016"/>
                  </a:lnTo>
                  <a:lnTo>
                    <a:pt x="451192" y="635850"/>
                  </a:lnTo>
                  <a:lnTo>
                    <a:pt x="447230" y="631075"/>
                  </a:lnTo>
                  <a:lnTo>
                    <a:pt x="444258" y="625716"/>
                  </a:lnTo>
                  <a:lnTo>
                    <a:pt x="294525" y="378117"/>
                  </a:lnTo>
                  <a:lnTo>
                    <a:pt x="142570" y="625716"/>
                  </a:lnTo>
                  <a:lnTo>
                    <a:pt x="130276" y="639800"/>
                  </a:lnTo>
                  <a:lnTo>
                    <a:pt x="125666" y="644131"/>
                  </a:lnTo>
                  <a:lnTo>
                    <a:pt x="119621" y="646290"/>
                  </a:lnTo>
                  <a:lnTo>
                    <a:pt x="112166" y="646290"/>
                  </a:lnTo>
                  <a:lnTo>
                    <a:pt x="0" y="646290"/>
                  </a:lnTo>
                  <a:lnTo>
                    <a:pt x="214528" y="313753"/>
                  </a:lnTo>
                  <a:close/>
                </a:path>
              </a:pathLst>
            </a:custGeom>
            <a:ln w="7620">
              <a:solidFill>
                <a:srgbClr val="E3873E"/>
              </a:solidFill>
            </a:ln>
          </p:spPr>
          <p:txBody>
            <a:bodyPr wrap="square" lIns="0" tIns="0" rIns="0" bIns="0" rtlCol="0"/>
            <a:lstStyle/>
            <a:p>
              <a:endParaRPr sz="649"/>
            </a:p>
          </p:txBody>
        </p:sp>
      </p:grpSp>
      <p:grpSp>
        <p:nvGrpSpPr>
          <p:cNvPr id="73" name="object 73"/>
          <p:cNvGrpSpPr/>
          <p:nvPr/>
        </p:nvGrpSpPr>
        <p:grpSpPr>
          <a:xfrm>
            <a:off x="4602870" y="3680835"/>
            <a:ext cx="1568274" cy="1108455"/>
            <a:chOff x="3842409" y="7650140"/>
            <a:chExt cx="3259454" cy="2303780"/>
          </a:xfrm>
        </p:grpSpPr>
        <p:sp>
          <p:nvSpPr>
            <p:cNvPr id="74" name="object 74"/>
            <p:cNvSpPr/>
            <p:nvPr/>
          </p:nvSpPr>
          <p:spPr>
            <a:xfrm>
              <a:off x="6154653" y="7958266"/>
              <a:ext cx="946785" cy="827405"/>
            </a:xfrm>
            <a:custGeom>
              <a:avLst/>
              <a:gdLst/>
              <a:ahLst/>
              <a:cxnLst/>
              <a:rect l="l" t="t" r="r" b="b"/>
              <a:pathLst>
                <a:path w="946784" h="827404">
                  <a:moveTo>
                    <a:pt x="473400" y="0"/>
                  </a:moveTo>
                  <a:lnTo>
                    <a:pt x="4181" y="780348"/>
                  </a:lnTo>
                  <a:lnTo>
                    <a:pt x="0" y="795943"/>
                  </a:lnTo>
                  <a:lnTo>
                    <a:pt x="1045" y="803951"/>
                  </a:lnTo>
                  <a:lnTo>
                    <a:pt x="31207" y="827147"/>
                  </a:lnTo>
                  <a:lnTo>
                    <a:pt x="915558" y="827147"/>
                  </a:lnTo>
                  <a:lnTo>
                    <a:pt x="946756" y="795943"/>
                  </a:lnTo>
                  <a:lnTo>
                    <a:pt x="945713" y="787936"/>
                  </a:lnTo>
                  <a:lnTo>
                    <a:pt x="942584" y="780348"/>
                  </a:lnTo>
                  <a:lnTo>
                    <a:pt x="500421" y="14487"/>
                  </a:lnTo>
                  <a:lnTo>
                    <a:pt x="488841" y="3621"/>
                  </a:lnTo>
                  <a:lnTo>
                    <a:pt x="473400" y="0"/>
                  </a:lnTo>
                  <a:close/>
                </a:path>
              </a:pathLst>
            </a:custGeom>
            <a:solidFill>
              <a:srgbClr val="E3873E"/>
            </a:solidFill>
          </p:spPr>
          <p:txBody>
            <a:bodyPr wrap="square" lIns="0" tIns="0" rIns="0" bIns="0" rtlCol="0"/>
            <a:lstStyle/>
            <a:p>
              <a:endParaRPr sz="649"/>
            </a:p>
          </p:txBody>
        </p:sp>
        <p:sp>
          <p:nvSpPr>
            <p:cNvPr id="75" name="object 75"/>
            <p:cNvSpPr/>
            <p:nvPr/>
          </p:nvSpPr>
          <p:spPr>
            <a:xfrm>
              <a:off x="6239912" y="8050743"/>
              <a:ext cx="776605" cy="672465"/>
            </a:xfrm>
            <a:custGeom>
              <a:avLst/>
              <a:gdLst/>
              <a:ahLst/>
              <a:cxnLst/>
              <a:rect l="l" t="t" r="r" b="b"/>
              <a:pathLst>
                <a:path w="776604" h="672465">
                  <a:moveTo>
                    <a:pt x="388137" y="0"/>
                  </a:moveTo>
                  <a:lnTo>
                    <a:pt x="0" y="672274"/>
                  </a:lnTo>
                  <a:lnTo>
                    <a:pt x="776249" y="672274"/>
                  </a:lnTo>
                  <a:lnTo>
                    <a:pt x="388137" y="0"/>
                  </a:lnTo>
                  <a:close/>
                </a:path>
              </a:pathLst>
            </a:custGeom>
            <a:solidFill>
              <a:srgbClr val="FFFFFF"/>
            </a:solidFill>
          </p:spPr>
          <p:txBody>
            <a:bodyPr wrap="square" lIns="0" tIns="0" rIns="0" bIns="0" rtlCol="0"/>
            <a:lstStyle/>
            <a:p>
              <a:endParaRPr sz="649"/>
            </a:p>
          </p:txBody>
        </p:sp>
        <p:sp>
          <p:nvSpPr>
            <p:cNvPr id="76" name="object 76"/>
            <p:cNvSpPr/>
            <p:nvPr/>
          </p:nvSpPr>
          <p:spPr>
            <a:xfrm>
              <a:off x="6576372" y="8243140"/>
              <a:ext cx="103505" cy="433070"/>
            </a:xfrm>
            <a:custGeom>
              <a:avLst/>
              <a:gdLst/>
              <a:ahLst/>
              <a:cxnLst/>
              <a:rect l="l" t="t" r="r" b="b"/>
              <a:pathLst>
                <a:path w="103504" h="433070">
                  <a:moveTo>
                    <a:pt x="93903" y="0"/>
                  </a:moveTo>
                  <a:lnTo>
                    <a:pt x="11125" y="0"/>
                  </a:lnTo>
                  <a:lnTo>
                    <a:pt x="11125" y="171297"/>
                  </a:lnTo>
                  <a:lnTo>
                    <a:pt x="12582" y="210398"/>
                  </a:lnTo>
                  <a:lnTo>
                    <a:pt x="16660" y="248837"/>
                  </a:lnTo>
                  <a:lnTo>
                    <a:pt x="21323" y="283337"/>
                  </a:lnTo>
                  <a:lnTo>
                    <a:pt x="83705" y="283337"/>
                  </a:lnTo>
                  <a:lnTo>
                    <a:pt x="89929" y="235740"/>
                  </a:lnTo>
                  <a:lnTo>
                    <a:pt x="93256" y="197542"/>
                  </a:lnTo>
                  <a:lnTo>
                    <a:pt x="93903" y="171297"/>
                  </a:lnTo>
                  <a:lnTo>
                    <a:pt x="93903" y="0"/>
                  </a:lnTo>
                  <a:close/>
                </a:path>
                <a:path w="103504" h="433070">
                  <a:moveTo>
                    <a:pt x="51327" y="330149"/>
                  </a:moveTo>
                  <a:lnTo>
                    <a:pt x="10172" y="349707"/>
                  </a:lnTo>
                  <a:lnTo>
                    <a:pt x="3924" y="361530"/>
                  </a:lnTo>
                  <a:lnTo>
                    <a:pt x="1308" y="367842"/>
                  </a:lnTo>
                  <a:lnTo>
                    <a:pt x="4" y="374561"/>
                  </a:lnTo>
                  <a:lnTo>
                    <a:pt x="0" y="388696"/>
                  </a:lnTo>
                  <a:lnTo>
                    <a:pt x="1333" y="395465"/>
                  </a:lnTo>
                  <a:lnTo>
                    <a:pt x="3924" y="401650"/>
                  </a:lnTo>
                  <a:lnTo>
                    <a:pt x="6451" y="407847"/>
                  </a:lnTo>
                  <a:lnTo>
                    <a:pt x="37706" y="431292"/>
                  </a:lnTo>
                  <a:lnTo>
                    <a:pt x="44538" y="432587"/>
                  </a:lnTo>
                  <a:lnTo>
                    <a:pt x="58572" y="432587"/>
                  </a:lnTo>
                  <a:lnTo>
                    <a:pt x="65278" y="431292"/>
                  </a:lnTo>
                  <a:lnTo>
                    <a:pt x="77952" y="426110"/>
                  </a:lnTo>
                  <a:lnTo>
                    <a:pt x="83477" y="422516"/>
                  </a:lnTo>
                  <a:lnTo>
                    <a:pt x="88087" y="417995"/>
                  </a:lnTo>
                  <a:lnTo>
                    <a:pt x="92786" y="413435"/>
                  </a:lnTo>
                  <a:lnTo>
                    <a:pt x="96532" y="407987"/>
                  </a:lnTo>
                  <a:lnTo>
                    <a:pt x="101942" y="395528"/>
                  </a:lnTo>
                  <a:lnTo>
                    <a:pt x="103327" y="388696"/>
                  </a:lnTo>
                  <a:lnTo>
                    <a:pt x="103327" y="374561"/>
                  </a:lnTo>
                  <a:lnTo>
                    <a:pt x="83464" y="340537"/>
                  </a:lnTo>
                  <a:lnTo>
                    <a:pt x="61737" y="331143"/>
                  </a:lnTo>
                  <a:lnTo>
                    <a:pt x="51327" y="330149"/>
                  </a:lnTo>
                  <a:close/>
                </a:path>
              </a:pathLst>
            </a:custGeom>
            <a:solidFill>
              <a:srgbClr val="E3873E"/>
            </a:solidFill>
          </p:spPr>
          <p:txBody>
            <a:bodyPr wrap="square" lIns="0" tIns="0" rIns="0" bIns="0" rtlCol="0"/>
            <a:lstStyle/>
            <a:p>
              <a:endParaRPr sz="649"/>
            </a:p>
          </p:txBody>
        </p:sp>
        <p:pic>
          <p:nvPicPr>
            <p:cNvPr id="77" name="object 77"/>
            <p:cNvPicPr/>
            <p:nvPr/>
          </p:nvPicPr>
          <p:blipFill>
            <a:blip r:embed="rId12" cstate="print"/>
            <a:stretch>
              <a:fillRect/>
            </a:stretch>
          </p:blipFill>
          <p:spPr>
            <a:xfrm>
              <a:off x="3842409" y="7650140"/>
              <a:ext cx="3090877" cy="2303199"/>
            </a:xfrm>
            <a:prstGeom prst="rect">
              <a:avLst/>
            </a:prstGeom>
          </p:spPr>
        </p:pic>
      </p:grpSp>
      <p:grpSp>
        <p:nvGrpSpPr>
          <p:cNvPr id="78" name="object 78"/>
          <p:cNvGrpSpPr/>
          <p:nvPr/>
        </p:nvGrpSpPr>
        <p:grpSpPr>
          <a:xfrm>
            <a:off x="3005773" y="3577130"/>
            <a:ext cx="1453396" cy="1027184"/>
            <a:chOff x="523049" y="7434602"/>
            <a:chExt cx="3020695" cy="2134870"/>
          </a:xfrm>
        </p:grpSpPr>
        <p:sp>
          <p:nvSpPr>
            <p:cNvPr id="79" name="object 79"/>
            <p:cNvSpPr/>
            <p:nvPr/>
          </p:nvSpPr>
          <p:spPr>
            <a:xfrm>
              <a:off x="523049" y="9238494"/>
              <a:ext cx="3020695" cy="12700"/>
            </a:xfrm>
            <a:custGeom>
              <a:avLst/>
              <a:gdLst/>
              <a:ahLst/>
              <a:cxnLst/>
              <a:rect l="l" t="t" r="r" b="b"/>
              <a:pathLst>
                <a:path w="3020695" h="12700">
                  <a:moveTo>
                    <a:pt x="0" y="12699"/>
                  </a:moveTo>
                  <a:lnTo>
                    <a:pt x="3020352" y="12699"/>
                  </a:lnTo>
                  <a:lnTo>
                    <a:pt x="3020352" y="0"/>
                  </a:lnTo>
                  <a:lnTo>
                    <a:pt x="0" y="0"/>
                  </a:lnTo>
                  <a:lnTo>
                    <a:pt x="0" y="12699"/>
                  </a:lnTo>
                  <a:close/>
                </a:path>
              </a:pathLst>
            </a:custGeom>
            <a:solidFill>
              <a:srgbClr val="231F20"/>
            </a:solidFill>
          </p:spPr>
          <p:txBody>
            <a:bodyPr wrap="square" lIns="0" tIns="0" rIns="0" bIns="0" rtlCol="0"/>
            <a:lstStyle/>
            <a:p>
              <a:endParaRPr sz="649"/>
            </a:p>
          </p:txBody>
        </p:sp>
        <p:pic>
          <p:nvPicPr>
            <p:cNvPr id="80" name="object 80"/>
            <p:cNvPicPr/>
            <p:nvPr/>
          </p:nvPicPr>
          <p:blipFill>
            <a:blip r:embed="rId13" cstate="print"/>
            <a:stretch>
              <a:fillRect/>
            </a:stretch>
          </p:blipFill>
          <p:spPr>
            <a:xfrm>
              <a:off x="885151" y="7434602"/>
              <a:ext cx="2521045" cy="2134417"/>
            </a:xfrm>
            <a:prstGeom prst="rect">
              <a:avLst/>
            </a:prstGeom>
          </p:spPr>
        </p:pic>
        <p:pic>
          <p:nvPicPr>
            <p:cNvPr id="81" name="object 81"/>
            <p:cNvPicPr/>
            <p:nvPr/>
          </p:nvPicPr>
          <p:blipFill>
            <a:blip r:embed="rId14" cstate="print"/>
            <a:stretch>
              <a:fillRect/>
            </a:stretch>
          </p:blipFill>
          <p:spPr>
            <a:xfrm>
              <a:off x="2836608" y="8772169"/>
              <a:ext cx="595769" cy="646302"/>
            </a:xfrm>
            <a:prstGeom prst="rect">
              <a:avLst/>
            </a:prstGeom>
          </p:spPr>
        </p:pic>
        <p:sp>
          <p:nvSpPr>
            <p:cNvPr id="82" name="object 82"/>
            <p:cNvSpPr/>
            <p:nvPr/>
          </p:nvSpPr>
          <p:spPr>
            <a:xfrm>
              <a:off x="2836595" y="8772179"/>
              <a:ext cx="596265" cy="646430"/>
            </a:xfrm>
            <a:custGeom>
              <a:avLst/>
              <a:gdLst/>
              <a:ahLst/>
              <a:cxnLst/>
              <a:rect l="l" t="t" r="r" b="b"/>
              <a:pathLst>
                <a:path w="596264" h="646429">
                  <a:moveTo>
                    <a:pt x="214528" y="313753"/>
                  </a:moveTo>
                  <a:lnTo>
                    <a:pt x="8483" y="0"/>
                  </a:lnTo>
                  <a:lnTo>
                    <a:pt x="128269" y="0"/>
                  </a:lnTo>
                  <a:lnTo>
                    <a:pt x="136613" y="0"/>
                  </a:lnTo>
                  <a:lnTo>
                    <a:pt x="142646" y="1117"/>
                  </a:lnTo>
                  <a:lnTo>
                    <a:pt x="146380" y="3352"/>
                  </a:lnTo>
                  <a:lnTo>
                    <a:pt x="150101" y="5575"/>
                  </a:lnTo>
                  <a:lnTo>
                    <a:pt x="153593" y="9232"/>
                  </a:lnTo>
                  <a:lnTo>
                    <a:pt x="156883" y="14300"/>
                  </a:lnTo>
                  <a:lnTo>
                    <a:pt x="303479" y="251180"/>
                  </a:lnTo>
                  <a:lnTo>
                    <a:pt x="304965" y="247599"/>
                  </a:lnTo>
                  <a:lnTo>
                    <a:pt x="306603" y="243966"/>
                  </a:lnTo>
                  <a:lnTo>
                    <a:pt x="308394" y="240233"/>
                  </a:lnTo>
                  <a:lnTo>
                    <a:pt x="310172" y="236512"/>
                  </a:lnTo>
                  <a:lnTo>
                    <a:pt x="312254" y="232714"/>
                  </a:lnTo>
                  <a:lnTo>
                    <a:pt x="314655" y="228828"/>
                  </a:lnTo>
                  <a:lnTo>
                    <a:pt x="449630" y="16535"/>
                  </a:lnTo>
                  <a:lnTo>
                    <a:pt x="452907" y="10871"/>
                  </a:lnTo>
                  <a:lnTo>
                    <a:pt x="456476" y="6705"/>
                  </a:lnTo>
                  <a:lnTo>
                    <a:pt x="460349" y="4013"/>
                  </a:lnTo>
                  <a:lnTo>
                    <a:pt x="464210" y="1333"/>
                  </a:lnTo>
                  <a:lnTo>
                    <a:pt x="469138" y="0"/>
                  </a:lnTo>
                  <a:lnTo>
                    <a:pt x="475106" y="0"/>
                  </a:lnTo>
                  <a:lnTo>
                    <a:pt x="589965" y="0"/>
                  </a:lnTo>
                  <a:lnTo>
                    <a:pt x="382130" y="308838"/>
                  </a:lnTo>
                  <a:lnTo>
                    <a:pt x="595782" y="646290"/>
                  </a:lnTo>
                  <a:lnTo>
                    <a:pt x="475995" y="646290"/>
                  </a:lnTo>
                  <a:lnTo>
                    <a:pt x="467652" y="646290"/>
                  </a:lnTo>
                  <a:lnTo>
                    <a:pt x="461022" y="644207"/>
                  </a:lnTo>
                  <a:lnTo>
                    <a:pt x="456095" y="640016"/>
                  </a:lnTo>
                  <a:lnTo>
                    <a:pt x="451192" y="635850"/>
                  </a:lnTo>
                  <a:lnTo>
                    <a:pt x="447230" y="631075"/>
                  </a:lnTo>
                  <a:lnTo>
                    <a:pt x="444271" y="625716"/>
                  </a:lnTo>
                  <a:lnTo>
                    <a:pt x="294538" y="378117"/>
                  </a:lnTo>
                  <a:lnTo>
                    <a:pt x="142570" y="625716"/>
                  </a:lnTo>
                  <a:lnTo>
                    <a:pt x="130276" y="639800"/>
                  </a:lnTo>
                  <a:lnTo>
                    <a:pt x="125666" y="644131"/>
                  </a:lnTo>
                  <a:lnTo>
                    <a:pt x="119621" y="646290"/>
                  </a:lnTo>
                  <a:lnTo>
                    <a:pt x="112179" y="646290"/>
                  </a:lnTo>
                  <a:lnTo>
                    <a:pt x="0" y="646290"/>
                  </a:lnTo>
                  <a:lnTo>
                    <a:pt x="214528" y="313753"/>
                  </a:lnTo>
                  <a:close/>
                </a:path>
              </a:pathLst>
            </a:custGeom>
            <a:ln w="7620">
              <a:solidFill>
                <a:srgbClr val="E3873E"/>
              </a:solidFill>
            </a:ln>
          </p:spPr>
          <p:txBody>
            <a:bodyPr wrap="square" lIns="0" tIns="0" rIns="0" bIns="0" rtlCol="0"/>
            <a:lstStyle/>
            <a:p>
              <a:endParaRPr sz="649"/>
            </a:p>
          </p:txBody>
        </p:sp>
      </p:grpSp>
      <p:sp>
        <p:nvSpPr>
          <p:cNvPr id="83" name="object 83"/>
          <p:cNvSpPr txBox="1"/>
          <p:nvPr/>
        </p:nvSpPr>
        <p:spPr>
          <a:xfrm>
            <a:off x="3177594" y="956863"/>
            <a:ext cx="538951" cy="228989"/>
          </a:xfrm>
          <a:prstGeom prst="rect">
            <a:avLst/>
          </a:prstGeom>
        </p:spPr>
        <p:txBody>
          <a:bodyPr vert="horz" wrap="square" lIns="0" tIns="6111" rIns="0" bIns="0" rtlCol="0">
            <a:spAutoFit/>
          </a:bodyPr>
          <a:lstStyle/>
          <a:p>
            <a:pPr marL="18330" marR="14664" indent="45214">
              <a:lnSpc>
                <a:spcPct val="113100"/>
              </a:lnSpc>
              <a:spcBef>
                <a:spcPts val="48"/>
              </a:spcBef>
            </a:pPr>
            <a:r>
              <a:rPr sz="674" spc="-5" dirty="0">
                <a:solidFill>
                  <a:srgbClr val="231F20"/>
                </a:solidFill>
                <a:latin typeface="Tahoma"/>
                <a:cs typeface="Tahoma"/>
              </a:rPr>
              <a:t>Stressless</a:t>
            </a:r>
            <a:r>
              <a:rPr sz="577" spc="-7" baseline="31250" dirty="0">
                <a:solidFill>
                  <a:srgbClr val="231F20"/>
                </a:solidFill>
                <a:latin typeface="Tahoma"/>
                <a:cs typeface="Tahoma"/>
              </a:rPr>
              <a:t>® </a:t>
            </a:r>
            <a:r>
              <a:rPr sz="577" spc="-3" baseline="31250" dirty="0">
                <a:solidFill>
                  <a:srgbClr val="231F20"/>
                </a:solidFill>
                <a:latin typeface="Tahoma"/>
                <a:cs typeface="Tahoma"/>
              </a:rPr>
              <a:t> </a:t>
            </a:r>
            <a:r>
              <a:rPr sz="674" spc="-53" dirty="0">
                <a:solidFill>
                  <a:srgbClr val="231F20"/>
                </a:solidFill>
                <a:latin typeface="Tahoma"/>
                <a:cs typeface="Tahoma"/>
              </a:rPr>
              <a:t>T</a:t>
            </a:r>
            <a:r>
              <a:rPr sz="674" spc="12" dirty="0">
                <a:solidFill>
                  <a:srgbClr val="231F20"/>
                </a:solidFill>
                <a:latin typeface="Tahoma"/>
                <a:cs typeface="Tahoma"/>
              </a:rPr>
              <a:t>r</a:t>
            </a:r>
            <a:r>
              <a:rPr sz="674" spc="2" dirty="0">
                <a:solidFill>
                  <a:srgbClr val="231F20"/>
                </a:solidFill>
                <a:latin typeface="Tahoma"/>
                <a:cs typeface="Tahoma"/>
              </a:rPr>
              <a:t>ansformers</a:t>
            </a:r>
            <a:endParaRPr sz="674">
              <a:latin typeface="Tahoma"/>
              <a:cs typeface="Tahoma"/>
            </a:endParaRPr>
          </a:p>
        </p:txBody>
      </p:sp>
      <p:sp>
        <p:nvSpPr>
          <p:cNvPr id="84" name="object 84"/>
          <p:cNvSpPr txBox="1"/>
          <p:nvPr/>
        </p:nvSpPr>
        <p:spPr>
          <a:xfrm>
            <a:off x="4099103" y="956863"/>
            <a:ext cx="514509" cy="228989"/>
          </a:xfrm>
          <a:prstGeom prst="rect">
            <a:avLst/>
          </a:prstGeom>
        </p:spPr>
        <p:txBody>
          <a:bodyPr vert="horz" wrap="square" lIns="0" tIns="6111" rIns="0" bIns="0" rtlCol="0">
            <a:spAutoFit/>
          </a:bodyPr>
          <a:lstStyle/>
          <a:p>
            <a:pPr marL="6110" marR="2444" indent="98371">
              <a:lnSpc>
                <a:spcPct val="113100"/>
              </a:lnSpc>
              <a:spcBef>
                <a:spcPts val="48"/>
              </a:spcBef>
            </a:pPr>
            <a:r>
              <a:rPr sz="674" spc="17" dirty="0">
                <a:solidFill>
                  <a:srgbClr val="231F20"/>
                </a:solidFill>
                <a:latin typeface="Tahoma"/>
                <a:cs typeface="Tahoma"/>
              </a:rPr>
              <a:t>3rd</a:t>
            </a:r>
            <a:r>
              <a:rPr sz="674" spc="-82" dirty="0">
                <a:solidFill>
                  <a:srgbClr val="231F20"/>
                </a:solidFill>
                <a:latin typeface="Tahoma"/>
                <a:cs typeface="Tahoma"/>
              </a:rPr>
              <a:t> </a:t>
            </a:r>
            <a:r>
              <a:rPr sz="674" spc="7" dirty="0">
                <a:solidFill>
                  <a:srgbClr val="231F20"/>
                </a:solidFill>
                <a:latin typeface="Tahoma"/>
                <a:cs typeface="Tahoma"/>
              </a:rPr>
              <a:t>part  </a:t>
            </a:r>
            <a:r>
              <a:rPr sz="674" spc="-53" dirty="0">
                <a:solidFill>
                  <a:srgbClr val="231F20"/>
                </a:solidFill>
                <a:latin typeface="Tahoma"/>
                <a:cs typeface="Tahoma"/>
              </a:rPr>
              <a:t>T</a:t>
            </a:r>
            <a:r>
              <a:rPr sz="674" spc="12" dirty="0">
                <a:solidFill>
                  <a:srgbClr val="231F20"/>
                </a:solidFill>
                <a:latin typeface="Tahoma"/>
                <a:cs typeface="Tahoma"/>
              </a:rPr>
              <a:t>r</a:t>
            </a:r>
            <a:r>
              <a:rPr sz="674" spc="2" dirty="0">
                <a:solidFill>
                  <a:srgbClr val="231F20"/>
                </a:solidFill>
                <a:latin typeface="Tahoma"/>
                <a:cs typeface="Tahoma"/>
              </a:rPr>
              <a:t>ansformers</a:t>
            </a:r>
            <a:endParaRPr sz="674">
              <a:latin typeface="Tahoma"/>
              <a:cs typeface="Tahoma"/>
            </a:endParaRPr>
          </a:p>
        </p:txBody>
      </p:sp>
      <p:sp>
        <p:nvSpPr>
          <p:cNvPr id="85" name="object 85"/>
          <p:cNvSpPr txBox="1"/>
          <p:nvPr/>
        </p:nvSpPr>
        <p:spPr>
          <a:xfrm>
            <a:off x="5719463" y="700219"/>
            <a:ext cx="422545" cy="228989"/>
          </a:xfrm>
          <a:prstGeom prst="rect">
            <a:avLst/>
          </a:prstGeom>
        </p:spPr>
        <p:txBody>
          <a:bodyPr vert="horz" wrap="square" lIns="0" tIns="6111" rIns="0" bIns="0" rtlCol="0">
            <a:spAutoFit/>
          </a:bodyPr>
          <a:lstStyle/>
          <a:p>
            <a:pPr marL="37576" marR="2444" indent="-31772">
              <a:lnSpc>
                <a:spcPct val="113100"/>
              </a:lnSpc>
              <a:spcBef>
                <a:spcPts val="48"/>
              </a:spcBef>
            </a:pPr>
            <a:r>
              <a:rPr sz="674" spc="-2" dirty="0">
                <a:solidFill>
                  <a:srgbClr val="231F20"/>
                </a:solidFill>
                <a:latin typeface="Tahoma"/>
                <a:cs typeface="Tahoma"/>
              </a:rPr>
              <a:t>Spare</a:t>
            </a:r>
            <a:r>
              <a:rPr sz="674" spc="-82" dirty="0">
                <a:solidFill>
                  <a:srgbClr val="231F20"/>
                </a:solidFill>
                <a:latin typeface="Tahoma"/>
                <a:cs typeface="Tahoma"/>
              </a:rPr>
              <a:t> </a:t>
            </a:r>
            <a:r>
              <a:rPr sz="674" spc="-7" dirty="0">
                <a:solidFill>
                  <a:srgbClr val="231F20"/>
                </a:solidFill>
                <a:latin typeface="Tahoma"/>
                <a:cs typeface="Tahoma"/>
              </a:rPr>
              <a:t>part:  </a:t>
            </a:r>
            <a:r>
              <a:rPr sz="674" spc="22" dirty="0">
                <a:solidFill>
                  <a:srgbClr val="231F20"/>
                </a:solidFill>
                <a:latin typeface="Tahoma"/>
                <a:cs typeface="Tahoma"/>
              </a:rPr>
              <a:t>1997433</a:t>
            </a:r>
            <a:endParaRPr sz="674">
              <a:latin typeface="Tahoma"/>
              <a:cs typeface="Tahoma"/>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3512047" y="2469075"/>
            <a:ext cx="2051313" cy="2045203"/>
            <a:chOff x="1575274" y="5131653"/>
            <a:chExt cx="4263390" cy="4250690"/>
          </a:xfrm>
        </p:grpSpPr>
        <p:pic>
          <p:nvPicPr>
            <p:cNvPr id="3" name="object 3"/>
            <p:cNvPicPr/>
            <p:nvPr/>
          </p:nvPicPr>
          <p:blipFill>
            <a:blip r:embed="rId2" cstate="print"/>
            <a:stretch>
              <a:fillRect/>
            </a:stretch>
          </p:blipFill>
          <p:spPr>
            <a:xfrm>
              <a:off x="1886832" y="5131653"/>
              <a:ext cx="3951413" cy="2559391"/>
            </a:xfrm>
            <a:prstGeom prst="rect">
              <a:avLst/>
            </a:prstGeom>
          </p:spPr>
        </p:pic>
        <p:pic>
          <p:nvPicPr>
            <p:cNvPr id="4" name="object 4"/>
            <p:cNvPicPr/>
            <p:nvPr/>
          </p:nvPicPr>
          <p:blipFill>
            <a:blip r:embed="rId3" cstate="print"/>
            <a:stretch>
              <a:fillRect/>
            </a:stretch>
          </p:blipFill>
          <p:spPr>
            <a:xfrm>
              <a:off x="2048255" y="6982485"/>
              <a:ext cx="285445" cy="165036"/>
            </a:xfrm>
            <a:prstGeom prst="rect">
              <a:avLst/>
            </a:prstGeom>
          </p:spPr>
        </p:pic>
        <p:sp>
          <p:nvSpPr>
            <p:cNvPr id="5" name="object 5"/>
            <p:cNvSpPr/>
            <p:nvPr/>
          </p:nvSpPr>
          <p:spPr>
            <a:xfrm>
              <a:off x="2048259" y="6982481"/>
              <a:ext cx="285750" cy="165100"/>
            </a:xfrm>
            <a:custGeom>
              <a:avLst/>
              <a:gdLst/>
              <a:ahLst/>
              <a:cxnLst/>
              <a:rect l="l" t="t" r="r" b="b"/>
              <a:pathLst>
                <a:path w="285750" h="165100">
                  <a:moveTo>
                    <a:pt x="60693" y="165036"/>
                  </a:moveTo>
                  <a:lnTo>
                    <a:pt x="0" y="46850"/>
                  </a:lnTo>
                  <a:lnTo>
                    <a:pt x="117119" y="0"/>
                  </a:lnTo>
                  <a:lnTo>
                    <a:pt x="101371" y="46863"/>
                  </a:lnTo>
                  <a:lnTo>
                    <a:pt x="139171" y="51223"/>
                  </a:lnTo>
                  <a:lnTo>
                    <a:pt x="177423" y="48483"/>
                  </a:lnTo>
                  <a:lnTo>
                    <a:pt x="215101" y="38403"/>
                  </a:lnTo>
                  <a:lnTo>
                    <a:pt x="251180" y="20739"/>
                  </a:lnTo>
                  <a:lnTo>
                    <a:pt x="285432" y="76314"/>
                  </a:lnTo>
                  <a:lnTo>
                    <a:pt x="236149" y="100233"/>
                  </a:lnTo>
                  <a:lnTo>
                    <a:pt x="184662" y="113455"/>
                  </a:lnTo>
                  <a:lnTo>
                    <a:pt x="132468" y="116333"/>
                  </a:lnTo>
                  <a:lnTo>
                    <a:pt x="81064" y="109220"/>
                  </a:lnTo>
                  <a:lnTo>
                    <a:pt x="60693" y="165036"/>
                  </a:lnTo>
                  <a:close/>
                </a:path>
              </a:pathLst>
            </a:custGeom>
            <a:ln w="7620">
              <a:solidFill>
                <a:srgbClr val="E3873E"/>
              </a:solidFill>
            </a:ln>
          </p:spPr>
          <p:txBody>
            <a:bodyPr wrap="square" lIns="0" tIns="0" rIns="0" bIns="0" rtlCol="0"/>
            <a:lstStyle/>
            <a:p>
              <a:endParaRPr sz="649"/>
            </a:p>
          </p:txBody>
        </p:sp>
        <p:pic>
          <p:nvPicPr>
            <p:cNvPr id="6" name="object 6"/>
            <p:cNvPicPr/>
            <p:nvPr/>
          </p:nvPicPr>
          <p:blipFill>
            <a:blip r:embed="rId4" cstate="print"/>
            <a:stretch>
              <a:fillRect/>
            </a:stretch>
          </p:blipFill>
          <p:spPr>
            <a:xfrm>
              <a:off x="4010215" y="6125133"/>
              <a:ext cx="1086396" cy="1086218"/>
            </a:xfrm>
            <a:prstGeom prst="rect">
              <a:avLst/>
            </a:prstGeom>
          </p:spPr>
        </p:pic>
        <p:sp>
          <p:nvSpPr>
            <p:cNvPr id="7" name="object 7"/>
            <p:cNvSpPr/>
            <p:nvPr/>
          </p:nvSpPr>
          <p:spPr>
            <a:xfrm>
              <a:off x="4010218" y="6125122"/>
              <a:ext cx="1086485" cy="1086485"/>
            </a:xfrm>
            <a:custGeom>
              <a:avLst/>
              <a:gdLst/>
              <a:ahLst/>
              <a:cxnLst/>
              <a:rect l="l" t="t" r="r" b="b"/>
              <a:pathLst>
                <a:path w="1086485" h="1086484">
                  <a:moveTo>
                    <a:pt x="849134" y="924280"/>
                  </a:moveTo>
                  <a:lnTo>
                    <a:pt x="847532" y="876720"/>
                  </a:lnTo>
                  <a:lnTo>
                    <a:pt x="842793" y="830021"/>
                  </a:lnTo>
                  <a:lnTo>
                    <a:pt x="835022" y="784285"/>
                  </a:lnTo>
                  <a:lnTo>
                    <a:pt x="824321" y="739616"/>
                  </a:lnTo>
                  <a:lnTo>
                    <a:pt x="810795" y="696118"/>
                  </a:lnTo>
                  <a:lnTo>
                    <a:pt x="794546" y="653894"/>
                  </a:lnTo>
                  <a:lnTo>
                    <a:pt x="775679" y="613047"/>
                  </a:lnTo>
                  <a:lnTo>
                    <a:pt x="754296" y="573681"/>
                  </a:lnTo>
                  <a:lnTo>
                    <a:pt x="730502" y="535899"/>
                  </a:lnTo>
                  <a:lnTo>
                    <a:pt x="704398" y="499806"/>
                  </a:lnTo>
                  <a:lnTo>
                    <a:pt x="676090" y="465503"/>
                  </a:lnTo>
                  <a:lnTo>
                    <a:pt x="645680" y="433095"/>
                  </a:lnTo>
                  <a:lnTo>
                    <a:pt x="613272" y="402685"/>
                  </a:lnTo>
                  <a:lnTo>
                    <a:pt x="578970" y="374377"/>
                  </a:lnTo>
                  <a:lnTo>
                    <a:pt x="542876" y="348274"/>
                  </a:lnTo>
                  <a:lnTo>
                    <a:pt x="505094" y="324479"/>
                  </a:lnTo>
                  <a:lnTo>
                    <a:pt x="465728" y="303096"/>
                  </a:lnTo>
                  <a:lnTo>
                    <a:pt x="424881" y="284229"/>
                  </a:lnTo>
                  <a:lnTo>
                    <a:pt x="382657" y="267980"/>
                  </a:lnTo>
                  <a:lnTo>
                    <a:pt x="339159" y="254454"/>
                  </a:lnTo>
                  <a:lnTo>
                    <a:pt x="294490" y="243753"/>
                  </a:lnTo>
                  <a:lnTo>
                    <a:pt x="248754" y="235982"/>
                  </a:lnTo>
                  <a:lnTo>
                    <a:pt x="202055" y="231243"/>
                  </a:lnTo>
                  <a:lnTo>
                    <a:pt x="154495" y="229641"/>
                  </a:lnTo>
                  <a:lnTo>
                    <a:pt x="152526" y="358813"/>
                  </a:lnTo>
                  <a:lnTo>
                    <a:pt x="0" y="186778"/>
                  </a:lnTo>
                  <a:lnTo>
                    <a:pt x="154495" y="0"/>
                  </a:lnTo>
                  <a:lnTo>
                    <a:pt x="154495" y="120154"/>
                  </a:lnTo>
                  <a:lnTo>
                    <a:pt x="201743" y="121519"/>
                  </a:lnTo>
                  <a:lnTo>
                    <a:pt x="248273" y="125564"/>
                  </a:lnTo>
                  <a:lnTo>
                    <a:pt x="294008" y="132213"/>
                  </a:lnTo>
                  <a:lnTo>
                    <a:pt x="338874" y="141392"/>
                  </a:lnTo>
                  <a:lnTo>
                    <a:pt x="382794" y="153024"/>
                  </a:lnTo>
                  <a:lnTo>
                    <a:pt x="425693" y="167034"/>
                  </a:lnTo>
                  <a:lnTo>
                    <a:pt x="467497" y="183346"/>
                  </a:lnTo>
                  <a:lnTo>
                    <a:pt x="508129" y="201887"/>
                  </a:lnTo>
                  <a:lnTo>
                    <a:pt x="547514" y="222579"/>
                  </a:lnTo>
                  <a:lnTo>
                    <a:pt x="585577" y="245347"/>
                  </a:lnTo>
                  <a:lnTo>
                    <a:pt x="622243" y="270117"/>
                  </a:lnTo>
                  <a:lnTo>
                    <a:pt x="657435" y="296812"/>
                  </a:lnTo>
                  <a:lnTo>
                    <a:pt x="691078" y="325357"/>
                  </a:lnTo>
                  <a:lnTo>
                    <a:pt x="723098" y="355677"/>
                  </a:lnTo>
                  <a:lnTo>
                    <a:pt x="753418" y="387697"/>
                  </a:lnTo>
                  <a:lnTo>
                    <a:pt x="781963" y="421340"/>
                  </a:lnTo>
                  <a:lnTo>
                    <a:pt x="808659" y="456533"/>
                  </a:lnTo>
                  <a:lnTo>
                    <a:pt x="833428" y="493198"/>
                  </a:lnTo>
                  <a:lnTo>
                    <a:pt x="856197" y="531261"/>
                  </a:lnTo>
                  <a:lnTo>
                    <a:pt x="876889" y="570646"/>
                  </a:lnTo>
                  <a:lnTo>
                    <a:pt x="895429" y="611278"/>
                  </a:lnTo>
                  <a:lnTo>
                    <a:pt x="911741" y="653082"/>
                  </a:lnTo>
                  <a:lnTo>
                    <a:pt x="925751" y="695981"/>
                  </a:lnTo>
                  <a:lnTo>
                    <a:pt x="937383" y="739901"/>
                  </a:lnTo>
                  <a:lnTo>
                    <a:pt x="946562" y="784767"/>
                  </a:lnTo>
                  <a:lnTo>
                    <a:pt x="953211" y="830502"/>
                  </a:lnTo>
                  <a:lnTo>
                    <a:pt x="957256" y="877032"/>
                  </a:lnTo>
                  <a:lnTo>
                    <a:pt x="958621" y="924280"/>
                  </a:lnTo>
                  <a:lnTo>
                    <a:pt x="1086396" y="924280"/>
                  </a:lnTo>
                  <a:lnTo>
                    <a:pt x="899452" y="1086231"/>
                  </a:lnTo>
                  <a:lnTo>
                    <a:pt x="717600" y="923709"/>
                  </a:lnTo>
                  <a:lnTo>
                    <a:pt x="849134" y="924280"/>
                  </a:lnTo>
                  <a:close/>
                </a:path>
              </a:pathLst>
            </a:custGeom>
            <a:ln w="7620">
              <a:solidFill>
                <a:srgbClr val="E3873E"/>
              </a:solidFill>
            </a:ln>
          </p:spPr>
          <p:txBody>
            <a:bodyPr wrap="square" lIns="0" tIns="0" rIns="0" bIns="0" rtlCol="0"/>
            <a:lstStyle/>
            <a:p>
              <a:endParaRPr sz="649"/>
            </a:p>
          </p:txBody>
        </p:sp>
        <p:sp>
          <p:nvSpPr>
            <p:cNvPr id="8" name="object 8"/>
            <p:cNvSpPr/>
            <p:nvPr/>
          </p:nvSpPr>
          <p:spPr>
            <a:xfrm>
              <a:off x="3677804" y="7569643"/>
              <a:ext cx="1799589" cy="1799589"/>
            </a:xfrm>
            <a:custGeom>
              <a:avLst/>
              <a:gdLst/>
              <a:ahLst/>
              <a:cxnLst/>
              <a:rect l="l" t="t" r="r" b="b"/>
              <a:pathLst>
                <a:path w="1799589" h="1799590">
                  <a:moveTo>
                    <a:pt x="901817" y="0"/>
                  </a:moveTo>
                  <a:lnTo>
                    <a:pt x="856331" y="1046"/>
                  </a:lnTo>
                  <a:lnTo>
                    <a:pt x="811176" y="4386"/>
                  </a:lnTo>
                  <a:lnTo>
                    <a:pt x="766431" y="9979"/>
                  </a:lnTo>
                  <a:lnTo>
                    <a:pt x="722173" y="17786"/>
                  </a:lnTo>
                  <a:lnTo>
                    <a:pt x="678482" y="27766"/>
                  </a:lnTo>
                  <a:lnTo>
                    <a:pt x="635434" y="39879"/>
                  </a:lnTo>
                  <a:lnTo>
                    <a:pt x="593110" y="54086"/>
                  </a:lnTo>
                  <a:lnTo>
                    <a:pt x="551586" y="70347"/>
                  </a:lnTo>
                  <a:lnTo>
                    <a:pt x="510942" y="88621"/>
                  </a:lnTo>
                  <a:lnTo>
                    <a:pt x="471255" y="108869"/>
                  </a:lnTo>
                  <a:lnTo>
                    <a:pt x="432604" y="131051"/>
                  </a:lnTo>
                  <a:lnTo>
                    <a:pt x="395067" y="155126"/>
                  </a:lnTo>
                  <a:lnTo>
                    <a:pt x="358723" y="181055"/>
                  </a:lnTo>
                  <a:lnTo>
                    <a:pt x="323650" y="208798"/>
                  </a:lnTo>
                  <a:lnTo>
                    <a:pt x="289926" y="238315"/>
                  </a:lnTo>
                  <a:lnTo>
                    <a:pt x="257629" y="269566"/>
                  </a:lnTo>
                  <a:lnTo>
                    <a:pt x="226838" y="302511"/>
                  </a:lnTo>
                  <a:lnTo>
                    <a:pt x="197631" y="337109"/>
                  </a:lnTo>
                  <a:lnTo>
                    <a:pt x="170087" y="373322"/>
                  </a:lnTo>
                  <a:lnTo>
                    <a:pt x="144283" y="411109"/>
                  </a:lnTo>
                  <a:lnTo>
                    <a:pt x="120298" y="450431"/>
                  </a:lnTo>
                  <a:lnTo>
                    <a:pt x="98211" y="491246"/>
                  </a:lnTo>
                  <a:lnTo>
                    <a:pt x="78099" y="533516"/>
                  </a:lnTo>
                  <a:lnTo>
                    <a:pt x="60042" y="577200"/>
                  </a:lnTo>
                  <a:lnTo>
                    <a:pt x="44116" y="622258"/>
                  </a:lnTo>
                  <a:lnTo>
                    <a:pt x="30564" y="668086"/>
                  </a:lnTo>
                  <a:lnTo>
                    <a:pt x="19545" y="714053"/>
                  </a:lnTo>
                  <a:lnTo>
                    <a:pt x="11019" y="760080"/>
                  </a:lnTo>
                  <a:lnTo>
                    <a:pt x="4946" y="806089"/>
                  </a:lnTo>
                  <a:lnTo>
                    <a:pt x="1286" y="852002"/>
                  </a:lnTo>
                  <a:lnTo>
                    <a:pt x="0" y="897741"/>
                  </a:lnTo>
                  <a:lnTo>
                    <a:pt x="1046" y="943226"/>
                  </a:lnTo>
                  <a:lnTo>
                    <a:pt x="4386" y="988381"/>
                  </a:lnTo>
                  <a:lnTo>
                    <a:pt x="9979" y="1033126"/>
                  </a:lnTo>
                  <a:lnTo>
                    <a:pt x="17786" y="1077383"/>
                  </a:lnTo>
                  <a:lnTo>
                    <a:pt x="27766" y="1121075"/>
                  </a:lnTo>
                  <a:lnTo>
                    <a:pt x="39879" y="1164122"/>
                  </a:lnTo>
                  <a:lnTo>
                    <a:pt x="54086" y="1206446"/>
                  </a:lnTo>
                  <a:lnTo>
                    <a:pt x="70347" y="1247969"/>
                  </a:lnTo>
                  <a:lnTo>
                    <a:pt x="88621" y="1288613"/>
                  </a:lnTo>
                  <a:lnTo>
                    <a:pt x="108869" y="1328299"/>
                  </a:lnTo>
                  <a:lnTo>
                    <a:pt x="131051" y="1366949"/>
                  </a:lnTo>
                  <a:lnTo>
                    <a:pt x="155126" y="1404485"/>
                  </a:lnTo>
                  <a:lnTo>
                    <a:pt x="181055" y="1440829"/>
                  </a:lnTo>
                  <a:lnTo>
                    <a:pt x="208798" y="1475901"/>
                  </a:lnTo>
                  <a:lnTo>
                    <a:pt x="238315" y="1509624"/>
                  </a:lnTo>
                  <a:lnTo>
                    <a:pt x="269566" y="1541920"/>
                  </a:lnTo>
                  <a:lnTo>
                    <a:pt x="302511" y="1572709"/>
                  </a:lnTo>
                  <a:lnTo>
                    <a:pt x="337109" y="1601915"/>
                  </a:lnTo>
                  <a:lnTo>
                    <a:pt x="373322" y="1629457"/>
                  </a:lnTo>
                  <a:lnTo>
                    <a:pt x="411109" y="1655259"/>
                  </a:lnTo>
                  <a:lnTo>
                    <a:pt x="450431" y="1679242"/>
                  </a:lnTo>
                  <a:lnTo>
                    <a:pt x="491246" y="1701328"/>
                  </a:lnTo>
                  <a:lnTo>
                    <a:pt x="533516" y="1721437"/>
                  </a:lnTo>
                  <a:lnTo>
                    <a:pt x="577200" y="1739493"/>
                  </a:lnTo>
                  <a:lnTo>
                    <a:pt x="622258" y="1755416"/>
                  </a:lnTo>
                  <a:lnTo>
                    <a:pt x="668086" y="1768969"/>
                  </a:lnTo>
                  <a:lnTo>
                    <a:pt x="714053" y="1779989"/>
                  </a:lnTo>
                  <a:lnTo>
                    <a:pt x="760080" y="1788517"/>
                  </a:lnTo>
                  <a:lnTo>
                    <a:pt x="806090" y="1794591"/>
                  </a:lnTo>
                  <a:lnTo>
                    <a:pt x="852003" y="1798251"/>
                  </a:lnTo>
                  <a:lnTo>
                    <a:pt x="897742" y="1799539"/>
                  </a:lnTo>
                  <a:lnTo>
                    <a:pt x="943228" y="1798493"/>
                  </a:lnTo>
                  <a:lnTo>
                    <a:pt x="988383" y="1795154"/>
                  </a:lnTo>
                  <a:lnTo>
                    <a:pt x="1033129" y="1789561"/>
                  </a:lnTo>
                  <a:lnTo>
                    <a:pt x="1077387" y="1781755"/>
                  </a:lnTo>
                  <a:lnTo>
                    <a:pt x="1121079" y="1771776"/>
                  </a:lnTo>
                  <a:lnTo>
                    <a:pt x="1164127" y="1759663"/>
                  </a:lnTo>
                  <a:lnTo>
                    <a:pt x="1206452" y="1745456"/>
                  </a:lnTo>
                  <a:lnTo>
                    <a:pt x="1247976" y="1729196"/>
                  </a:lnTo>
                  <a:lnTo>
                    <a:pt x="1288620" y="1710922"/>
                  </a:lnTo>
                  <a:lnTo>
                    <a:pt x="1328308" y="1690674"/>
                  </a:lnTo>
                  <a:lnTo>
                    <a:pt x="1366959" y="1668493"/>
                  </a:lnTo>
                  <a:lnTo>
                    <a:pt x="1404496" y="1644418"/>
                  </a:lnTo>
                  <a:lnTo>
                    <a:pt x="1440840" y="1618489"/>
                  </a:lnTo>
                  <a:lnTo>
                    <a:pt x="1475913" y="1590746"/>
                  </a:lnTo>
                  <a:lnTo>
                    <a:pt x="1509638" y="1561230"/>
                  </a:lnTo>
                  <a:lnTo>
                    <a:pt x="1541934" y="1529979"/>
                  </a:lnTo>
                  <a:lnTo>
                    <a:pt x="1572725" y="1497034"/>
                  </a:lnTo>
                  <a:lnTo>
                    <a:pt x="1601931" y="1462435"/>
                  </a:lnTo>
                  <a:lnTo>
                    <a:pt x="1629476" y="1426222"/>
                  </a:lnTo>
                  <a:lnTo>
                    <a:pt x="1655279" y="1388435"/>
                  </a:lnTo>
                  <a:lnTo>
                    <a:pt x="1679263" y="1349114"/>
                  </a:lnTo>
                  <a:lnTo>
                    <a:pt x="1701349" y="1308299"/>
                  </a:lnTo>
                  <a:lnTo>
                    <a:pt x="1721460" y="1266029"/>
                  </a:lnTo>
                  <a:lnTo>
                    <a:pt x="1739517" y="1222345"/>
                  </a:lnTo>
                  <a:lnTo>
                    <a:pt x="1755441" y="1177287"/>
                  </a:lnTo>
                  <a:lnTo>
                    <a:pt x="1768993" y="1131459"/>
                  </a:lnTo>
                  <a:lnTo>
                    <a:pt x="1780013" y="1085492"/>
                  </a:lnTo>
                  <a:lnTo>
                    <a:pt x="1788539" y="1039465"/>
                  </a:lnTo>
                  <a:lnTo>
                    <a:pt x="1794612" y="993456"/>
                  </a:lnTo>
                  <a:lnTo>
                    <a:pt x="1798271" y="947543"/>
                  </a:lnTo>
                  <a:lnTo>
                    <a:pt x="1799558" y="901804"/>
                  </a:lnTo>
                  <a:lnTo>
                    <a:pt x="1798512" y="856318"/>
                  </a:lnTo>
                  <a:lnTo>
                    <a:pt x="1795172" y="811164"/>
                  </a:lnTo>
                  <a:lnTo>
                    <a:pt x="1789578" y="766419"/>
                  </a:lnTo>
                  <a:lnTo>
                    <a:pt x="1781772" y="722161"/>
                  </a:lnTo>
                  <a:lnTo>
                    <a:pt x="1771792" y="678470"/>
                  </a:lnTo>
                  <a:lnTo>
                    <a:pt x="1759678" y="635422"/>
                  </a:lnTo>
                  <a:lnTo>
                    <a:pt x="1745471" y="593098"/>
                  </a:lnTo>
                  <a:lnTo>
                    <a:pt x="1729211" y="551575"/>
                  </a:lnTo>
                  <a:lnTo>
                    <a:pt x="1710936" y="510930"/>
                  </a:lnTo>
                  <a:lnTo>
                    <a:pt x="1690689" y="471244"/>
                  </a:lnTo>
                  <a:lnTo>
                    <a:pt x="1668507" y="432593"/>
                  </a:lnTo>
                  <a:lnTo>
                    <a:pt x="1644432" y="395057"/>
                  </a:lnTo>
                  <a:lnTo>
                    <a:pt x="1618503" y="358713"/>
                  </a:lnTo>
                  <a:lnTo>
                    <a:pt x="1590760" y="323641"/>
                  </a:lnTo>
                  <a:lnTo>
                    <a:pt x="1561243" y="289917"/>
                  </a:lnTo>
                  <a:lnTo>
                    <a:pt x="1529992" y="257621"/>
                  </a:lnTo>
                  <a:lnTo>
                    <a:pt x="1497047" y="226831"/>
                  </a:lnTo>
                  <a:lnTo>
                    <a:pt x="1462448" y="197624"/>
                  </a:lnTo>
                  <a:lnTo>
                    <a:pt x="1426235" y="170081"/>
                  </a:lnTo>
                  <a:lnTo>
                    <a:pt x="1388448" y="144278"/>
                  </a:lnTo>
                  <a:lnTo>
                    <a:pt x="1349127" y="120294"/>
                  </a:lnTo>
                  <a:lnTo>
                    <a:pt x="1308311" y="98208"/>
                  </a:lnTo>
                  <a:lnTo>
                    <a:pt x="1266042" y="78097"/>
                  </a:lnTo>
                  <a:lnTo>
                    <a:pt x="1222358" y="60041"/>
                  </a:lnTo>
                  <a:lnTo>
                    <a:pt x="1177299" y="44116"/>
                  </a:lnTo>
                  <a:lnTo>
                    <a:pt x="1131471" y="30564"/>
                  </a:lnTo>
                  <a:lnTo>
                    <a:pt x="1085505" y="19545"/>
                  </a:lnTo>
                  <a:lnTo>
                    <a:pt x="1039478" y="11019"/>
                  </a:lnTo>
                  <a:lnTo>
                    <a:pt x="993469" y="4946"/>
                  </a:lnTo>
                  <a:lnTo>
                    <a:pt x="947555" y="1286"/>
                  </a:lnTo>
                  <a:lnTo>
                    <a:pt x="901817" y="0"/>
                  </a:lnTo>
                  <a:close/>
                </a:path>
              </a:pathLst>
            </a:custGeom>
            <a:solidFill>
              <a:srgbClr val="D1D3D4"/>
            </a:solidFill>
          </p:spPr>
          <p:txBody>
            <a:bodyPr wrap="square" lIns="0" tIns="0" rIns="0" bIns="0" rtlCol="0"/>
            <a:lstStyle/>
            <a:p>
              <a:endParaRPr sz="649"/>
            </a:p>
          </p:txBody>
        </p:sp>
        <p:sp>
          <p:nvSpPr>
            <p:cNvPr id="9" name="object 9"/>
            <p:cNvSpPr/>
            <p:nvPr/>
          </p:nvSpPr>
          <p:spPr>
            <a:xfrm>
              <a:off x="3928287" y="8003274"/>
              <a:ext cx="900430" cy="647700"/>
            </a:xfrm>
            <a:custGeom>
              <a:avLst/>
              <a:gdLst/>
              <a:ahLst/>
              <a:cxnLst/>
              <a:rect l="l" t="t" r="r" b="b"/>
              <a:pathLst>
                <a:path w="900429" h="647700">
                  <a:moveTo>
                    <a:pt x="157568" y="0"/>
                  </a:moveTo>
                  <a:lnTo>
                    <a:pt x="71500" y="17449"/>
                  </a:lnTo>
                  <a:lnTo>
                    <a:pt x="0" y="377774"/>
                  </a:lnTo>
                  <a:lnTo>
                    <a:pt x="444" y="433603"/>
                  </a:lnTo>
                  <a:lnTo>
                    <a:pt x="57124" y="462280"/>
                  </a:lnTo>
                  <a:lnTo>
                    <a:pt x="545528" y="647496"/>
                  </a:lnTo>
                  <a:lnTo>
                    <a:pt x="656361" y="623646"/>
                  </a:lnTo>
                  <a:lnTo>
                    <a:pt x="707999" y="642454"/>
                  </a:lnTo>
                  <a:lnTo>
                    <a:pt x="756907" y="631520"/>
                  </a:lnTo>
                  <a:lnTo>
                    <a:pt x="803757" y="595160"/>
                  </a:lnTo>
                  <a:lnTo>
                    <a:pt x="851001" y="532130"/>
                  </a:lnTo>
                  <a:lnTo>
                    <a:pt x="885634" y="444385"/>
                  </a:lnTo>
                  <a:lnTo>
                    <a:pt x="900302" y="341934"/>
                  </a:lnTo>
                  <a:lnTo>
                    <a:pt x="874890" y="267703"/>
                  </a:lnTo>
                  <a:lnTo>
                    <a:pt x="890638" y="219202"/>
                  </a:lnTo>
                  <a:lnTo>
                    <a:pt x="157568" y="0"/>
                  </a:lnTo>
                  <a:close/>
                </a:path>
              </a:pathLst>
            </a:custGeom>
            <a:solidFill>
              <a:srgbClr val="FFFFFF"/>
            </a:solidFill>
          </p:spPr>
          <p:txBody>
            <a:bodyPr wrap="square" lIns="0" tIns="0" rIns="0" bIns="0" rtlCol="0"/>
            <a:lstStyle/>
            <a:p>
              <a:endParaRPr sz="649"/>
            </a:p>
          </p:txBody>
        </p:sp>
        <p:sp>
          <p:nvSpPr>
            <p:cNvPr id="10" name="object 10"/>
            <p:cNvSpPr/>
            <p:nvPr/>
          </p:nvSpPr>
          <p:spPr>
            <a:xfrm>
              <a:off x="3857330" y="7937021"/>
              <a:ext cx="1606550" cy="462915"/>
            </a:xfrm>
            <a:custGeom>
              <a:avLst/>
              <a:gdLst/>
              <a:ahLst/>
              <a:cxnLst/>
              <a:rect l="l" t="t" r="r" b="b"/>
              <a:pathLst>
                <a:path w="1606550" h="462915">
                  <a:moveTo>
                    <a:pt x="0" y="0"/>
                  </a:moveTo>
                  <a:lnTo>
                    <a:pt x="40518" y="14496"/>
                  </a:lnTo>
                  <a:lnTo>
                    <a:pt x="104490" y="34974"/>
                  </a:lnTo>
                  <a:lnTo>
                    <a:pt x="144229" y="47183"/>
                  </a:lnTo>
                  <a:lnTo>
                    <a:pt x="188581" y="60559"/>
                  </a:lnTo>
                  <a:lnTo>
                    <a:pt x="237129" y="74992"/>
                  </a:lnTo>
                  <a:lnTo>
                    <a:pt x="289456" y="90373"/>
                  </a:lnTo>
                  <a:lnTo>
                    <a:pt x="345145" y="106592"/>
                  </a:lnTo>
                  <a:lnTo>
                    <a:pt x="403779" y="123540"/>
                  </a:lnTo>
                  <a:lnTo>
                    <a:pt x="464942" y="141108"/>
                  </a:lnTo>
                  <a:lnTo>
                    <a:pt x="528216" y="159185"/>
                  </a:lnTo>
                  <a:lnTo>
                    <a:pt x="593184" y="177662"/>
                  </a:lnTo>
                  <a:lnTo>
                    <a:pt x="659429" y="196430"/>
                  </a:lnTo>
                  <a:lnTo>
                    <a:pt x="726536" y="215378"/>
                  </a:lnTo>
                  <a:lnTo>
                    <a:pt x="794086" y="234399"/>
                  </a:lnTo>
                  <a:lnTo>
                    <a:pt x="861662" y="253381"/>
                  </a:lnTo>
                  <a:lnTo>
                    <a:pt x="928849" y="272216"/>
                  </a:lnTo>
                  <a:lnTo>
                    <a:pt x="995228" y="290793"/>
                  </a:lnTo>
                  <a:lnTo>
                    <a:pt x="1060383" y="309004"/>
                  </a:lnTo>
                  <a:lnTo>
                    <a:pt x="1123898" y="326738"/>
                  </a:lnTo>
                  <a:lnTo>
                    <a:pt x="1185354" y="343887"/>
                  </a:lnTo>
                  <a:lnTo>
                    <a:pt x="1244336" y="360341"/>
                  </a:lnTo>
                  <a:lnTo>
                    <a:pt x="1300426" y="375989"/>
                  </a:lnTo>
                  <a:lnTo>
                    <a:pt x="1353208" y="390724"/>
                  </a:lnTo>
                  <a:lnTo>
                    <a:pt x="1402264" y="404434"/>
                  </a:lnTo>
                  <a:lnTo>
                    <a:pt x="1447178" y="417011"/>
                  </a:lnTo>
                  <a:lnTo>
                    <a:pt x="1487532" y="428344"/>
                  </a:lnTo>
                  <a:lnTo>
                    <a:pt x="1552895" y="446845"/>
                  </a:lnTo>
                  <a:lnTo>
                    <a:pt x="1595017" y="459058"/>
                  </a:lnTo>
                  <a:lnTo>
                    <a:pt x="1606321" y="462533"/>
                  </a:lnTo>
                </a:path>
              </a:pathLst>
            </a:custGeom>
            <a:ln w="25400">
              <a:solidFill>
                <a:srgbClr val="231F20"/>
              </a:solidFill>
            </a:ln>
          </p:spPr>
          <p:txBody>
            <a:bodyPr wrap="square" lIns="0" tIns="0" rIns="0" bIns="0" rtlCol="0"/>
            <a:lstStyle/>
            <a:p>
              <a:endParaRPr sz="649"/>
            </a:p>
          </p:txBody>
        </p:sp>
        <p:sp>
          <p:nvSpPr>
            <p:cNvPr id="11" name="object 11"/>
            <p:cNvSpPr/>
            <p:nvPr/>
          </p:nvSpPr>
          <p:spPr>
            <a:xfrm>
              <a:off x="3926033" y="8010404"/>
              <a:ext cx="667385" cy="641985"/>
            </a:xfrm>
            <a:custGeom>
              <a:avLst/>
              <a:gdLst/>
              <a:ahLst/>
              <a:cxnLst/>
              <a:rect l="l" t="t" r="r" b="b"/>
              <a:pathLst>
                <a:path w="667385" h="641984">
                  <a:moveTo>
                    <a:pt x="165874" y="75"/>
                  </a:moveTo>
                  <a:lnTo>
                    <a:pt x="119208" y="0"/>
                  </a:lnTo>
                  <a:lnTo>
                    <a:pt x="81044" y="2682"/>
                  </a:lnTo>
                  <a:lnTo>
                    <a:pt x="55124" y="65916"/>
                  </a:lnTo>
                  <a:lnTo>
                    <a:pt x="43509" y="124281"/>
                  </a:lnTo>
                  <a:lnTo>
                    <a:pt x="31308" y="191332"/>
                  </a:lnTo>
                  <a:lnTo>
                    <a:pt x="19690" y="259210"/>
                  </a:lnTo>
                  <a:lnTo>
                    <a:pt x="9821" y="320056"/>
                  </a:lnTo>
                  <a:lnTo>
                    <a:pt x="2868" y="366010"/>
                  </a:lnTo>
                  <a:lnTo>
                    <a:pt x="0" y="389216"/>
                  </a:lnTo>
                  <a:lnTo>
                    <a:pt x="1450" y="406297"/>
                  </a:lnTo>
                  <a:lnTo>
                    <a:pt x="40716" y="445489"/>
                  </a:lnTo>
                  <a:lnTo>
                    <a:pt x="95516" y="468053"/>
                  </a:lnTo>
                  <a:lnTo>
                    <a:pt x="145146" y="487853"/>
                  </a:lnTo>
                  <a:lnTo>
                    <a:pt x="204268" y="511223"/>
                  </a:lnTo>
                  <a:lnTo>
                    <a:pt x="268889" y="536580"/>
                  </a:lnTo>
                  <a:lnTo>
                    <a:pt x="335014" y="562344"/>
                  </a:lnTo>
                  <a:lnTo>
                    <a:pt x="398648" y="586931"/>
                  </a:lnTo>
                  <a:lnTo>
                    <a:pt x="455797" y="608760"/>
                  </a:lnTo>
                  <a:lnTo>
                    <a:pt x="502466" y="626250"/>
                  </a:lnTo>
                  <a:lnTo>
                    <a:pt x="548385" y="641882"/>
                  </a:lnTo>
                  <a:lnTo>
                    <a:pt x="571786" y="638001"/>
                  </a:lnTo>
                  <a:lnTo>
                    <a:pt x="611974" y="630204"/>
                  </a:lnTo>
                  <a:lnTo>
                    <a:pt x="649991" y="622551"/>
                  </a:lnTo>
                  <a:lnTo>
                    <a:pt x="666876" y="619098"/>
                  </a:lnTo>
                </a:path>
              </a:pathLst>
            </a:custGeom>
            <a:ln w="25399">
              <a:solidFill>
                <a:srgbClr val="231F20"/>
              </a:solidFill>
            </a:ln>
          </p:spPr>
          <p:txBody>
            <a:bodyPr wrap="square" lIns="0" tIns="0" rIns="0" bIns="0" rtlCol="0"/>
            <a:lstStyle/>
            <a:p>
              <a:endParaRPr sz="649"/>
            </a:p>
          </p:txBody>
        </p:sp>
        <p:sp>
          <p:nvSpPr>
            <p:cNvPr id="12" name="object 12"/>
            <p:cNvSpPr/>
            <p:nvPr/>
          </p:nvSpPr>
          <p:spPr>
            <a:xfrm>
              <a:off x="4534215" y="8223719"/>
              <a:ext cx="288925" cy="419100"/>
            </a:xfrm>
            <a:custGeom>
              <a:avLst/>
              <a:gdLst/>
              <a:ahLst/>
              <a:cxnLst/>
              <a:rect l="l" t="t" r="r" b="b"/>
              <a:pathLst>
                <a:path w="288925" h="419100">
                  <a:moveTo>
                    <a:pt x="54556" y="404633"/>
                  </a:moveTo>
                  <a:lnTo>
                    <a:pt x="29271" y="387376"/>
                  </a:lnTo>
                  <a:lnTo>
                    <a:pt x="11547" y="358066"/>
                  </a:lnTo>
                  <a:lnTo>
                    <a:pt x="1687" y="318981"/>
                  </a:lnTo>
                  <a:lnTo>
                    <a:pt x="0" y="272395"/>
                  </a:lnTo>
                  <a:lnTo>
                    <a:pt x="6789" y="220588"/>
                  </a:lnTo>
                  <a:lnTo>
                    <a:pt x="22361" y="165834"/>
                  </a:lnTo>
                  <a:lnTo>
                    <a:pt x="45420" y="113792"/>
                  </a:lnTo>
                  <a:lnTo>
                    <a:pt x="73346" y="69636"/>
                  </a:lnTo>
                  <a:lnTo>
                    <a:pt x="104448" y="34917"/>
                  </a:lnTo>
                  <a:lnTo>
                    <a:pt x="137031" y="11187"/>
                  </a:lnTo>
                  <a:lnTo>
                    <a:pt x="169403" y="0"/>
                  </a:lnTo>
                  <a:lnTo>
                    <a:pt x="199869" y="2906"/>
                  </a:lnTo>
                  <a:lnTo>
                    <a:pt x="259631" y="31339"/>
                  </a:lnTo>
                  <a:lnTo>
                    <a:pt x="287218" y="99734"/>
                  </a:lnTo>
                  <a:lnTo>
                    <a:pt x="288909" y="146319"/>
                  </a:lnTo>
                  <a:lnTo>
                    <a:pt x="282120" y="198127"/>
                  </a:lnTo>
                  <a:lnTo>
                    <a:pt x="266544" y="252880"/>
                  </a:lnTo>
                  <a:lnTo>
                    <a:pt x="243482" y="304923"/>
                  </a:lnTo>
                  <a:lnTo>
                    <a:pt x="215553" y="349082"/>
                  </a:lnTo>
                  <a:lnTo>
                    <a:pt x="184451" y="383803"/>
                  </a:lnTo>
                  <a:lnTo>
                    <a:pt x="151868" y="407533"/>
                  </a:lnTo>
                  <a:lnTo>
                    <a:pt x="119495" y="418720"/>
                  </a:lnTo>
                  <a:lnTo>
                    <a:pt x="89024" y="415809"/>
                  </a:lnTo>
                  <a:lnTo>
                    <a:pt x="54556" y="404633"/>
                  </a:lnTo>
                  <a:close/>
                </a:path>
              </a:pathLst>
            </a:custGeom>
            <a:ln w="25400">
              <a:solidFill>
                <a:srgbClr val="231F20"/>
              </a:solidFill>
            </a:ln>
          </p:spPr>
          <p:txBody>
            <a:bodyPr wrap="square" lIns="0" tIns="0" rIns="0" bIns="0" rtlCol="0"/>
            <a:lstStyle/>
            <a:p>
              <a:endParaRPr sz="649"/>
            </a:p>
          </p:txBody>
        </p:sp>
        <p:sp>
          <p:nvSpPr>
            <p:cNvPr id="13" name="object 13"/>
            <p:cNvSpPr/>
            <p:nvPr/>
          </p:nvSpPr>
          <p:spPr>
            <a:xfrm>
              <a:off x="4570112" y="8241373"/>
              <a:ext cx="198755" cy="393065"/>
            </a:xfrm>
            <a:custGeom>
              <a:avLst/>
              <a:gdLst/>
              <a:ahLst/>
              <a:cxnLst/>
              <a:rect l="l" t="t" r="r" b="b"/>
              <a:pathLst>
                <a:path w="198754" h="393065">
                  <a:moveTo>
                    <a:pt x="57415" y="392647"/>
                  </a:moveTo>
                  <a:lnTo>
                    <a:pt x="31516" y="375412"/>
                  </a:lnTo>
                  <a:lnTo>
                    <a:pt x="13082" y="346551"/>
                  </a:lnTo>
                  <a:lnTo>
                    <a:pt x="2460" y="308288"/>
                  </a:lnTo>
                  <a:lnTo>
                    <a:pt x="0" y="262847"/>
                  </a:lnTo>
                  <a:lnTo>
                    <a:pt x="6048" y="212450"/>
                  </a:lnTo>
                  <a:lnTo>
                    <a:pt x="20953" y="159322"/>
                  </a:lnTo>
                  <a:lnTo>
                    <a:pt x="43485" y="108951"/>
                  </a:lnTo>
                  <a:lnTo>
                    <a:pt x="71078" y="66346"/>
                  </a:lnTo>
                  <a:lnTo>
                    <a:pt x="102043" y="32995"/>
                  </a:lnTo>
                  <a:lnTo>
                    <a:pt x="134688" y="10384"/>
                  </a:lnTo>
                  <a:lnTo>
                    <a:pt x="167323" y="0"/>
                  </a:lnTo>
                  <a:lnTo>
                    <a:pt x="198258" y="3328"/>
                  </a:lnTo>
                </a:path>
              </a:pathLst>
            </a:custGeom>
            <a:ln w="7620">
              <a:solidFill>
                <a:srgbClr val="231F20"/>
              </a:solidFill>
            </a:ln>
          </p:spPr>
          <p:txBody>
            <a:bodyPr wrap="square" lIns="0" tIns="0" rIns="0" bIns="0" rtlCol="0"/>
            <a:lstStyle/>
            <a:p>
              <a:endParaRPr sz="649"/>
            </a:p>
          </p:txBody>
        </p:sp>
        <p:pic>
          <p:nvPicPr>
            <p:cNvPr id="14" name="object 14"/>
            <p:cNvPicPr/>
            <p:nvPr/>
          </p:nvPicPr>
          <p:blipFill>
            <a:blip r:embed="rId5" cstate="print"/>
            <a:stretch>
              <a:fillRect/>
            </a:stretch>
          </p:blipFill>
          <p:spPr>
            <a:xfrm>
              <a:off x="4631007" y="8333661"/>
              <a:ext cx="146078" cy="218490"/>
            </a:xfrm>
            <a:prstGeom prst="rect">
              <a:avLst/>
            </a:prstGeom>
          </p:spPr>
        </p:pic>
        <p:sp>
          <p:nvSpPr>
            <p:cNvPr id="15" name="object 15"/>
            <p:cNvSpPr/>
            <p:nvPr/>
          </p:nvSpPr>
          <p:spPr>
            <a:xfrm>
              <a:off x="4833964" y="8434338"/>
              <a:ext cx="332105" cy="372110"/>
            </a:xfrm>
            <a:custGeom>
              <a:avLst/>
              <a:gdLst/>
              <a:ahLst/>
              <a:cxnLst/>
              <a:rect l="l" t="t" r="r" b="b"/>
              <a:pathLst>
                <a:path w="332104" h="372109">
                  <a:moveTo>
                    <a:pt x="94373" y="0"/>
                  </a:moveTo>
                  <a:lnTo>
                    <a:pt x="55333" y="15405"/>
                  </a:lnTo>
                  <a:lnTo>
                    <a:pt x="14452" y="73113"/>
                  </a:lnTo>
                  <a:lnTo>
                    <a:pt x="0" y="152603"/>
                  </a:lnTo>
                  <a:lnTo>
                    <a:pt x="26441" y="188683"/>
                  </a:lnTo>
                  <a:lnTo>
                    <a:pt x="10845" y="200545"/>
                  </a:lnTo>
                  <a:lnTo>
                    <a:pt x="4825" y="343611"/>
                  </a:lnTo>
                  <a:lnTo>
                    <a:pt x="46608" y="361619"/>
                  </a:lnTo>
                  <a:lnTo>
                    <a:pt x="117208" y="371487"/>
                  </a:lnTo>
                  <a:lnTo>
                    <a:pt x="237223" y="264922"/>
                  </a:lnTo>
                  <a:lnTo>
                    <a:pt x="275755" y="265684"/>
                  </a:lnTo>
                  <a:lnTo>
                    <a:pt x="302640" y="228473"/>
                  </a:lnTo>
                  <a:lnTo>
                    <a:pt x="324662" y="165404"/>
                  </a:lnTo>
                  <a:lnTo>
                    <a:pt x="331876" y="118503"/>
                  </a:lnTo>
                  <a:lnTo>
                    <a:pt x="312153" y="80289"/>
                  </a:lnTo>
                  <a:lnTo>
                    <a:pt x="94373" y="0"/>
                  </a:lnTo>
                  <a:close/>
                </a:path>
              </a:pathLst>
            </a:custGeom>
            <a:solidFill>
              <a:srgbClr val="FFFFFF"/>
            </a:solidFill>
          </p:spPr>
          <p:txBody>
            <a:bodyPr wrap="square" lIns="0" tIns="0" rIns="0" bIns="0" rtlCol="0"/>
            <a:lstStyle/>
            <a:p>
              <a:endParaRPr sz="649"/>
            </a:p>
          </p:txBody>
        </p:sp>
        <p:pic>
          <p:nvPicPr>
            <p:cNvPr id="16" name="object 16"/>
            <p:cNvPicPr/>
            <p:nvPr/>
          </p:nvPicPr>
          <p:blipFill>
            <a:blip r:embed="rId6" cstate="print"/>
            <a:stretch>
              <a:fillRect/>
            </a:stretch>
          </p:blipFill>
          <p:spPr>
            <a:xfrm>
              <a:off x="4942014" y="8505492"/>
              <a:ext cx="200014" cy="174830"/>
            </a:xfrm>
            <a:prstGeom prst="rect">
              <a:avLst/>
            </a:prstGeom>
          </p:spPr>
        </p:pic>
        <p:sp>
          <p:nvSpPr>
            <p:cNvPr id="17" name="object 17"/>
            <p:cNvSpPr/>
            <p:nvPr/>
          </p:nvSpPr>
          <p:spPr>
            <a:xfrm>
              <a:off x="4838670" y="8436269"/>
              <a:ext cx="325120" cy="375285"/>
            </a:xfrm>
            <a:custGeom>
              <a:avLst/>
              <a:gdLst/>
              <a:ahLst/>
              <a:cxnLst/>
              <a:rect l="l" t="t" r="r" b="b"/>
              <a:pathLst>
                <a:path w="325120" h="375284">
                  <a:moveTo>
                    <a:pt x="129971" y="97663"/>
                  </a:moveTo>
                  <a:lnTo>
                    <a:pt x="56632" y="152305"/>
                  </a:lnTo>
                  <a:lnTo>
                    <a:pt x="18986" y="181425"/>
                  </a:lnTo>
                  <a:lnTo>
                    <a:pt x="2807" y="228620"/>
                  </a:lnTo>
                  <a:lnTo>
                    <a:pt x="1682" y="276186"/>
                  </a:lnTo>
                  <a:lnTo>
                    <a:pt x="529" y="321791"/>
                  </a:lnTo>
                  <a:lnTo>
                    <a:pt x="0" y="342163"/>
                  </a:lnTo>
                  <a:lnTo>
                    <a:pt x="56973" y="362483"/>
                  </a:lnTo>
                  <a:lnTo>
                    <a:pt x="86885" y="372471"/>
                  </a:lnTo>
                  <a:lnTo>
                    <a:pt x="99564" y="375021"/>
                  </a:lnTo>
                  <a:lnTo>
                    <a:pt x="104838" y="373024"/>
                  </a:lnTo>
                  <a:lnTo>
                    <a:pt x="127949" y="354768"/>
                  </a:lnTo>
                  <a:lnTo>
                    <a:pt x="172489" y="318916"/>
                  </a:lnTo>
                  <a:lnTo>
                    <a:pt x="215818" y="283891"/>
                  </a:lnTo>
                  <a:lnTo>
                    <a:pt x="235292" y="268122"/>
                  </a:lnTo>
                  <a:lnTo>
                    <a:pt x="257190" y="266671"/>
                  </a:lnTo>
                  <a:lnTo>
                    <a:pt x="279782" y="250812"/>
                  </a:lnTo>
                  <a:lnTo>
                    <a:pt x="300452" y="223170"/>
                  </a:lnTo>
                  <a:lnTo>
                    <a:pt x="316585" y="186372"/>
                  </a:lnTo>
                  <a:lnTo>
                    <a:pt x="324877" y="147063"/>
                  </a:lnTo>
                  <a:lnTo>
                    <a:pt x="324148" y="112556"/>
                  </a:lnTo>
                  <a:lnTo>
                    <a:pt x="314999" y="86513"/>
                  </a:lnTo>
                  <a:lnTo>
                    <a:pt x="298030" y="72593"/>
                  </a:lnTo>
                  <a:lnTo>
                    <a:pt x="92900" y="0"/>
                  </a:lnTo>
                  <a:lnTo>
                    <a:pt x="70567" y="1309"/>
                  </a:lnTo>
                  <a:lnTo>
                    <a:pt x="26720" y="44618"/>
                  </a:lnTo>
                  <a:lnTo>
                    <a:pt x="10502" y="81381"/>
                  </a:lnTo>
                  <a:lnTo>
                    <a:pt x="1255" y="144791"/>
                  </a:lnTo>
                  <a:lnTo>
                    <a:pt x="6007" y="169740"/>
                  </a:lnTo>
                  <a:lnTo>
                    <a:pt x="16878" y="187464"/>
                  </a:lnTo>
                </a:path>
              </a:pathLst>
            </a:custGeom>
            <a:ln w="25400">
              <a:solidFill>
                <a:srgbClr val="231F20"/>
              </a:solidFill>
            </a:ln>
          </p:spPr>
          <p:txBody>
            <a:bodyPr wrap="square" lIns="0" tIns="0" rIns="0" bIns="0" rtlCol="0"/>
            <a:lstStyle/>
            <a:p>
              <a:endParaRPr sz="649"/>
            </a:p>
          </p:txBody>
        </p:sp>
        <p:sp>
          <p:nvSpPr>
            <p:cNvPr id="18" name="object 18"/>
            <p:cNvSpPr/>
            <p:nvPr/>
          </p:nvSpPr>
          <p:spPr>
            <a:xfrm>
              <a:off x="4841928" y="8638634"/>
              <a:ext cx="102870" cy="170815"/>
            </a:xfrm>
            <a:custGeom>
              <a:avLst/>
              <a:gdLst/>
              <a:ahLst/>
              <a:cxnLst/>
              <a:rect l="l" t="t" r="r" b="b"/>
              <a:pathLst>
                <a:path w="102870" h="170815">
                  <a:moveTo>
                    <a:pt x="0" y="0"/>
                  </a:moveTo>
                  <a:lnTo>
                    <a:pt x="102514" y="35394"/>
                  </a:lnTo>
                  <a:lnTo>
                    <a:pt x="101587" y="170662"/>
                  </a:lnTo>
                </a:path>
              </a:pathLst>
            </a:custGeom>
            <a:ln w="7619">
              <a:solidFill>
                <a:srgbClr val="231F20"/>
              </a:solidFill>
            </a:ln>
          </p:spPr>
          <p:txBody>
            <a:bodyPr wrap="square" lIns="0" tIns="0" rIns="0" bIns="0" rtlCol="0"/>
            <a:lstStyle/>
            <a:p>
              <a:endParaRPr sz="649"/>
            </a:p>
          </p:txBody>
        </p:sp>
        <p:sp>
          <p:nvSpPr>
            <p:cNvPr id="19" name="object 19"/>
            <p:cNvSpPr/>
            <p:nvPr/>
          </p:nvSpPr>
          <p:spPr>
            <a:xfrm>
              <a:off x="4153344" y="8727670"/>
              <a:ext cx="738505" cy="516255"/>
            </a:xfrm>
            <a:custGeom>
              <a:avLst/>
              <a:gdLst/>
              <a:ahLst/>
              <a:cxnLst/>
              <a:rect l="l" t="t" r="r" b="b"/>
              <a:pathLst>
                <a:path w="738504" h="516254">
                  <a:moveTo>
                    <a:pt x="738428" y="0"/>
                  </a:moveTo>
                  <a:lnTo>
                    <a:pt x="706781" y="28452"/>
                  </a:lnTo>
                  <a:lnTo>
                    <a:pt x="676737" y="58718"/>
                  </a:lnTo>
                  <a:lnTo>
                    <a:pt x="646839" y="89957"/>
                  </a:lnTo>
                  <a:lnTo>
                    <a:pt x="615631" y="121333"/>
                  </a:lnTo>
                  <a:lnTo>
                    <a:pt x="581653" y="152007"/>
                  </a:lnTo>
                  <a:lnTo>
                    <a:pt x="543450" y="181140"/>
                  </a:lnTo>
                  <a:lnTo>
                    <a:pt x="499564" y="207894"/>
                  </a:lnTo>
                  <a:lnTo>
                    <a:pt x="448537" y="231432"/>
                  </a:lnTo>
                  <a:lnTo>
                    <a:pt x="388912" y="250913"/>
                  </a:lnTo>
                  <a:lnTo>
                    <a:pt x="246630" y="314023"/>
                  </a:lnTo>
                  <a:lnTo>
                    <a:pt x="121999" y="402655"/>
                  </a:lnTo>
                  <a:lnTo>
                    <a:pt x="33596" y="481630"/>
                  </a:lnTo>
                  <a:lnTo>
                    <a:pt x="0" y="515772"/>
                  </a:lnTo>
                </a:path>
              </a:pathLst>
            </a:custGeom>
            <a:ln w="63500">
              <a:solidFill>
                <a:srgbClr val="231F20"/>
              </a:solidFill>
            </a:ln>
          </p:spPr>
          <p:txBody>
            <a:bodyPr wrap="square" lIns="0" tIns="0" rIns="0" bIns="0" rtlCol="0"/>
            <a:lstStyle/>
            <a:p>
              <a:endParaRPr sz="649"/>
            </a:p>
          </p:txBody>
        </p:sp>
        <p:pic>
          <p:nvPicPr>
            <p:cNvPr id="20" name="object 20"/>
            <p:cNvPicPr/>
            <p:nvPr/>
          </p:nvPicPr>
          <p:blipFill>
            <a:blip r:embed="rId7" cstate="print"/>
            <a:stretch>
              <a:fillRect/>
            </a:stretch>
          </p:blipFill>
          <p:spPr>
            <a:xfrm>
              <a:off x="4933158" y="8598389"/>
              <a:ext cx="81672" cy="190199"/>
            </a:xfrm>
            <a:prstGeom prst="rect">
              <a:avLst/>
            </a:prstGeom>
          </p:spPr>
        </p:pic>
        <p:sp>
          <p:nvSpPr>
            <p:cNvPr id="21" name="object 21"/>
            <p:cNvSpPr/>
            <p:nvPr/>
          </p:nvSpPr>
          <p:spPr>
            <a:xfrm>
              <a:off x="4804261" y="8223000"/>
              <a:ext cx="8255" cy="30480"/>
            </a:xfrm>
            <a:custGeom>
              <a:avLst/>
              <a:gdLst/>
              <a:ahLst/>
              <a:cxnLst/>
              <a:rect l="l" t="t" r="r" b="b"/>
              <a:pathLst>
                <a:path w="8254" h="30479">
                  <a:moveTo>
                    <a:pt x="0" y="30429"/>
                  </a:moveTo>
                  <a:lnTo>
                    <a:pt x="8128" y="0"/>
                  </a:lnTo>
                </a:path>
              </a:pathLst>
            </a:custGeom>
            <a:ln w="25400">
              <a:solidFill>
                <a:srgbClr val="231F20"/>
              </a:solidFill>
            </a:ln>
          </p:spPr>
          <p:txBody>
            <a:bodyPr wrap="square" lIns="0" tIns="0" rIns="0" bIns="0" rtlCol="0"/>
            <a:lstStyle/>
            <a:p>
              <a:endParaRPr sz="649"/>
            </a:p>
          </p:txBody>
        </p:sp>
        <p:sp>
          <p:nvSpPr>
            <p:cNvPr id="22" name="object 22"/>
            <p:cNvSpPr/>
            <p:nvPr/>
          </p:nvSpPr>
          <p:spPr>
            <a:xfrm>
              <a:off x="3677804" y="7569643"/>
              <a:ext cx="1799589" cy="1799589"/>
            </a:xfrm>
            <a:custGeom>
              <a:avLst/>
              <a:gdLst/>
              <a:ahLst/>
              <a:cxnLst/>
              <a:rect l="l" t="t" r="r" b="b"/>
              <a:pathLst>
                <a:path w="1799589" h="1799590">
                  <a:moveTo>
                    <a:pt x="1755441" y="1177287"/>
                  </a:moveTo>
                  <a:lnTo>
                    <a:pt x="1739517" y="1222345"/>
                  </a:lnTo>
                  <a:lnTo>
                    <a:pt x="1721460" y="1266029"/>
                  </a:lnTo>
                  <a:lnTo>
                    <a:pt x="1701349" y="1308299"/>
                  </a:lnTo>
                  <a:lnTo>
                    <a:pt x="1679263" y="1349114"/>
                  </a:lnTo>
                  <a:lnTo>
                    <a:pt x="1655279" y="1388435"/>
                  </a:lnTo>
                  <a:lnTo>
                    <a:pt x="1629476" y="1426222"/>
                  </a:lnTo>
                  <a:lnTo>
                    <a:pt x="1601931" y="1462435"/>
                  </a:lnTo>
                  <a:lnTo>
                    <a:pt x="1572725" y="1497034"/>
                  </a:lnTo>
                  <a:lnTo>
                    <a:pt x="1541934" y="1529979"/>
                  </a:lnTo>
                  <a:lnTo>
                    <a:pt x="1509638" y="1561230"/>
                  </a:lnTo>
                  <a:lnTo>
                    <a:pt x="1475913" y="1590746"/>
                  </a:lnTo>
                  <a:lnTo>
                    <a:pt x="1440840" y="1618489"/>
                  </a:lnTo>
                  <a:lnTo>
                    <a:pt x="1404496" y="1644418"/>
                  </a:lnTo>
                  <a:lnTo>
                    <a:pt x="1366959" y="1668493"/>
                  </a:lnTo>
                  <a:lnTo>
                    <a:pt x="1328308" y="1690674"/>
                  </a:lnTo>
                  <a:lnTo>
                    <a:pt x="1288620" y="1710922"/>
                  </a:lnTo>
                  <a:lnTo>
                    <a:pt x="1247976" y="1729196"/>
                  </a:lnTo>
                  <a:lnTo>
                    <a:pt x="1206452" y="1745456"/>
                  </a:lnTo>
                  <a:lnTo>
                    <a:pt x="1164127" y="1759663"/>
                  </a:lnTo>
                  <a:lnTo>
                    <a:pt x="1121079" y="1771776"/>
                  </a:lnTo>
                  <a:lnTo>
                    <a:pt x="1077387" y="1781755"/>
                  </a:lnTo>
                  <a:lnTo>
                    <a:pt x="1033129" y="1789561"/>
                  </a:lnTo>
                  <a:lnTo>
                    <a:pt x="988383" y="1795154"/>
                  </a:lnTo>
                  <a:lnTo>
                    <a:pt x="943228" y="1798493"/>
                  </a:lnTo>
                  <a:lnTo>
                    <a:pt x="897742" y="1799539"/>
                  </a:lnTo>
                  <a:lnTo>
                    <a:pt x="852003" y="1798251"/>
                  </a:lnTo>
                  <a:lnTo>
                    <a:pt x="806090" y="1794591"/>
                  </a:lnTo>
                  <a:lnTo>
                    <a:pt x="760080" y="1788517"/>
                  </a:lnTo>
                  <a:lnTo>
                    <a:pt x="714053" y="1779989"/>
                  </a:lnTo>
                  <a:lnTo>
                    <a:pt x="668086" y="1768969"/>
                  </a:lnTo>
                  <a:lnTo>
                    <a:pt x="622258" y="1755416"/>
                  </a:lnTo>
                  <a:lnTo>
                    <a:pt x="577200" y="1739493"/>
                  </a:lnTo>
                  <a:lnTo>
                    <a:pt x="533516" y="1721437"/>
                  </a:lnTo>
                  <a:lnTo>
                    <a:pt x="491246" y="1701328"/>
                  </a:lnTo>
                  <a:lnTo>
                    <a:pt x="450431" y="1679242"/>
                  </a:lnTo>
                  <a:lnTo>
                    <a:pt x="411109" y="1655259"/>
                  </a:lnTo>
                  <a:lnTo>
                    <a:pt x="373322" y="1629457"/>
                  </a:lnTo>
                  <a:lnTo>
                    <a:pt x="337109" y="1601915"/>
                  </a:lnTo>
                  <a:lnTo>
                    <a:pt x="302511" y="1572709"/>
                  </a:lnTo>
                  <a:lnTo>
                    <a:pt x="269566" y="1541920"/>
                  </a:lnTo>
                  <a:lnTo>
                    <a:pt x="238315" y="1509624"/>
                  </a:lnTo>
                  <a:lnTo>
                    <a:pt x="208798" y="1475901"/>
                  </a:lnTo>
                  <a:lnTo>
                    <a:pt x="181055" y="1440829"/>
                  </a:lnTo>
                  <a:lnTo>
                    <a:pt x="155126" y="1404485"/>
                  </a:lnTo>
                  <a:lnTo>
                    <a:pt x="131051" y="1366949"/>
                  </a:lnTo>
                  <a:lnTo>
                    <a:pt x="108869" y="1328299"/>
                  </a:lnTo>
                  <a:lnTo>
                    <a:pt x="88621" y="1288613"/>
                  </a:lnTo>
                  <a:lnTo>
                    <a:pt x="70347" y="1247969"/>
                  </a:lnTo>
                  <a:lnTo>
                    <a:pt x="54086" y="1206446"/>
                  </a:lnTo>
                  <a:lnTo>
                    <a:pt x="39879" y="1164122"/>
                  </a:lnTo>
                  <a:lnTo>
                    <a:pt x="27766" y="1121075"/>
                  </a:lnTo>
                  <a:lnTo>
                    <a:pt x="17786" y="1077383"/>
                  </a:lnTo>
                  <a:lnTo>
                    <a:pt x="9979" y="1033126"/>
                  </a:lnTo>
                  <a:lnTo>
                    <a:pt x="4386" y="988381"/>
                  </a:lnTo>
                  <a:lnTo>
                    <a:pt x="1046" y="943226"/>
                  </a:lnTo>
                  <a:lnTo>
                    <a:pt x="0" y="897741"/>
                  </a:lnTo>
                  <a:lnTo>
                    <a:pt x="1286" y="852002"/>
                  </a:lnTo>
                  <a:lnTo>
                    <a:pt x="4946" y="806089"/>
                  </a:lnTo>
                  <a:lnTo>
                    <a:pt x="11019" y="760080"/>
                  </a:lnTo>
                  <a:lnTo>
                    <a:pt x="19545" y="714053"/>
                  </a:lnTo>
                  <a:lnTo>
                    <a:pt x="30564" y="668086"/>
                  </a:lnTo>
                  <a:lnTo>
                    <a:pt x="44116" y="622258"/>
                  </a:lnTo>
                  <a:lnTo>
                    <a:pt x="60042" y="577200"/>
                  </a:lnTo>
                  <a:lnTo>
                    <a:pt x="78099" y="533516"/>
                  </a:lnTo>
                  <a:lnTo>
                    <a:pt x="98211" y="491246"/>
                  </a:lnTo>
                  <a:lnTo>
                    <a:pt x="120298" y="450431"/>
                  </a:lnTo>
                  <a:lnTo>
                    <a:pt x="144283" y="411109"/>
                  </a:lnTo>
                  <a:lnTo>
                    <a:pt x="170087" y="373322"/>
                  </a:lnTo>
                  <a:lnTo>
                    <a:pt x="197631" y="337109"/>
                  </a:lnTo>
                  <a:lnTo>
                    <a:pt x="226838" y="302511"/>
                  </a:lnTo>
                  <a:lnTo>
                    <a:pt x="257629" y="269566"/>
                  </a:lnTo>
                  <a:lnTo>
                    <a:pt x="289926" y="238315"/>
                  </a:lnTo>
                  <a:lnTo>
                    <a:pt x="323650" y="208798"/>
                  </a:lnTo>
                  <a:lnTo>
                    <a:pt x="358723" y="181055"/>
                  </a:lnTo>
                  <a:lnTo>
                    <a:pt x="395067" y="155126"/>
                  </a:lnTo>
                  <a:lnTo>
                    <a:pt x="432604" y="131051"/>
                  </a:lnTo>
                  <a:lnTo>
                    <a:pt x="471255" y="108869"/>
                  </a:lnTo>
                  <a:lnTo>
                    <a:pt x="510942" y="88621"/>
                  </a:lnTo>
                  <a:lnTo>
                    <a:pt x="551586" y="70347"/>
                  </a:lnTo>
                  <a:lnTo>
                    <a:pt x="593110" y="54086"/>
                  </a:lnTo>
                  <a:lnTo>
                    <a:pt x="635434" y="39879"/>
                  </a:lnTo>
                  <a:lnTo>
                    <a:pt x="678482" y="27766"/>
                  </a:lnTo>
                  <a:lnTo>
                    <a:pt x="722173" y="17786"/>
                  </a:lnTo>
                  <a:lnTo>
                    <a:pt x="766431" y="9979"/>
                  </a:lnTo>
                  <a:lnTo>
                    <a:pt x="811176" y="4386"/>
                  </a:lnTo>
                  <a:lnTo>
                    <a:pt x="856331" y="1046"/>
                  </a:lnTo>
                  <a:lnTo>
                    <a:pt x="901817" y="0"/>
                  </a:lnTo>
                  <a:lnTo>
                    <a:pt x="947555" y="1286"/>
                  </a:lnTo>
                  <a:lnTo>
                    <a:pt x="993469" y="4946"/>
                  </a:lnTo>
                  <a:lnTo>
                    <a:pt x="1039478" y="11019"/>
                  </a:lnTo>
                  <a:lnTo>
                    <a:pt x="1085505" y="19545"/>
                  </a:lnTo>
                  <a:lnTo>
                    <a:pt x="1131471" y="30564"/>
                  </a:lnTo>
                  <a:lnTo>
                    <a:pt x="1177299" y="44116"/>
                  </a:lnTo>
                  <a:lnTo>
                    <a:pt x="1222358" y="60041"/>
                  </a:lnTo>
                  <a:lnTo>
                    <a:pt x="1266042" y="78097"/>
                  </a:lnTo>
                  <a:lnTo>
                    <a:pt x="1308311" y="98208"/>
                  </a:lnTo>
                  <a:lnTo>
                    <a:pt x="1349127" y="120294"/>
                  </a:lnTo>
                  <a:lnTo>
                    <a:pt x="1388448" y="144278"/>
                  </a:lnTo>
                  <a:lnTo>
                    <a:pt x="1426235" y="170081"/>
                  </a:lnTo>
                  <a:lnTo>
                    <a:pt x="1462448" y="197624"/>
                  </a:lnTo>
                  <a:lnTo>
                    <a:pt x="1497047" y="226831"/>
                  </a:lnTo>
                  <a:lnTo>
                    <a:pt x="1529992" y="257621"/>
                  </a:lnTo>
                  <a:lnTo>
                    <a:pt x="1561243" y="289917"/>
                  </a:lnTo>
                  <a:lnTo>
                    <a:pt x="1590760" y="323641"/>
                  </a:lnTo>
                  <a:lnTo>
                    <a:pt x="1618503" y="358713"/>
                  </a:lnTo>
                  <a:lnTo>
                    <a:pt x="1644432" y="395057"/>
                  </a:lnTo>
                  <a:lnTo>
                    <a:pt x="1668507" y="432593"/>
                  </a:lnTo>
                  <a:lnTo>
                    <a:pt x="1690689" y="471244"/>
                  </a:lnTo>
                  <a:lnTo>
                    <a:pt x="1710936" y="510930"/>
                  </a:lnTo>
                  <a:lnTo>
                    <a:pt x="1729211" y="551575"/>
                  </a:lnTo>
                  <a:lnTo>
                    <a:pt x="1745471" y="593098"/>
                  </a:lnTo>
                  <a:lnTo>
                    <a:pt x="1759678" y="635422"/>
                  </a:lnTo>
                  <a:lnTo>
                    <a:pt x="1771792" y="678470"/>
                  </a:lnTo>
                  <a:lnTo>
                    <a:pt x="1781772" y="722161"/>
                  </a:lnTo>
                  <a:lnTo>
                    <a:pt x="1789578" y="766419"/>
                  </a:lnTo>
                  <a:lnTo>
                    <a:pt x="1795172" y="811164"/>
                  </a:lnTo>
                  <a:lnTo>
                    <a:pt x="1798512" y="856318"/>
                  </a:lnTo>
                  <a:lnTo>
                    <a:pt x="1799558" y="901804"/>
                  </a:lnTo>
                  <a:lnTo>
                    <a:pt x="1798271" y="947543"/>
                  </a:lnTo>
                  <a:lnTo>
                    <a:pt x="1794612" y="993456"/>
                  </a:lnTo>
                  <a:lnTo>
                    <a:pt x="1788539" y="1039465"/>
                  </a:lnTo>
                  <a:lnTo>
                    <a:pt x="1780013" y="1085492"/>
                  </a:lnTo>
                  <a:lnTo>
                    <a:pt x="1768993" y="1131459"/>
                  </a:lnTo>
                  <a:lnTo>
                    <a:pt x="1755441" y="1177287"/>
                  </a:lnTo>
                  <a:close/>
                </a:path>
              </a:pathLst>
            </a:custGeom>
            <a:ln w="25400">
              <a:solidFill>
                <a:srgbClr val="E3873E"/>
              </a:solidFill>
              <a:prstDash val="sysDash"/>
            </a:ln>
          </p:spPr>
          <p:txBody>
            <a:bodyPr wrap="square" lIns="0" tIns="0" rIns="0" bIns="0" rtlCol="0"/>
            <a:lstStyle/>
            <a:p>
              <a:endParaRPr sz="649"/>
            </a:p>
          </p:txBody>
        </p:sp>
        <p:pic>
          <p:nvPicPr>
            <p:cNvPr id="23" name="object 23"/>
            <p:cNvPicPr/>
            <p:nvPr/>
          </p:nvPicPr>
          <p:blipFill>
            <a:blip r:embed="rId8" cstate="print"/>
            <a:stretch>
              <a:fillRect/>
            </a:stretch>
          </p:blipFill>
          <p:spPr>
            <a:xfrm>
              <a:off x="4983022" y="8506269"/>
              <a:ext cx="383730" cy="245275"/>
            </a:xfrm>
            <a:prstGeom prst="rect">
              <a:avLst/>
            </a:prstGeom>
          </p:spPr>
        </p:pic>
        <p:sp>
          <p:nvSpPr>
            <p:cNvPr id="24" name="object 24"/>
            <p:cNvSpPr/>
            <p:nvPr/>
          </p:nvSpPr>
          <p:spPr>
            <a:xfrm>
              <a:off x="4983031" y="8506276"/>
              <a:ext cx="384175" cy="245745"/>
            </a:xfrm>
            <a:custGeom>
              <a:avLst/>
              <a:gdLst/>
              <a:ahLst/>
              <a:cxnLst/>
              <a:rect l="l" t="t" r="r" b="b"/>
              <a:pathLst>
                <a:path w="384175" h="245745">
                  <a:moveTo>
                    <a:pt x="27432" y="0"/>
                  </a:moveTo>
                  <a:lnTo>
                    <a:pt x="282841" y="82829"/>
                  </a:lnTo>
                  <a:lnTo>
                    <a:pt x="308800" y="15405"/>
                  </a:lnTo>
                  <a:lnTo>
                    <a:pt x="383730" y="173659"/>
                  </a:lnTo>
                  <a:lnTo>
                    <a:pt x="234251" y="245262"/>
                  </a:lnTo>
                  <a:lnTo>
                    <a:pt x="255409" y="167436"/>
                  </a:lnTo>
                  <a:lnTo>
                    <a:pt x="0" y="84582"/>
                  </a:lnTo>
                  <a:lnTo>
                    <a:pt x="15280" y="37461"/>
                  </a:lnTo>
                  <a:lnTo>
                    <a:pt x="23231" y="12944"/>
                  </a:lnTo>
                  <a:lnTo>
                    <a:pt x="26424" y="3100"/>
                  </a:lnTo>
                  <a:lnTo>
                    <a:pt x="27432" y="0"/>
                  </a:lnTo>
                  <a:close/>
                </a:path>
              </a:pathLst>
            </a:custGeom>
            <a:ln w="7620">
              <a:solidFill>
                <a:srgbClr val="E3873E"/>
              </a:solidFill>
            </a:ln>
          </p:spPr>
          <p:txBody>
            <a:bodyPr wrap="square" lIns="0" tIns="0" rIns="0" bIns="0" rtlCol="0"/>
            <a:lstStyle/>
            <a:p>
              <a:endParaRPr sz="649"/>
            </a:p>
          </p:txBody>
        </p:sp>
        <p:sp>
          <p:nvSpPr>
            <p:cNvPr id="25" name="object 25"/>
            <p:cNvSpPr/>
            <p:nvPr/>
          </p:nvSpPr>
          <p:spPr>
            <a:xfrm>
              <a:off x="3448542" y="7336413"/>
              <a:ext cx="455295" cy="520065"/>
            </a:xfrm>
            <a:custGeom>
              <a:avLst/>
              <a:gdLst/>
              <a:ahLst/>
              <a:cxnLst/>
              <a:rect l="l" t="t" r="r" b="b"/>
              <a:pathLst>
                <a:path w="455295" h="520065">
                  <a:moveTo>
                    <a:pt x="0" y="0"/>
                  </a:moveTo>
                  <a:lnTo>
                    <a:pt x="455244" y="520014"/>
                  </a:lnTo>
                </a:path>
              </a:pathLst>
            </a:custGeom>
            <a:ln w="25400">
              <a:solidFill>
                <a:srgbClr val="E3873E"/>
              </a:solidFill>
            </a:ln>
          </p:spPr>
          <p:txBody>
            <a:bodyPr wrap="square" lIns="0" tIns="0" rIns="0" bIns="0" rtlCol="0"/>
            <a:lstStyle/>
            <a:p>
              <a:endParaRPr sz="649"/>
            </a:p>
          </p:txBody>
        </p:sp>
        <p:sp>
          <p:nvSpPr>
            <p:cNvPr id="26" name="object 26"/>
            <p:cNvSpPr/>
            <p:nvPr/>
          </p:nvSpPr>
          <p:spPr>
            <a:xfrm>
              <a:off x="3300274" y="7167128"/>
              <a:ext cx="237490" cy="255904"/>
            </a:xfrm>
            <a:custGeom>
              <a:avLst/>
              <a:gdLst/>
              <a:ahLst/>
              <a:cxnLst/>
              <a:rect l="l" t="t" r="r" b="b"/>
              <a:pathLst>
                <a:path w="237489" h="255904">
                  <a:moveTo>
                    <a:pt x="0" y="0"/>
                  </a:moveTo>
                  <a:lnTo>
                    <a:pt x="125895" y="255752"/>
                  </a:lnTo>
                  <a:lnTo>
                    <a:pt x="236943" y="158546"/>
                  </a:lnTo>
                  <a:lnTo>
                    <a:pt x="0" y="0"/>
                  </a:lnTo>
                  <a:close/>
                </a:path>
              </a:pathLst>
            </a:custGeom>
            <a:solidFill>
              <a:srgbClr val="E3873E"/>
            </a:solidFill>
          </p:spPr>
          <p:txBody>
            <a:bodyPr wrap="square" lIns="0" tIns="0" rIns="0" bIns="0" rtlCol="0"/>
            <a:lstStyle/>
            <a:p>
              <a:endParaRPr sz="649"/>
            </a:p>
          </p:txBody>
        </p:sp>
        <p:sp>
          <p:nvSpPr>
            <p:cNvPr id="27" name="object 27"/>
            <p:cNvSpPr/>
            <p:nvPr/>
          </p:nvSpPr>
          <p:spPr>
            <a:xfrm>
              <a:off x="1587974" y="6314127"/>
              <a:ext cx="1193165" cy="1193165"/>
            </a:xfrm>
            <a:custGeom>
              <a:avLst/>
              <a:gdLst/>
              <a:ahLst/>
              <a:cxnLst/>
              <a:rect l="l" t="t" r="r" b="b"/>
              <a:pathLst>
                <a:path w="1193164" h="1193165">
                  <a:moveTo>
                    <a:pt x="0" y="596493"/>
                  </a:moveTo>
                  <a:lnTo>
                    <a:pt x="1977" y="645415"/>
                  </a:lnTo>
                  <a:lnTo>
                    <a:pt x="7806" y="693248"/>
                  </a:lnTo>
                  <a:lnTo>
                    <a:pt x="17335" y="739839"/>
                  </a:lnTo>
                  <a:lnTo>
                    <a:pt x="30409" y="785033"/>
                  </a:lnTo>
                  <a:lnTo>
                    <a:pt x="46874" y="828677"/>
                  </a:lnTo>
                  <a:lnTo>
                    <a:pt x="66578" y="870618"/>
                  </a:lnTo>
                  <a:lnTo>
                    <a:pt x="89367" y="910702"/>
                  </a:lnTo>
                  <a:lnTo>
                    <a:pt x="115087" y="948776"/>
                  </a:lnTo>
                  <a:lnTo>
                    <a:pt x="143585" y="984686"/>
                  </a:lnTo>
                  <a:lnTo>
                    <a:pt x="174707" y="1018279"/>
                  </a:lnTo>
                  <a:lnTo>
                    <a:pt x="208300" y="1049401"/>
                  </a:lnTo>
                  <a:lnTo>
                    <a:pt x="244210" y="1077899"/>
                  </a:lnTo>
                  <a:lnTo>
                    <a:pt x="282284" y="1103619"/>
                  </a:lnTo>
                  <a:lnTo>
                    <a:pt x="322368" y="1126408"/>
                  </a:lnTo>
                  <a:lnTo>
                    <a:pt x="364309" y="1146112"/>
                  </a:lnTo>
                  <a:lnTo>
                    <a:pt x="407954" y="1162577"/>
                  </a:lnTo>
                  <a:lnTo>
                    <a:pt x="453148" y="1175651"/>
                  </a:lnTo>
                  <a:lnTo>
                    <a:pt x="499738" y="1185180"/>
                  </a:lnTo>
                  <a:lnTo>
                    <a:pt x="547571" y="1191009"/>
                  </a:lnTo>
                  <a:lnTo>
                    <a:pt x="596493" y="1192987"/>
                  </a:lnTo>
                  <a:lnTo>
                    <a:pt x="645415" y="1191009"/>
                  </a:lnTo>
                  <a:lnTo>
                    <a:pt x="693248" y="1185180"/>
                  </a:lnTo>
                  <a:lnTo>
                    <a:pt x="739839" y="1175651"/>
                  </a:lnTo>
                  <a:lnTo>
                    <a:pt x="785033" y="1162577"/>
                  </a:lnTo>
                  <a:lnTo>
                    <a:pt x="828677" y="1146112"/>
                  </a:lnTo>
                  <a:lnTo>
                    <a:pt x="870618" y="1126408"/>
                  </a:lnTo>
                  <a:lnTo>
                    <a:pt x="910702" y="1103619"/>
                  </a:lnTo>
                  <a:lnTo>
                    <a:pt x="948776" y="1077899"/>
                  </a:lnTo>
                  <a:lnTo>
                    <a:pt x="984686" y="1049401"/>
                  </a:lnTo>
                  <a:lnTo>
                    <a:pt x="1018279" y="1018279"/>
                  </a:lnTo>
                  <a:lnTo>
                    <a:pt x="1049401" y="984686"/>
                  </a:lnTo>
                  <a:lnTo>
                    <a:pt x="1077899" y="948776"/>
                  </a:lnTo>
                  <a:lnTo>
                    <a:pt x="1103619" y="910702"/>
                  </a:lnTo>
                  <a:lnTo>
                    <a:pt x="1126408" y="870618"/>
                  </a:lnTo>
                  <a:lnTo>
                    <a:pt x="1146112" y="828677"/>
                  </a:lnTo>
                  <a:lnTo>
                    <a:pt x="1162577" y="785033"/>
                  </a:lnTo>
                  <a:lnTo>
                    <a:pt x="1175651" y="739839"/>
                  </a:lnTo>
                  <a:lnTo>
                    <a:pt x="1185180" y="693248"/>
                  </a:lnTo>
                  <a:lnTo>
                    <a:pt x="1191009" y="645415"/>
                  </a:lnTo>
                  <a:lnTo>
                    <a:pt x="1192987" y="596493"/>
                  </a:lnTo>
                  <a:lnTo>
                    <a:pt x="1191009" y="547573"/>
                  </a:lnTo>
                  <a:lnTo>
                    <a:pt x="1185180" y="499741"/>
                  </a:lnTo>
                  <a:lnTo>
                    <a:pt x="1175651" y="453152"/>
                  </a:lnTo>
                  <a:lnTo>
                    <a:pt x="1162577" y="407958"/>
                  </a:lnTo>
                  <a:lnTo>
                    <a:pt x="1146112" y="364315"/>
                  </a:lnTo>
                  <a:lnTo>
                    <a:pt x="1126408" y="322374"/>
                  </a:lnTo>
                  <a:lnTo>
                    <a:pt x="1103619" y="282290"/>
                  </a:lnTo>
                  <a:lnTo>
                    <a:pt x="1077899" y="244216"/>
                  </a:lnTo>
                  <a:lnTo>
                    <a:pt x="1049401" y="208305"/>
                  </a:lnTo>
                  <a:lnTo>
                    <a:pt x="1018279" y="174712"/>
                  </a:lnTo>
                  <a:lnTo>
                    <a:pt x="984686" y="143589"/>
                  </a:lnTo>
                  <a:lnTo>
                    <a:pt x="948776" y="115091"/>
                  </a:lnTo>
                  <a:lnTo>
                    <a:pt x="910702" y="89370"/>
                  </a:lnTo>
                  <a:lnTo>
                    <a:pt x="870618" y="66581"/>
                  </a:lnTo>
                  <a:lnTo>
                    <a:pt x="828677" y="46876"/>
                  </a:lnTo>
                  <a:lnTo>
                    <a:pt x="785033" y="30410"/>
                  </a:lnTo>
                  <a:lnTo>
                    <a:pt x="739839" y="17336"/>
                  </a:lnTo>
                  <a:lnTo>
                    <a:pt x="693248" y="7807"/>
                  </a:lnTo>
                  <a:lnTo>
                    <a:pt x="645415" y="1977"/>
                  </a:lnTo>
                  <a:lnTo>
                    <a:pt x="596493" y="0"/>
                  </a:lnTo>
                  <a:lnTo>
                    <a:pt x="547571" y="1977"/>
                  </a:lnTo>
                  <a:lnTo>
                    <a:pt x="499738" y="7807"/>
                  </a:lnTo>
                  <a:lnTo>
                    <a:pt x="453148" y="17336"/>
                  </a:lnTo>
                  <a:lnTo>
                    <a:pt x="407954" y="30410"/>
                  </a:lnTo>
                  <a:lnTo>
                    <a:pt x="364309" y="46876"/>
                  </a:lnTo>
                  <a:lnTo>
                    <a:pt x="322368" y="66581"/>
                  </a:lnTo>
                  <a:lnTo>
                    <a:pt x="282284" y="89370"/>
                  </a:lnTo>
                  <a:lnTo>
                    <a:pt x="244210" y="115091"/>
                  </a:lnTo>
                  <a:lnTo>
                    <a:pt x="208300" y="143589"/>
                  </a:lnTo>
                  <a:lnTo>
                    <a:pt x="174707" y="174712"/>
                  </a:lnTo>
                  <a:lnTo>
                    <a:pt x="143585" y="208305"/>
                  </a:lnTo>
                  <a:lnTo>
                    <a:pt x="115087" y="244216"/>
                  </a:lnTo>
                  <a:lnTo>
                    <a:pt x="89367" y="282290"/>
                  </a:lnTo>
                  <a:lnTo>
                    <a:pt x="66578" y="322374"/>
                  </a:lnTo>
                  <a:lnTo>
                    <a:pt x="46874" y="364315"/>
                  </a:lnTo>
                  <a:lnTo>
                    <a:pt x="30409" y="407958"/>
                  </a:lnTo>
                  <a:lnTo>
                    <a:pt x="17335" y="453152"/>
                  </a:lnTo>
                  <a:lnTo>
                    <a:pt x="7806" y="499741"/>
                  </a:lnTo>
                  <a:lnTo>
                    <a:pt x="1977" y="547573"/>
                  </a:lnTo>
                  <a:lnTo>
                    <a:pt x="0" y="596493"/>
                  </a:lnTo>
                  <a:close/>
                </a:path>
              </a:pathLst>
            </a:custGeom>
            <a:ln w="25400">
              <a:solidFill>
                <a:srgbClr val="E3873E"/>
              </a:solidFill>
            </a:ln>
          </p:spPr>
          <p:txBody>
            <a:bodyPr wrap="square" lIns="0" tIns="0" rIns="0" bIns="0" rtlCol="0"/>
            <a:lstStyle/>
            <a:p>
              <a:endParaRPr sz="649"/>
            </a:p>
          </p:txBody>
        </p:sp>
        <p:sp>
          <p:nvSpPr>
            <p:cNvPr id="28" name="object 28"/>
            <p:cNvSpPr/>
            <p:nvPr/>
          </p:nvSpPr>
          <p:spPr>
            <a:xfrm>
              <a:off x="3497271" y="8267041"/>
              <a:ext cx="275590" cy="275590"/>
            </a:xfrm>
            <a:custGeom>
              <a:avLst/>
              <a:gdLst/>
              <a:ahLst/>
              <a:cxnLst/>
              <a:rect l="l" t="t" r="r" b="b"/>
              <a:pathLst>
                <a:path w="275589" h="275590">
                  <a:moveTo>
                    <a:pt x="137655" y="0"/>
                  </a:moveTo>
                  <a:lnTo>
                    <a:pt x="94146" y="7016"/>
                  </a:lnTo>
                  <a:lnTo>
                    <a:pt x="56359" y="26555"/>
                  </a:lnTo>
                  <a:lnTo>
                    <a:pt x="26560" y="56350"/>
                  </a:lnTo>
                  <a:lnTo>
                    <a:pt x="7018" y="94135"/>
                  </a:lnTo>
                  <a:lnTo>
                    <a:pt x="0" y="137642"/>
                  </a:lnTo>
                  <a:lnTo>
                    <a:pt x="7018" y="181151"/>
                  </a:lnTo>
                  <a:lnTo>
                    <a:pt x="26560" y="218938"/>
                  </a:lnTo>
                  <a:lnTo>
                    <a:pt x="56359" y="248737"/>
                  </a:lnTo>
                  <a:lnTo>
                    <a:pt x="94146" y="268279"/>
                  </a:lnTo>
                  <a:lnTo>
                    <a:pt x="137655" y="275297"/>
                  </a:lnTo>
                  <a:lnTo>
                    <a:pt x="181163" y="268279"/>
                  </a:lnTo>
                  <a:lnTo>
                    <a:pt x="218951" y="248737"/>
                  </a:lnTo>
                  <a:lnTo>
                    <a:pt x="248750" y="218938"/>
                  </a:lnTo>
                  <a:lnTo>
                    <a:pt x="268292" y="181151"/>
                  </a:lnTo>
                  <a:lnTo>
                    <a:pt x="275310" y="137642"/>
                  </a:lnTo>
                  <a:lnTo>
                    <a:pt x="268292" y="94135"/>
                  </a:lnTo>
                  <a:lnTo>
                    <a:pt x="248750" y="56350"/>
                  </a:lnTo>
                  <a:lnTo>
                    <a:pt x="218951" y="26555"/>
                  </a:lnTo>
                  <a:lnTo>
                    <a:pt x="181163" y="7016"/>
                  </a:lnTo>
                  <a:lnTo>
                    <a:pt x="137655" y="0"/>
                  </a:lnTo>
                  <a:close/>
                </a:path>
              </a:pathLst>
            </a:custGeom>
            <a:solidFill>
              <a:srgbClr val="FFFFFF"/>
            </a:solidFill>
          </p:spPr>
          <p:txBody>
            <a:bodyPr wrap="square" lIns="0" tIns="0" rIns="0" bIns="0" rtlCol="0"/>
            <a:lstStyle/>
            <a:p>
              <a:endParaRPr sz="649"/>
            </a:p>
          </p:txBody>
        </p:sp>
        <p:sp>
          <p:nvSpPr>
            <p:cNvPr id="29" name="object 29"/>
            <p:cNvSpPr/>
            <p:nvPr/>
          </p:nvSpPr>
          <p:spPr>
            <a:xfrm>
              <a:off x="3497271" y="8267041"/>
              <a:ext cx="275590" cy="275590"/>
            </a:xfrm>
            <a:custGeom>
              <a:avLst/>
              <a:gdLst/>
              <a:ahLst/>
              <a:cxnLst/>
              <a:rect l="l" t="t" r="r" b="b"/>
              <a:pathLst>
                <a:path w="275589" h="275590">
                  <a:moveTo>
                    <a:pt x="137655" y="275297"/>
                  </a:moveTo>
                  <a:lnTo>
                    <a:pt x="181163" y="268279"/>
                  </a:lnTo>
                  <a:lnTo>
                    <a:pt x="218951" y="248737"/>
                  </a:lnTo>
                  <a:lnTo>
                    <a:pt x="248750" y="218938"/>
                  </a:lnTo>
                  <a:lnTo>
                    <a:pt x="268292" y="181151"/>
                  </a:lnTo>
                  <a:lnTo>
                    <a:pt x="275310" y="137642"/>
                  </a:lnTo>
                  <a:lnTo>
                    <a:pt x="268292" y="94135"/>
                  </a:lnTo>
                  <a:lnTo>
                    <a:pt x="248750" y="56350"/>
                  </a:lnTo>
                  <a:lnTo>
                    <a:pt x="218951" y="26555"/>
                  </a:lnTo>
                  <a:lnTo>
                    <a:pt x="181163" y="7016"/>
                  </a:lnTo>
                  <a:lnTo>
                    <a:pt x="137655" y="0"/>
                  </a:lnTo>
                  <a:lnTo>
                    <a:pt x="94146" y="7016"/>
                  </a:lnTo>
                  <a:lnTo>
                    <a:pt x="56359" y="26555"/>
                  </a:lnTo>
                  <a:lnTo>
                    <a:pt x="26560" y="56350"/>
                  </a:lnTo>
                  <a:lnTo>
                    <a:pt x="7018" y="94135"/>
                  </a:lnTo>
                  <a:lnTo>
                    <a:pt x="0" y="137642"/>
                  </a:lnTo>
                  <a:lnTo>
                    <a:pt x="7018" y="181151"/>
                  </a:lnTo>
                  <a:lnTo>
                    <a:pt x="26560" y="218938"/>
                  </a:lnTo>
                  <a:lnTo>
                    <a:pt x="56359" y="248737"/>
                  </a:lnTo>
                  <a:lnTo>
                    <a:pt x="94146" y="268279"/>
                  </a:lnTo>
                  <a:lnTo>
                    <a:pt x="137655" y="275297"/>
                  </a:lnTo>
                  <a:close/>
                </a:path>
              </a:pathLst>
            </a:custGeom>
            <a:ln w="12700">
              <a:solidFill>
                <a:srgbClr val="231F20"/>
              </a:solidFill>
            </a:ln>
          </p:spPr>
          <p:txBody>
            <a:bodyPr wrap="square" lIns="0" tIns="0" rIns="0" bIns="0" rtlCol="0"/>
            <a:lstStyle/>
            <a:p>
              <a:endParaRPr sz="649"/>
            </a:p>
          </p:txBody>
        </p:sp>
      </p:grpSp>
      <p:sp>
        <p:nvSpPr>
          <p:cNvPr id="30" name="object 30"/>
          <p:cNvSpPr txBox="1"/>
          <p:nvPr/>
        </p:nvSpPr>
        <p:spPr>
          <a:xfrm>
            <a:off x="3012918" y="199301"/>
            <a:ext cx="994187" cy="332226"/>
          </a:xfrm>
          <a:prstGeom prst="rect">
            <a:avLst/>
          </a:prstGeom>
        </p:spPr>
        <p:txBody>
          <a:bodyPr vert="horz" wrap="square" lIns="0" tIns="56217" rIns="0" bIns="0" rtlCol="0">
            <a:spAutoFit/>
          </a:bodyPr>
          <a:lstStyle/>
          <a:p>
            <a:pPr marL="18330">
              <a:spcBef>
                <a:spcPts val="442"/>
              </a:spcBef>
            </a:pPr>
            <a:r>
              <a:rPr sz="866" b="1" spc="-171" dirty="0">
                <a:solidFill>
                  <a:srgbClr val="231F20"/>
                </a:solidFill>
                <a:latin typeface="Tahoma"/>
                <a:cs typeface="Tahoma"/>
              </a:rPr>
              <a:t>I</a:t>
            </a:r>
            <a:r>
              <a:rPr sz="866" b="1" spc="-55" dirty="0">
                <a:solidFill>
                  <a:srgbClr val="231F20"/>
                </a:solidFill>
                <a:latin typeface="Tahoma"/>
                <a:cs typeface="Tahoma"/>
              </a:rPr>
              <a:t>nsert</a:t>
            </a:r>
            <a:r>
              <a:rPr sz="866" b="1" spc="-43" dirty="0">
                <a:solidFill>
                  <a:srgbClr val="231F20"/>
                </a:solidFill>
                <a:latin typeface="Tahoma"/>
                <a:cs typeface="Tahoma"/>
              </a:rPr>
              <a:t> </a:t>
            </a:r>
            <a:r>
              <a:rPr sz="866" b="1" spc="-72" dirty="0">
                <a:solidFill>
                  <a:srgbClr val="231F20"/>
                </a:solidFill>
                <a:latin typeface="Tahoma"/>
                <a:cs typeface="Tahoma"/>
              </a:rPr>
              <a:t>b</a:t>
            </a:r>
            <a:r>
              <a:rPr sz="866" b="1" spc="-75" dirty="0">
                <a:solidFill>
                  <a:srgbClr val="231F20"/>
                </a:solidFill>
                <a:latin typeface="Tahoma"/>
                <a:cs typeface="Tahoma"/>
              </a:rPr>
              <a:t>a</a:t>
            </a:r>
            <a:r>
              <a:rPr sz="866" b="1" spc="-53" dirty="0">
                <a:solidFill>
                  <a:srgbClr val="231F20"/>
                </a:solidFill>
                <a:latin typeface="Tahoma"/>
                <a:cs typeface="Tahoma"/>
              </a:rPr>
              <a:t>ttery</a:t>
            </a:r>
            <a:endParaRPr sz="866">
              <a:latin typeface="Tahoma"/>
              <a:cs typeface="Tahoma"/>
            </a:endParaRPr>
          </a:p>
          <a:p>
            <a:pPr marL="18330">
              <a:spcBef>
                <a:spcPts val="308"/>
              </a:spcBef>
            </a:pPr>
            <a:r>
              <a:rPr sz="674" spc="-10" dirty="0">
                <a:solidFill>
                  <a:srgbClr val="E3873E"/>
                </a:solidFill>
                <a:latin typeface="Tahoma"/>
                <a:cs typeface="Tahoma"/>
              </a:rPr>
              <a:t>Stressless</a:t>
            </a:r>
            <a:r>
              <a:rPr sz="577" spc="-14" baseline="31250" dirty="0">
                <a:solidFill>
                  <a:srgbClr val="E3873E"/>
                </a:solidFill>
                <a:latin typeface="Tahoma"/>
                <a:cs typeface="Tahoma"/>
              </a:rPr>
              <a:t>®</a:t>
            </a:r>
            <a:r>
              <a:rPr sz="577" spc="68" baseline="31250" dirty="0">
                <a:solidFill>
                  <a:srgbClr val="E3873E"/>
                </a:solidFill>
                <a:latin typeface="Tahoma"/>
                <a:cs typeface="Tahoma"/>
              </a:rPr>
              <a:t> </a:t>
            </a:r>
            <a:r>
              <a:rPr sz="674" spc="22" dirty="0">
                <a:solidFill>
                  <a:srgbClr val="E3873E"/>
                </a:solidFill>
                <a:latin typeface="Tahoma"/>
                <a:cs typeface="Tahoma"/>
              </a:rPr>
              <a:t>Mike</a:t>
            </a:r>
            <a:r>
              <a:rPr sz="674" spc="-41" dirty="0">
                <a:solidFill>
                  <a:srgbClr val="E3873E"/>
                </a:solidFill>
                <a:latin typeface="Tahoma"/>
                <a:cs typeface="Tahoma"/>
              </a:rPr>
              <a:t> </a:t>
            </a:r>
            <a:r>
              <a:rPr sz="674" spc="-5" dirty="0">
                <a:solidFill>
                  <a:srgbClr val="E3873E"/>
                </a:solidFill>
                <a:latin typeface="Tahoma"/>
                <a:cs typeface="Tahoma"/>
              </a:rPr>
              <a:t>and</a:t>
            </a:r>
            <a:r>
              <a:rPr sz="674" spc="-41" dirty="0">
                <a:solidFill>
                  <a:srgbClr val="E3873E"/>
                </a:solidFill>
                <a:latin typeface="Tahoma"/>
                <a:cs typeface="Tahoma"/>
              </a:rPr>
              <a:t> </a:t>
            </a:r>
            <a:r>
              <a:rPr sz="674" spc="24" dirty="0">
                <a:solidFill>
                  <a:srgbClr val="E3873E"/>
                </a:solidFill>
                <a:latin typeface="Tahoma"/>
                <a:cs typeface="Tahoma"/>
              </a:rPr>
              <a:t>Max</a:t>
            </a:r>
            <a:endParaRPr sz="674">
              <a:latin typeface="Tahoma"/>
              <a:cs typeface="Tahoma"/>
            </a:endParaRPr>
          </a:p>
        </p:txBody>
      </p:sp>
      <p:grpSp>
        <p:nvGrpSpPr>
          <p:cNvPr id="31" name="object 31"/>
          <p:cNvGrpSpPr/>
          <p:nvPr/>
        </p:nvGrpSpPr>
        <p:grpSpPr>
          <a:xfrm>
            <a:off x="5610324" y="277150"/>
            <a:ext cx="504121" cy="277419"/>
            <a:chOff x="5936272" y="576020"/>
            <a:chExt cx="1047750" cy="576580"/>
          </a:xfrm>
        </p:grpSpPr>
        <p:pic>
          <p:nvPicPr>
            <p:cNvPr id="32" name="object 32"/>
            <p:cNvPicPr/>
            <p:nvPr/>
          </p:nvPicPr>
          <p:blipFill>
            <a:blip r:embed="rId9" cstate="print"/>
            <a:stretch>
              <a:fillRect/>
            </a:stretch>
          </p:blipFill>
          <p:spPr>
            <a:xfrm>
              <a:off x="5936272" y="576020"/>
              <a:ext cx="1047737" cy="575995"/>
            </a:xfrm>
            <a:prstGeom prst="rect">
              <a:avLst/>
            </a:prstGeom>
          </p:spPr>
        </p:pic>
        <p:pic>
          <p:nvPicPr>
            <p:cNvPr id="33" name="object 33"/>
            <p:cNvPicPr/>
            <p:nvPr/>
          </p:nvPicPr>
          <p:blipFill>
            <a:blip r:embed="rId10" cstate="print"/>
            <a:stretch>
              <a:fillRect/>
            </a:stretch>
          </p:blipFill>
          <p:spPr>
            <a:xfrm>
              <a:off x="6066543" y="721447"/>
              <a:ext cx="810459" cy="208035"/>
            </a:xfrm>
            <a:prstGeom prst="rect">
              <a:avLst/>
            </a:prstGeom>
          </p:spPr>
        </p:pic>
      </p:grpSp>
      <p:sp>
        <p:nvSpPr>
          <p:cNvPr id="34" name="object 34"/>
          <p:cNvSpPr txBox="1"/>
          <p:nvPr/>
        </p:nvSpPr>
        <p:spPr>
          <a:xfrm>
            <a:off x="4465034" y="3967723"/>
            <a:ext cx="76076" cy="139412"/>
          </a:xfrm>
          <a:prstGeom prst="rect">
            <a:avLst/>
          </a:prstGeom>
        </p:spPr>
        <p:txBody>
          <a:bodyPr vert="horz" wrap="square" lIns="0" tIns="6111" rIns="0" bIns="0" rtlCol="0">
            <a:spAutoFit/>
          </a:bodyPr>
          <a:lstStyle/>
          <a:p>
            <a:pPr marL="6110">
              <a:spcBef>
                <a:spcPts val="48"/>
              </a:spcBef>
            </a:pPr>
            <a:r>
              <a:rPr sz="866" b="1" spc="-51" dirty="0">
                <a:solidFill>
                  <a:srgbClr val="231F20"/>
                </a:solidFill>
                <a:latin typeface="Tahoma"/>
                <a:cs typeface="Tahoma"/>
              </a:rPr>
              <a:t>2</a:t>
            </a:r>
            <a:endParaRPr sz="866">
              <a:latin typeface="Tahoma"/>
              <a:cs typeface="Tahoma"/>
            </a:endParaRPr>
          </a:p>
        </p:txBody>
      </p:sp>
      <p:grpSp>
        <p:nvGrpSpPr>
          <p:cNvPr id="35" name="object 35"/>
          <p:cNvGrpSpPr/>
          <p:nvPr/>
        </p:nvGrpSpPr>
        <p:grpSpPr>
          <a:xfrm>
            <a:off x="3430539" y="3185260"/>
            <a:ext cx="2408475" cy="1344017"/>
            <a:chOff x="1405869" y="6620151"/>
            <a:chExt cx="5005705" cy="2793365"/>
          </a:xfrm>
        </p:grpSpPr>
        <p:sp>
          <p:nvSpPr>
            <p:cNvPr id="36" name="object 36"/>
            <p:cNvSpPr/>
            <p:nvPr/>
          </p:nvSpPr>
          <p:spPr>
            <a:xfrm>
              <a:off x="5464394" y="8491832"/>
              <a:ext cx="946785" cy="827405"/>
            </a:xfrm>
            <a:custGeom>
              <a:avLst/>
              <a:gdLst/>
              <a:ahLst/>
              <a:cxnLst/>
              <a:rect l="l" t="t" r="r" b="b"/>
              <a:pathLst>
                <a:path w="946785" h="827404">
                  <a:moveTo>
                    <a:pt x="473394" y="0"/>
                  </a:moveTo>
                  <a:lnTo>
                    <a:pt x="4181" y="780348"/>
                  </a:lnTo>
                  <a:lnTo>
                    <a:pt x="0" y="795953"/>
                  </a:lnTo>
                  <a:lnTo>
                    <a:pt x="1045" y="803958"/>
                  </a:lnTo>
                  <a:lnTo>
                    <a:pt x="31207" y="827147"/>
                  </a:lnTo>
                  <a:lnTo>
                    <a:pt x="915546" y="827147"/>
                  </a:lnTo>
                  <a:lnTo>
                    <a:pt x="946753" y="795953"/>
                  </a:lnTo>
                  <a:lnTo>
                    <a:pt x="945707" y="787943"/>
                  </a:lnTo>
                  <a:lnTo>
                    <a:pt x="942571" y="780348"/>
                  </a:lnTo>
                  <a:lnTo>
                    <a:pt x="500408" y="14487"/>
                  </a:lnTo>
                  <a:lnTo>
                    <a:pt x="488834" y="3621"/>
                  </a:lnTo>
                  <a:lnTo>
                    <a:pt x="473394" y="0"/>
                  </a:lnTo>
                  <a:close/>
                </a:path>
              </a:pathLst>
            </a:custGeom>
            <a:solidFill>
              <a:srgbClr val="E3873E"/>
            </a:solidFill>
          </p:spPr>
          <p:txBody>
            <a:bodyPr wrap="square" lIns="0" tIns="0" rIns="0" bIns="0" rtlCol="0"/>
            <a:lstStyle/>
            <a:p>
              <a:endParaRPr sz="649"/>
            </a:p>
          </p:txBody>
        </p:sp>
        <p:sp>
          <p:nvSpPr>
            <p:cNvPr id="37" name="object 37"/>
            <p:cNvSpPr/>
            <p:nvPr/>
          </p:nvSpPr>
          <p:spPr>
            <a:xfrm>
              <a:off x="5549647" y="8584309"/>
              <a:ext cx="776605" cy="672465"/>
            </a:xfrm>
            <a:custGeom>
              <a:avLst/>
              <a:gdLst/>
              <a:ahLst/>
              <a:cxnLst/>
              <a:rect l="l" t="t" r="r" b="b"/>
              <a:pathLst>
                <a:path w="776604" h="672465">
                  <a:moveTo>
                    <a:pt x="388137" y="0"/>
                  </a:moveTo>
                  <a:lnTo>
                    <a:pt x="0" y="672274"/>
                  </a:lnTo>
                  <a:lnTo>
                    <a:pt x="776262" y="672274"/>
                  </a:lnTo>
                  <a:lnTo>
                    <a:pt x="388137" y="0"/>
                  </a:lnTo>
                  <a:close/>
                </a:path>
              </a:pathLst>
            </a:custGeom>
            <a:solidFill>
              <a:srgbClr val="FFFFFF"/>
            </a:solidFill>
          </p:spPr>
          <p:txBody>
            <a:bodyPr wrap="square" lIns="0" tIns="0" rIns="0" bIns="0" rtlCol="0"/>
            <a:lstStyle/>
            <a:p>
              <a:endParaRPr sz="649"/>
            </a:p>
          </p:txBody>
        </p:sp>
        <p:pic>
          <p:nvPicPr>
            <p:cNvPr id="38" name="object 38"/>
            <p:cNvPicPr/>
            <p:nvPr/>
          </p:nvPicPr>
          <p:blipFill>
            <a:blip r:embed="rId11" cstate="print"/>
            <a:stretch>
              <a:fillRect/>
            </a:stretch>
          </p:blipFill>
          <p:spPr>
            <a:xfrm>
              <a:off x="5794069" y="8748585"/>
              <a:ext cx="234467" cy="472808"/>
            </a:xfrm>
            <a:prstGeom prst="rect">
              <a:avLst/>
            </a:prstGeom>
          </p:spPr>
        </p:pic>
        <p:sp>
          <p:nvSpPr>
            <p:cNvPr id="39" name="object 39"/>
            <p:cNvSpPr/>
            <p:nvPr/>
          </p:nvSpPr>
          <p:spPr>
            <a:xfrm>
              <a:off x="5794065" y="8748578"/>
              <a:ext cx="234950" cy="473075"/>
            </a:xfrm>
            <a:custGeom>
              <a:avLst/>
              <a:gdLst/>
              <a:ahLst/>
              <a:cxnLst/>
              <a:rect l="l" t="t" r="r" b="b"/>
              <a:pathLst>
                <a:path w="234950" h="473075">
                  <a:moveTo>
                    <a:pt x="234480" y="166954"/>
                  </a:moveTo>
                  <a:lnTo>
                    <a:pt x="65544" y="235953"/>
                  </a:lnTo>
                  <a:lnTo>
                    <a:pt x="180670" y="51053"/>
                  </a:lnTo>
                  <a:lnTo>
                    <a:pt x="113055" y="0"/>
                  </a:lnTo>
                  <a:lnTo>
                    <a:pt x="0" y="323849"/>
                  </a:lnTo>
                  <a:lnTo>
                    <a:pt x="159435" y="249364"/>
                  </a:lnTo>
                  <a:lnTo>
                    <a:pt x="149974" y="384162"/>
                  </a:lnTo>
                  <a:lnTo>
                    <a:pt x="108788" y="377482"/>
                  </a:lnTo>
                  <a:lnTo>
                    <a:pt x="149009" y="472820"/>
                  </a:lnTo>
                  <a:lnTo>
                    <a:pt x="219024" y="395350"/>
                  </a:lnTo>
                  <a:lnTo>
                    <a:pt x="178092" y="388721"/>
                  </a:lnTo>
                  <a:lnTo>
                    <a:pt x="234480" y="166954"/>
                  </a:lnTo>
                  <a:close/>
                </a:path>
              </a:pathLst>
            </a:custGeom>
            <a:ln w="7620">
              <a:solidFill>
                <a:srgbClr val="E3873E"/>
              </a:solidFill>
            </a:ln>
          </p:spPr>
          <p:txBody>
            <a:bodyPr wrap="square" lIns="0" tIns="0" rIns="0" bIns="0" rtlCol="0"/>
            <a:lstStyle/>
            <a:p>
              <a:endParaRPr sz="649"/>
            </a:p>
          </p:txBody>
        </p:sp>
        <p:sp>
          <p:nvSpPr>
            <p:cNvPr id="40" name="object 40"/>
            <p:cNvSpPr/>
            <p:nvPr/>
          </p:nvSpPr>
          <p:spPr>
            <a:xfrm>
              <a:off x="5577161" y="8683348"/>
              <a:ext cx="721360" cy="704850"/>
            </a:xfrm>
            <a:custGeom>
              <a:avLst/>
              <a:gdLst/>
              <a:ahLst/>
              <a:cxnLst/>
              <a:rect l="l" t="t" r="r" b="b"/>
              <a:pathLst>
                <a:path w="721360" h="704850">
                  <a:moveTo>
                    <a:pt x="721220" y="0"/>
                  </a:moveTo>
                  <a:lnTo>
                    <a:pt x="0" y="704240"/>
                  </a:lnTo>
                </a:path>
              </a:pathLst>
            </a:custGeom>
            <a:ln w="50800">
              <a:solidFill>
                <a:srgbClr val="231F20"/>
              </a:solidFill>
            </a:ln>
          </p:spPr>
          <p:txBody>
            <a:bodyPr wrap="square" lIns="0" tIns="0" rIns="0" bIns="0" rtlCol="0"/>
            <a:lstStyle/>
            <a:p>
              <a:endParaRPr sz="649"/>
            </a:p>
          </p:txBody>
        </p:sp>
        <p:sp>
          <p:nvSpPr>
            <p:cNvPr id="41" name="object 41"/>
            <p:cNvSpPr/>
            <p:nvPr/>
          </p:nvSpPr>
          <p:spPr>
            <a:xfrm>
              <a:off x="5577161" y="8683349"/>
              <a:ext cx="721360" cy="704850"/>
            </a:xfrm>
            <a:custGeom>
              <a:avLst/>
              <a:gdLst/>
              <a:ahLst/>
              <a:cxnLst/>
              <a:rect l="l" t="t" r="r" b="b"/>
              <a:pathLst>
                <a:path w="721360" h="704850">
                  <a:moveTo>
                    <a:pt x="721220" y="704240"/>
                  </a:moveTo>
                  <a:lnTo>
                    <a:pt x="0" y="0"/>
                  </a:lnTo>
                </a:path>
              </a:pathLst>
            </a:custGeom>
            <a:ln w="50800">
              <a:solidFill>
                <a:srgbClr val="231F20"/>
              </a:solidFill>
            </a:ln>
          </p:spPr>
          <p:txBody>
            <a:bodyPr wrap="square" lIns="0" tIns="0" rIns="0" bIns="0" rtlCol="0"/>
            <a:lstStyle/>
            <a:p>
              <a:endParaRPr sz="649"/>
            </a:p>
          </p:txBody>
        </p:sp>
        <p:sp>
          <p:nvSpPr>
            <p:cNvPr id="42" name="object 42"/>
            <p:cNvSpPr/>
            <p:nvPr/>
          </p:nvSpPr>
          <p:spPr>
            <a:xfrm>
              <a:off x="1412219" y="6626501"/>
              <a:ext cx="275590" cy="275590"/>
            </a:xfrm>
            <a:custGeom>
              <a:avLst/>
              <a:gdLst/>
              <a:ahLst/>
              <a:cxnLst/>
              <a:rect l="l" t="t" r="r" b="b"/>
              <a:pathLst>
                <a:path w="275589" h="275590">
                  <a:moveTo>
                    <a:pt x="137655" y="0"/>
                  </a:moveTo>
                  <a:lnTo>
                    <a:pt x="94146" y="7016"/>
                  </a:lnTo>
                  <a:lnTo>
                    <a:pt x="56359" y="26555"/>
                  </a:lnTo>
                  <a:lnTo>
                    <a:pt x="26560" y="56350"/>
                  </a:lnTo>
                  <a:lnTo>
                    <a:pt x="7018" y="94135"/>
                  </a:lnTo>
                  <a:lnTo>
                    <a:pt x="0" y="137642"/>
                  </a:lnTo>
                  <a:lnTo>
                    <a:pt x="7018" y="181151"/>
                  </a:lnTo>
                  <a:lnTo>
                    <a:pt x="26560" y="218938"/>
                  </a:lnTo>
                  <a:lnTo>
                    <a:pt x="56359" y="248737"/>
                  </a:lnTo>
                  <a:lnTo>
                    <a:pt x="94146" y="268279"/>
                  </a:lnTo>
                  <a:lnTo>
                    <a:pt x="137655" y="275297"/>
                  </a:lnTo>
                  <a:lnTo>
                    <a:pt x="181163" y="268279"/>
                  </a:lnTo>
                  <a:lnTo>
                    <a:pt x="218951" y="248737"/>
                  </a:lnTo>
                  <a:lnTo>
                    <a:pt x="248750" y="218938"/>
                  </a:lnTo>
                  <a:lnTo>
                    <a:pt x="268292" y="181151"/>
                  </a:lnTo>
                  <a:lnTo>
                    <a:pt x="275310" y="137642"/>
                  </a:lnTo>
                  <a:lnTo>
                    <a:pt x="268292" y="94135"/>
                  </a:lnTo>
                  <a:lnTo>
                    <a:pt x="248750" y="56350"/>
                  </a:lnTo>
                  <a:lnTo>
                    <a:pt x="218951" y="26555"/>
                  </a:lnTo>
                  <a:lnTo>
                    <a:pt x="181163" y="7016"/>
                  </a:lnTo>
                  <a:lnTo>
                    <a:pt x="137655" y="0"/>
                  </a:lnTo>
                  <a:close/>
                </a:path>
              </a:pathLst>
            </a:custGeom>
            <a:solidFill>
              <a:srgbClr val="FFFFFF"/>
            </a:solidFill>
          </p:spPr>
          <p:txBody>
            <a:bodyPr wrap="square" lIns="0" tIns="0" rIns="0" bIns="0" rtlCol="0"/>
            <a:lstStyle/>
            <a:p>
              <a:endParaRPr sz="649"/>
            </a:p>
          </p:txBody>
        </p:sp>
        <p:sp>
          <p:nvSpPr>
            <p:cNvPr id="43" name="object 43"/>
            <p:cNvSpPr/>
            <p:nvPr/>
          </p:nvSpPr>
          <p:spPr>
            <a:xfrm>
              <a:off x="1412219" y="6626501"/>
              <a:ext cx="275590" cy="275590"/>
            </a:xfrm>
            <a:custGeom>
              <a:avLst/>
              <a:gdLst/>
              <a:ahLst/>
              <a:cxnLst/>
              <a:rect l="l" t="t" r="r" b="b"/>
              <a:pathLst>
                <a:path w="275589" h="275590">
                  <a:moveTo>
                    <a:pt x="137655" y="275297"/>
                  </a:moveTo>
                  <a:lnTo>
                    <a:pt x="181163" y="268279"/>
                  </a:lnTo>
                  <a:lnTo>
                    <a:pt x="218951" y="248737"/>
                  </a:lnTo>
                  <a:lnTo>
                    <a:pt x="248750" y="218938"/>
                  </a:lnTo>
                  <a:lnTo>
                    <a:pt x="268292" y="181151"/>
                  </a:lnTo>
                  <a:lnTo>
                    <a:pt x="275310" y="137642"/>
                  </a:lnTo>
                  <a:lnTo>
                    <a:pt x="268292" y="94135"/>
                  </a:lnTo>
                  <a:lnTo>
                    <a:pt x="248750" y="56350"/>
                  </a:lnTo>
                  <a:lnTo>
                    <a:pt x="218951" y="26555"/>
                  </a:lnTo>
                  <a:lnTo>
                    <a:pt x="181163" y="7016"/>
                  </a:lnTo>
                  <a:lnTo>
                    <a:pt x="137655" y="0"/>
                  </a:lnTo>
                  <a:lnTo>
                    <a:pt x="94146" y="7016"/>
                  </a:lnTo>
                  <a:lnTo>
                    <a:pt x="56359" y="26555"/>
                  </a:lnTo>
                  <a:lnTo>
                    <a:pt x="26560" y="56350"/>
                  </a:lnTo>
                  <a:lnTo>
                    <a:pt x="7018" y="94135"/>
                  </a:lnTo>
                  <a:lnTo>
                    <a:pt x="0" y="137642"/>
                  </a:lnTo>
                  <a:lnTo>
                    <a:pt x="7018" y="181151"/>
                  </a:lnTo>
                  <a:lnTo>
                    <a:pt x="26560" y="218938"/>
                  </a:lnTo>
                  <a:lnTo>
                    <a:pt x="56359" y="248737"/>
                  </a:lnTo>
                  <a:lnTo>
                    <a:pt x="94146" y="268279"/>
                  </a:lnTo>
                  <a:lnTo>
                    <a:pt x="137655" y="275297"/>
                  </a:lnTo>
                  <a:close/>
                </a:path>
              </a:pathLst>
            </a:custGeom>
            <a:ln w="12700">
              <a:solidFill>
                <a:srgbClr val="231F20"/>
              </a:solidFill>
            </a:ln>
          </p:spPr>
          <p:txBody>
            <a:bodyPr wrap="square" lIns="0" tIns="0" rIns="0" bIns="0" rtlCol="0"/>
            <a:lstStyle/>
            <a:p>
              <a:endParaRPr sz="649"/>
            </a:p>
          </p:txBody>
        </p:sp>
      </p:grpSp>
      <p:sp>
        <p:nvSpPr>
          <p:cNvPr id="44" name="object 44"/>
          <p:cNvSpPr txBox="1"/>
          <p:nvPr/>
        </p:nvSpPr>
        <p:spPr>
          <a:xfrm>
            <a:off x="3461820" y="3178384"/>
            <a:ext cx="76076" cy="139412"/>
          </a:xfrm>
          <a:prstGeom prst="rect">
            <a:avLst/>
          </a:prstGeom>
        </p:spPr>
        <p:txBody>
          <a:bodyPr vert="horz" wrap="square" lIns="0" tIns="6111" rIns="0" bIns="0" rtlCol="0">
            <a:spAutoFit/>
          </a:bodyPr>
          <a:lstStyle/>
          <a:p>
            <a:pPr marL="6110">
              <a:spcBef>
                <a:spcPts val="48"/>
              </a:spcBef>
            </a:pPr>
            <a:r>
              <a:rPr sz="866" b="1" spc="-51" dirty="0">
                <a:solidFill>
                  <a:srgbClr val="231F20"/>
                </a:solidFill>
                <a:latin typeface="Tahoma"/>
                <a:cs typeface="Tahoma"/>
              </a:rPr>
              <a:t>1</a:t>
            </a:r>
            <a:endParaRPr sz="866">
              <a:latin typeface="Tahoma"/>
              <a:cs typeface="Tahoma"/>
            </a:endParaRPr>
          </a:p>
        </p:txBody>
      </p:sp>
      <p:grpSp>
        <p:nvGrpSpPr>
          <p:cNvPr id="45" name="object 45"/>
          <p:cNvGrpSpPr/>
          <p:nvPr/>
        </p:nvGrpSpPr>
        <p:grpSpPr>
          <a:xfrm>
            <a:off x="3604751" y="776086"/>
            <a:ext cx="1892133" cy="1229444"/>
            <a:chOff x="1767948" y="1612994"/>
            <a:chExt cx="3932554" cy="2555240"/>
          </a:xfrm>
        </p:grpSpPr>
        <p:pic>
          <p:nvPicPr>
            <p:cNvPr id="46" name="object 46"/>
            <p:cNvPicPr/>
            <p:nvPr/>
          </p:nvPicPr>
          <p:blipFill>
            <a:blip r:embed="rId12" cstate="print"/>
            <a:stretch>
              <a:fillRect/>
            </a:stretch>
          </p:blipFill>
          <p:spPr>
            <a:xfrm>
              <a:off x="1767948" y="1864501"/>
              <a:ext cx="3932485" cy="2303712"/>
            </a:xfrm>
            <a:prstGeom prst="rect">
              <a:avLst/>
            </a:prstGeom>
          </p:spPr>
        </p:pic>
        <p:pic>
          <p:nvPicPr>
            <p:cNvPr id="47" name="object 47"/>
            <p:cNvPicPr/>
            <p:nvPr/>
          </p:nvPicPr>
          <p:blipFill>
            <a:blip r:embed="rId13" cstate="print"/>
            <a:stretch>
              <a:fillRect/>
            </a:stretch>
          </p:blipFill>
          <p:spPr>
            <a:xfrm>
              <a:off x="3590556" y="1616799"/>
              <a:ext cx="1094638" cy="818413"/>
            </a:xfrm>
            <a:prstGeom prst="rect">
              <a:avLst/>
            </a:prstGeom>
          </p:spPr>
        </p:pic>
        <p:sp>
          <p:nvSpPr>
            <p:cNvPr id="48" name="object 48"/>
            <p:cNvSpPr/>
            <p:nvPr/>
          </p:nvSpPr>
          <p:spPr>
            <a:xfrm>
              <a:off x="3590552" y="1616804"/>
              <a:ext cx="1094740" cy="818515"/>
            </a:xfrm>
            <a:custGeom>
              <a:avLst/>
              <a:gdLst/>
              <a:ahLst/>
              <a:cxnLst/>
              <a:rect l="l" t="t" r="r" b="b"/>
              <a:pathLst>
                <a:path w="1094739" h="818514">
                  <a:moveTo>
                    <a:pt x="810221" y="596176"/>
                  </a:moveTo>
                  <a:lnTo>
                    <a:pt x="808137" y="540282"/>
                  </a:lnTo>
                  <a:lnTo>
                    <a:pt x="802020" y="486003"/>
                  </a:lnTo>
                  <a:lnTo>
                    <a:pt x="792073" y="433613"/>
                  </a:lnTo>
                  <a:lnTo>
                    <a:pt x="778498" y="383387"/>
                  </a:lnTo>
                  <a:lnTo>
                    <a:pt x="761499" y="335600"/>
                  </a:lnTo>
                  <a:lnTo>
                    <a:pt x="741278" y="290527"/>
                  </a:lnTo>
                  <a:lnTo>
                    <a:pt x="718039" y="248442"/>
                  </a:lnTo>
                  <a:lnTo>
                    <a:pt x="691984" y="209621"/>
                  </a:lnTo>
                  <a:lnTo>
                    <a:pt x="663317" y="174338"/>
                  </a:lnTo>
                  <a:lnTo>
                    <a:pt x="632239" y="142867"/>
                  </a:lnTo>
                  <a:lnTo>
                    <a:pt x="598954" y="115485"/>
                  </a:lnTo>
                  <a:lnTo>
                    <a:pt x="563666" y="92464"/>
                  </a:lnTo>
                  <a:lnTo>
                    <a:pt x="526575" y="74081"/>
                  </a:lnTo>
                  <a:lnTo>
                    <a:pt x="487887" y="60611"/>
                  </a:lnTo>
                  <a:lnTo>
                    <a:pt x="447803" y="52327"/>
                  </a:lnTo>
                  <a:lnTo>
                    <a:pt x="406527" y="49504"/>
                  </a:lnTo>
                  <a:lnTo>
                    <a:pt x="367621" y="52356"/>
                  </a:lnTo>
                  <a:lnTo>
                    <a:pt x="329708" y="60700"/>
                  </a:lnTo>
                  <a:lnTo>
                    <a:pt x="292966" y="74224"/>
                  </a:lnTo>
                  <a:lnTo>
                    <a:pt x="257569" y="92611"/>
                  </a:lnTo>
                  <a:lnTo>
                    <a:pt x="223693" y="115548"/>
                  </a:lnTo>
                  <a:lnTo>
                    <a:pt x="191516" y="142721"/>
                  </a:lnTo>
                  <a:lnTo>
                    <a:pt x="161213" y="173813"/>
                  </a:lnTo>
                  <a:lnTo>
                    <a:pt x="132960" y="208512"/>
                  </a:lnTo>
                  <a:lnTo>
                    <a:pt x="106933" y="246502"/>
                  </a:lnTo>
                  <a:lnTo>
                    <a:pt x="83309" y="287469"/>
                  </a:lnTo>
                  <a:lnTo>
                    <a:pt x="62263" y="331098"/>
                  </a:lnTo>
                  <a:lnTo>
                    <a:pt x="43972" y="377074"/>
                  </a:lnTo>
                  <a:lnTo>
                    <a:pt x="28611" y="425084"/>
                  </a:lnTo>
                  <a:lnTo>
                    <a:pt x="16358" y="474813"/>
                  </a:lnTo>
                  <a:lnTo>
                    <a:pt x="7387" y="525945"/>
                  </a:lnTo>
                  <a:lnTo>
                    <a:pt x="1876" y="578167"/>
                  </a:lnTo>
                  <a:lnTo>
                    <a:pt x="0" y="631164"/>
                  </a:lnTo>
                  <a:lnTo>
                    <a:pt x="139014" y="546671"/>
                  </a:lnTo>
                  <a:lnTo>
                    <a:pt x="141098" y="490777"/>
                  </a:lnTo>
                  <a:lnTo>
                    <a:pt x="147215" y="436498"/>
                  </a:lnTo>
                  <a:lnTo>
                    <a:pt x="157162" y="384108"/>
                  </a:lnTo>
                  <a:lnTo>
                    <a:pt x="170737" y="333882"/>
                  </a:lnTo>
                  <a:lnTo>
                    <a:pt x="187736" y="286095"/>
                  </a:lnTo>
                  <a:lnTo>
                    <a:pt x="207957" y="241022"/>
                  </a:lnTo>
                  <a:lnTo>
                    <a:pt x="231196" y="198938"/>
                  </a:lnTo>
                  <a:lnTo>
                    <a:pt x="257251" y="160116"/>
                  </a:lnTo>
                  <a:lnTo>
                    <a:pt x="285918" y="124833"/>
                  </a:lnTo>
                  <a:lnTo>
                    <a:pt x="316996" y="93363"/>
                  </a:lnTo>
                  <a:lnTo>
                    <a:pt x="350281" y="65980"/>
                  </a:lnTo>
                  <a:lnTo>
                    <a:pt x="385570" y="42960"/>
                  </a:lnTo>
                  <a:lnTo>
                    <a:pt x="422660" y="24577"/>
                  </a:lnTo>
                  <a:lnTo>
                    <a:pt x="461348" y="11106"/>
                  </a:lnTo>
                  <a:lnTo>
                    <a:pt x="501432" y="2822"/>
                  </a:lnTo>
                  <a:lnTo>
                    <a:pt x="542709" y="0"/>
                  </a:lnTo>
                  <a:lnTo>
                    <a:pt x="583955" y="2585"/>
                  </a:lnTo>
                  <a:lnTo>
                    <a:pt x="623956" y="10201"/>
                  </a:lnTo>
                  <a:lnTo>
                    <a:pt x="662518" y="22634"/>
                  </a:lnTo>
                  <a:lnTo>
                    <a:pt x="699445" y="39670"/>
                  </a:lnTo>
                  <a:lnTo>
                    <a:pt x="734542" y="61096"/>
                  </a:lnTo>
                  <a:lnTo>
                    <a:pt x="767612" y="86700"/>
                  </a:lnTo>
                  <a:lnTo>
                    <a:pt x="798460" y="116269"/>
                  </a:lnTo>
                  <a:lnTo>
                    <a:pt x="826892" y="149588"/>
                  </a:lnTo>
                  <a:lnTo>
                    <a:pt x="852710" y="186446"/>
                  </a:lnTo>
                  <a:lnTo>
                    <a:pt x="875721" y="226628"/>
                  </a:lnTo>
                  <a:lnTo>
                    <a:pt x="895728" y="269923"/>
                  </a:lnTo>
                  <a:lnTo>
                    <a:pt x="912535" y="316116"/>
                  </a:lnTo>
                  <a:lnTo>
                    <a:pt x="925948" y="364995"/>
                  </a:lnTo>
                  <a:lnTo>
                    <a:pt x="935771" y="416346"/>
                  </a:lnTo>
                  <a:lnTo>
                    <a:pt x="941808" y="469957"/>
                  </a:lnTo>
                  <a:lnTo>
                    <a:pt x="943864" y="525614"/>
                  </a:lnTo>
                  <a:lnTo>
                    <a:pt x="1094651" y="435152"/>
                  </a:lnTo>
                  <a:lnTo>
                    <a:pt x="908037" y="818413"/>
                  </a:lnTo>
                  <a:lnTo>
                    <a:pt x="639292" y="709574"/>
                  </a:lnTo>
                  <a:lnTo>
                    <a:pt x="810221" y="596176"/>
                  </a:lnTo>
                  <a:close/>
                </a:path>
              </a:pathLst>
            </a:custGeom>
            <a:ln w="7620">
              <a:solidFill>
                <a:srgbClr val="E3873E"/>
              </a:solidFill>
            </a:ln>
          </p:spPr>
          <p:txBody>
            <a:bodyPr wrap="square" lIns="0" tIns="0" rIns="0" bIns="0" rtlCol="0"/>
            <a:lstStyle/>
            <a:p>
              <a:endParaRPr sz="649"/>
            </a:p>
          </p:txBody>
        </p:sp>
      </p:grpSp>
      <p:sp>
        <p:nvSpPr>
          <p:cNvPr id="49" name="object 49"/>
          <p:cNvSpPr txBox="1"/>
          <p:nvPr/>
        </p:nvSpPr>
        <p:spPr>
          <a:xfrm>
            <a:off x="3034303" y="704572"/>
            <a:ext cx="3077276" cy="829073"/>
          </a:xfrm>
          <a:prstGeom prst="rect">
            <a:avLst/>
          </a:prstGeom>
          <a:ln w="12700">
            <a:solidFill>
              <a:srgbClr val="231F20"/>
            </a:solidFill>
          </a:ln>
        </p:spPr>
        <p:txBody>
          <a:bodyPr vert="horz" wrap="square" lIns="0" tIns="0" rIns="0" bIns="0" rtlCol="0">
            <a:spAutoFit/>
          </a:bodyPr>
          <a:lstStyle/>
          <a:p>
            <a:pPr>
              <a:lnSpc>
                <a:spcPct val="100000"/>
              </a:lnSpc>
            </a:pPr>
            <a:endParaRPr sz="674">
              <a:latin typeface="Times New Roman"/>
              <a:cs typeface="Times New Roman"/>
            </a:endParaRPr>
          </a:p>
          <a:p>
            <a:pPr>
              <a:lnSpc>
                <a:spcPct val="100000"/>
              </a:lnSpc>
            </a:pPr>
            <a:endParaRPr sz="674">
              <a:latin typeface="Times New Roman"/>
              <a:cs typeface="Times New Roman"/>
            </a:endParaRPr>
          </a:p>
          <a:p>
            <a:pPr>
              <a:lnSpc>
                <a:spcPct val="100000"/>
              </a:lnSpc>
            </a:pPr>
            <a:endParaRPr sz="674">
              <a:latin typeface="Times New Roman"/>
              <a:cs typeface="Times New Roman"/>
            </a:endParaRPr>
          </a:p>
          <a:p>
            <a:pPr>
              <a:lnSpc>
                <a:spcPct val="100000"/>
              </a:lnSpc>
            </a:pPr>
            <a:endParaRPr sz="674">
              <a:latin typeface="Times New Roman"/>
              <a:cs typeface="Times New Roman"/>
            </a:endParaRPr>
          </a:p>
          <a:p>
            <a:pPr>
              <a:lnSpc>
                <a:spcPct val="100000"/>
              </a:lnSpc>
            </a:pPr>
            <a:endParaRPr sz="674">
              <a:latin typeface="Times New Roman"/>
              <a:cs typeface="Times New Roman"/>
            </a:endParaRPr>
          </a:p>
          <a:p>
            <a:pPr>
              <a:lnSpc>
                <a:spcPct val="100000"/>
              </a:lnSpc>
            </a:pPr>
            <a:endParaRPr sz="529">
              <a:latin typeface="Times New Roman"/>
              <a:cs typeface="Times New Roman"/>
            </a:endParaRPr>
          </a:p>
          <a:p>
            <a:pPr marR="460386" algn="r">
              <a:spcBef>
                <a:spcPts val="2"/>
              </a:spcBef>
            </a:pPr>
            <a:r>
              <a:rPr sz="577" b="1" spc="-34" dirty="0">
                <a:solidFill>
                  <a:srgbClr val="231F20"/>
                </a:solidFill>
                <a:latin typeface="Tahoma"/>
                <a:cs typeface="Tahoma"/>
              </a:rPr>
              <a:t>75</a:t>
            </a:r>
            <a:r>
              <a:rPr sz="577" b="1" spc="-29" dirty="0">
                <a:solidFill>
                  <a:srgbClr val="231F20"/>
                </a:solidFill>
                <a:latin typeface="Tahoma"/>
                <a:cs typeface="Tahoma"/>
              </a:rPr>
              <a:t> </a:t>
            </a:r>
            <a:r>
              <a:rPr sz="577" b="1" spc="-70" dirty="0">
                <a:solidFill>
                  <a:srgbClr val="231F20"/>
                </a:solidFill>
                <a:latin typeface="Tahoma"/>
                <a:cs typeface="Tahoma"/>
              </a:rPr>
              <a:t>mm</a:t>
            </a:r>
            <a:endParaRPr sz="577">
              <a:latin typeface="Tahoma"/>
              <a:cs typeface="Tahoma"/>
            </a:endParaRPr>
          </a:p>
          <a:p>
            <a:pPr marR="579836" algn="r">
              <a:spcBef>
                <a:spcPts val="414"/>
              </a:spcBef>
            </a:pPr>
            <a:r>
              <a:rPr sz="577" b="1" spc="-34" dirty="0">
                <a:solidFill>
                  <a:srgbClr val="231F20"/>
                </a:solidFill>
                <a:latin typeface="Tahoma"/>
                <a:cs typeface="Tahoma"/>
              </a:rPr>
              <a:t>50</a:t>
            </a:r>
            <a:r>
              <a:rPr sz="577" b="1" spc="-29" dirty="0">
                <a:solidFill>
                  <a:srgbClr val="231F20"/>
                </a:solidFill>
                <a:latin typeface="Tahoma"/>
                <a:cs typeface="Tahoma"/>
              </a:rPr>
              <a:t> </a:t>
            </a:r>
            <a:r>
              <a:rPr sz="577" b="1" spc="-70" dirty="0">
                <a:solidFill>
                  <a:srgbClr val="231F20"/>
                </a:solidFill>
                <a:latin typeface="Tahoma"/>
                <a:cs typeface="Tahoma"/>
              </a:rPr>
              <a:t>mm</a:t>
            </a:r>
            <a:endParaRPr sz="577">
              <a:latin typeface="Tahoma"/>
              <a:cs typeface="Tahoma"/>
            </a:endParaRPr>
          </a:p>
        </p:txBody>
      </p:sp>
      <p:grpSp>
        <p:nvGrpSpPr>
          <p:cNvPr id="50" name="object 50"/>
          <p:cNvGrpSpPr/>
          <p:nvPr/>
        </p:nvGrpSpPr>
        <p:grpSpPr>
          <a:xfrm>
            <a:off x="4973326" y="3006418"/>
            <a:ext cx="138710" cy="138710"/>
            <a:chOff x="4612354" y="6248452"/>
            <a:chExt cx="288290" cy="288290"/>
          </a:xfrm>
        </p:grpSpPr>
        <p:sp>
          <p:nvSpPr>
            <p:cNvPr id="51" name="object 51"/>
            <p:cNvSpPr/>
            <p:nvPr/>
          </p:nvSpPr>
          <p:spPr>
            <a:xfrm>
              <a:off x="4618704" y="6254802"/>
              <a:ext cx="275590" cy="275590"/>
            </a:xfrm>
            <a:custGeom>
              <a:avLst/>
              <a:gdLst/>
              <a:ahLst/>
              <a:cxnLst/>
              <a:rect l="l" t="t" r="r" b="b"/>
              <a:pathLst>
                <a:path w="275589" h="275590">
                  <a:moveTo>
                    <a:pt x="137655" y="0"/>
                  </a:moveTo>
                  <a:lnTo>
                    <a:pt x="94146" y="7016"/>
                  </a:lnTo>
                  <a:lnTo>
                    <a:pt x="56359" y="26555"/>
                  </a:lnTo>
                  <a:lnTo>
                    <a:pt x="26560" y="56350"/>
                  </a:lnTo>
                  <a:lnTo>
                    <a:pt x="7018" y="94135"/>
                  </a:lnTo>
                  <a:lnTo>
                    <a:pt x="0" y="137642"/>
                  </a:lnTo>
                  <a:lnTo>
                    <a:pt x="7018" y="181151"/>
                  </a:lnTo>
                  <a:lnTo>
                    <a:pt x="26560" y="218938"/>
                  </a:lnTo>
                  <a:lnTo>
                    <a:pt x="56359" y="248737"/>
                  </a:lnTo>
                  <a:lnTo>
                    <a:pt x="94146" y="268279"/>
                  </a:lnTo>
                  <a:lnTo>
                    <a:pt x="137655" y="275297"/>
                  </a:lnTo>
                  <a:lnTo>
                    <a:pt x="181163" y="268279"/>
                  </a:lnTo>
                  <a:lnTo>
                    <a:pt x="218951" y="248737"/>
                  </a:lnTo>
                  <a:lnTo>
                    <a:pt x="248750" y="218938"/>
                  </a:lnTo>
                  <a:lnTo>
                    <a:pt x="268292" y="181151"/>
                  </a:lnTo>
                  <a:lnTo>
                    <a:pt x="275310" y="137642"/>
                  </a:lnTo>
                  <a:lnTo>
                    <a:pt x="268292" y="94135"/>
                  </a:lnTo>
                  <a:lnTo>
                    <a:pt x="248750" y="56350"/>
                  </a:lnTo>
                  <a:lnTo>
                    <a:pt x="218951" y="26555"/>
                  </a:lnTo>
                  <a:lnTo>
                    <a:pt x="181163" y="7016"/>
                  </a:lnTo>
                  <a:lnTo>
                    <a:pt x="137655" y="0"/>
                  </a:lnTo>
                  <a:close/>
                </a:path>
              </a:pathLst>
            </a:custGeom>
            <a:solidFill>
              <a:srgbClr val="FFFFFF"/>
            </a:solidFill>
          </p:spPr>
          <p:txBody>
            <a:bodyPr wrap="square" lIns="0" tIns="0" rIns="0" bIns="0" rtlCol="0"/>
            <a:lstStyle/>
            <a:p>
              <a:endParaRPr sz="649"/>
            </a:p>
          </p:txBody>
        </p:sp>
        <p:sp>
          <p:nvSpPr>
            <p:cNvPr id="52" name="object 52"/>
            <p:cNvSpPr/>
            <p:nvPr/>
          </p:nvSpPr>
          <p:spPr>
            <a:xfrm>
              <a:off x="4618704" y="6254802"/>
              <a:ext cx="275590" cy="275590"/>
            </a:xfrm>
            <a:custGeom>
              <a:avLst/>
              <a:gdLst/>
              <a:ahLst/>
              <a:cxnLst/>
              <a:rect l="l" t="t" r="r" b="b"/>
              <a:pathLst>
                <a:path w="275589" h="275590">
                  <a:moveTo>
                    <a:pt x="137655" y="275297"/>
                  </a:moveTo>
                  <a:lnTo>
                    <a:pt x="181163" y="268279"/>
                  </a:lnTo>
                  <a:lnTo>
                    <a:pt x="218951" y="248737"/>
                  </a:lnTo>
                  <a:lnTo>
                    <a:pt x="248750" y="218938"/>
                  </a:lnTo>
                  <a:lnTo>
                    <a:pt x="268292" y="181151"/>
                  </a:lnTo>
                  <a:lnTo>
                    <a:pt x="275310" y="137642"/>
                  </a:lnTo>
                  <a:lnTo>
                    <a:pt x="268292" y="94135"/>
                  </a:lnTo>
                  <a:lnTo>
                    <a:pt x="248750" y="56350"/>
                  </a:lnTo>
                  <a:lnTo>
                    <a:pt x="218951" y="26555"/>
                  </a:lnTo>
                  <a:lnTo>
                    <a:pt x="181163" y="7016"/>
                  </a:lnTo>
                  <a:lnTo>
                    <a:pt x="137655" y="0"/>
                  </a:lnTo>
                  <a:lnTo>
                    <a:pt x="94146" y="7016"/>
                  </a:lnTo>
                  <a:lnTo>
                    <a:pt x="56359" y="26555"/>
                  </a:lnTo>
                  <a:lnTo>
                    <a:pt x="26560" y="56350"/>
                  </a:lnTo>
                  <a:lnTo>
                    <a:pt x="7018" y="94135"/>
                  </a:lnTo>
                  <a:lnTo>
                    <a:pt x="0" y="137642"/>
                  </a:lnTo>
                  <a:lnTo>
                    <a:pt x="7018" y="181151"/>
                  </a:lnTo>
                  <a:lnTo>
                    <a:pt x="26560" y="218938"/>
                  </a:lnTo>
                  <a:lnTo>
                    <a:pt x="56359" y="248737"/>
                  </a:lnTo>
                  <a:lnTo>
                    <a:pt x="94146" y="268279"/>
                  </a:lnTo>
                  <a:lnTo>
                    <a:pt x="137655" y="275297"/>
                  </a:lnTo>
                  <a:close/>
                </a:path>
              </a:pathLst>
            </a:custGeom>
            <a:ln w="12700">
              <a:solidFill>
                <a:srgbClr val="231F20"/>
              </a:solidFill>
            </a:ln>
          </p:spPr>
          <p:txBody>
            <a:bodyPr wrap="square" lIns="0" tIns="0" rIns="0" bIns="0" rtlCol="0"/>
            <a:lstStyle/>
            <a:p>
              <a:endParaRPr sz="649"/>
            </a:p>
          </p:txBody>
        </p:sp>
      </p:grpSp>
      <p:sp>
        <p:nvSpPr>
          <p:cNvPr id="53" name="object 53"/>
          <p:cNvSpPr txBox="1"/>
          <p:nvPr/>
        </p:nvSpPr>
        <p:spPr>
          <a:xfrm>
            <a:off x="5004607" y="2999542"/>
            <a:ext cx="76076" cy="139412"/>
          </a:xfrm>
          <a:prstGeom prst="rect">
            <a:avLst/>
          </a:prstGeom>
        </p:spPr>
        <p:txBody>
          <a:bodyPr vert="horz" wrap="square" lIns="0" tIns="6111" rIns="0" bIns="0" rtlCol="0">
            <a:spAutoFit/>
          </a:bodyPr>
          <a:lstStyle/>
          <a:p>
            <a:pPr marL="6110">
              <a:spcBef>
                <a:spcPts val="48"/>
              </a:spcBef>
            </a:pPr>
            <a:r>
              <a:rPr sz="866" b="1" spc="-51" dirty="0">
                <a:solidFill>
                  <a:srgbClr val="231F20"/>
                </a:solidFill>
                <a:latin typeface="Tahoma"/>
                <a:cs typeface="Tahoma"/>
              </a:rPr>
              <a:t>3</a:t>
            </a:r>
            <a:endParaRPr sz="866">
              <a:latin typeface="Tahoma"/>
              <a:cs typeface="Tahoma"/>
            </a:endParaRPr>
          </a:p>
        </p:txBody>
      </p:sp>
      <p:sp>
        <p:nvSpPr>
          <p:cNvPr id="54" name="object 54"/>
          <p:cNvSpPr txBox="1">
            <a:spLocks noGrp="1"/>
          </p:cNvSpPr>
          <p:nvPr>
            <p:ph type="ftr" sz="quarter" idx="5"/>
          </p:nvPr>
        </p:nvSpPr>
        <p:spPr>
          <a:xfrm>
            <a:off x="3127618" y="2350430"/>
            <a:ext cx="2236362" cy="82189"/>
          </a:xfrm>
          <a:prstGeom prst="rect">
            <a:avLst/>
          </a:prstGeom>
        </p:spPr>
        <p:txBody>
          <a:bodyPr vert="horz" wrap="square" lIns="0" tIns="5194" rIns="0" bIns="0" rtlCol="0" anchor="ctr">
            <a:spAutoFit/>
          </a:bodyPr>
          <a:lstStyle/>
          <a:p>
            <a:pPr marL="6110">
              <a:spcBef>
                <a:spcPts val="41"/>
              </a:spcBef>
            </a:pPr>
            <a:r>
              <a:rPr spc="-19" dirty="0"/>
              <a:t>S</a:t>
            </a:r>
            <a:r>
              <a:rPr spc="2" dirty="0"/>
              <a:t>t</a:t>
            </a:r>
            <a:r>
              <a:rPr spc="-7" dirty="0"/>
              <a:t>r</a:t>
            </a:r>
            <a:r>
              <a:rPr spc="-5" dirty="0"/>
              <a:t>essless</a:t>
            </a:r>
            <a:r>
              <a:rPr sz="397" spc="-21" baseline="35353" dirty="0"/>
              <a:t>®</a:t>
            </a:r>
            <a:r>
              <a:rPr sz="397" spc="58" baseline="35353" dirty="0"/>
              <a:t> </a:t>
            </a:r>
            <a:r>
              <a:rPr sz="481" spc="70" dirty="0"/>
              <a:t>M</a:t>
            </a:r>
            <a:r>
              <a:rPr sz="481" spc="2" dirty="0"/>
              <a:t>i</a:t>
            </a:r>
            <a:r>
              <a:rPr sz="481" spc="-10" dirty="0"/>
              <a:t>k</a:t>
            </a:r>
            <a:r>
              <a:rPr sz="481" dirty="0"/>
              <a:t>e</a:t>
            </a:r>
            <a:r>
              <a:rPr sz="481" spc="-29" dirty="0"/>
              <a:t> </a:t>
            </a:r>
            <a:r>
              <a:rPr sz="481" spc="-5" dirty="0"/>
              <a:t>and</a:t>
            </a:r>
            <a:r>
              <a:rPr sz="481" spc="-29" dirty="0"/>
              <a:t> </a:t>
            </a:r>
            <a:r>
              <a:rPr sz="481" spc="67" dirty="0"/>
              <a:t>M</a:t>
            </a:r>
            <a:r>
              <a:rPr sz="481" spc="-7" dirty="0"/>
              <a:t>ax</a:t>
            </a:r>
            <a:endParaRPr sz="481"/>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3561709" y="2407420"/>
            <a:ext cx="2087060" cy="2135334"/>
            <a:chOff x="1678489" y="5003511"/>
            <a:chExt cx="4337685" cy="4438015"/>
          </a:xfrm>
        </p:grpSpPr>
        <p:sp>
          <p:nvSpPr>
            <p:cNvPr id="3" name="object 3"/>
            <p:cNvSpPr/>
            <p:nvPr/>
          </p:nvSpPr>
          <p:spPr>
            <a:xfrm>
              <a:off x="3215792" y="7014993"/>
              <a:ext cx="1064260" cy="291465"/>
            </a:xfrm>
            <a:custGeom>
              <a:avLst/>
              <a:gdLst/>
              <a:ahLst/>
              <a:cxnLst/>
              <a:rect l="l" t="t" r="r" b="b"/>
              <a:pathLst>
                <a:path w="1064260" h="291465">
                  <a:moveTo>
                    <a:pt x="0" y="290982"/>
                  </a:moveTo>
                  <a:lnTo>
                    <a:pt x="59876" y="290776"/>
                  </a:lnTo>
                  <a:lnTo>
                    <a:pt x="120845" y="287871"/>
                  </a:lnTo>
                  <a:lnTo>
                    <a:pt x="182575" y="282489"/>
                  </a:lnTo>
                  <a:lnTo>
                    <a:pt x="244731" y="274855"/>
                  </a:lnTo>
                  <a:lnTo>
                    <a:pt x="306981" y="265193"/>
                  </a:lnTo>
                  <a:lnTo>
                    <a:pt x="368993" y="253728"/>
                  </a:lnTo>
                  <a:lnTo>
                    <a:pt x="430432" y="240683"/>
                  </a:lnTo>
                  <a:lnTo>
                    <a:pt x="490967" y="226282"/>
                  </a:lnTo>
                  <a:lnTo>
                    <a:pt x="550264" y="210751"/>
                  </a:lnTo>
                  <a:lnTo>
                    <a:pt x="607990" y="194311"/>
                  </a:lnTo>
                  <a:lnTo>
                    <a:pt x="663812" y="177189"/>
                  </a:lnTo>
                  <a:lnTo>
                    <a:pt x="717397" y="159607"/>
                  </a:lnTo>
                  <a:lnTo>
                    <a:pt x="768413" y="141790"/>
                  </a:lnTo>
                  <a:lnTo>
                    <a:pt x="816526" y="123963"/>
                  </a:lnTo>
                  <a:lnTo>
                    <a:pt x="861403" y="106348"/>
                  </a:lnTo>
                  <a:lnTo>
                    <a:pt x="902712" y="89171"/>
                  </a:lnTo>
                  <a:lnTo>
                    <a:pt x="940119" y="72655"/>
                  </a:lnTo>
                  <a:lnTo>
                    <a:pt x="1001896" y="42504"/>
                  </a:lnTo>
                  <a:lnTo>
                    <a:pt x="1044071" y="17688"/>
                  </a:lnTo>
                  <a:lnTo>
                    <a:pt x="1056975" y="7841"/>
                  </a:lnTo>
                  <a:lnTo>
                    <a:pt x="1063980" y="0"/>
                  </a:lnTo>
                </a:path>
              </a:pathLst>
            </a:custGeom>
            <a:ln w="38100">
              <a:solidFill>
                <a:srgbClr val="231F20"/>
              </a:solidFill>
            </a:ln>
          </p:spPr>
          <p:txBody>
            <a:bodyPr wrap="square" lIns="0" tIns="0" rIns="0" bIns="0" rtlCol="0"/>
            <a:lstStyle/>
            <a:p>
              <a:endParaRPr sz="649"/>
            </a:p>
          </p:txBody>
        </p:sp>
        <p:sp>
          <p:nvSpPr>
            <p:cNvPr id="4" name="object 4"/>
            <p:cNvSpPr/>
            <p:nvPr/>
          </p:nvSpPr>
          <p:spPr>
            <a:xfrm>
              <a:off x="3894983" y="6832800"/>
              <a:ext cx="1466850" cy="445770"/>
            </a:xfrm>
            <a:custGeom>
              <a:avLst/>
              <a:gdLst/>
              <a:ahLst/>
              <a:cxnLst/>
              <a:rect l="l" t="t" r="r" b="b"/>
              <a:pathLst>
                <a:path w="1466850" h="445770">
                  <a:moveTo>
                    <a:pt x="792203" y="0"/>
                  </a:moveTo>
                  <a:lnTo>
                    <a:pt x="674068" y="59855"/>
                  </a:lnTo>
                  <a:lnTo>
                    <a:pt x="674068" y="320382"/>
                  </a:lnTo>
                  <a:lnTo>
                    <a:pt x="673725" y="321983"/>
                  </a:lnTo>
                  <a:lnTo>
                    <a:pt x="1285" y="383857"/>
                  </a:lnTo>
                  <a:lnTo>
                    <a:pt x="160" y="383818"/>
                  </a:lnTo>
                  <a:lnTo>
                    <a:pt x="0" y="390213"/>
                  </a:lnTo>
                  <a:lnTo>
                    <a:pt x="996" y="408810"/>
                  </a:lnTo>
                  <a:lnTo>
                    <a:pt x="3343" y="445376"/>
                  </a:lnTo>
                  <a:lnTo>
                    <a:pt x="1466840" y="445376"/>
                  </a:lnTo>
                  <a:lnTo>
                    <a:pt x="1466840" y="383857"/>
                  </a:lnTo>
                  <a:lnTo>
                    <a:pt x="794781" y="320941"/>
                  </a:lnTo>
                  <a:lnTo>
                    <a:pt x="793308" y="317131"/>
                  </a:lnTo>
                  <a:lnTo>
                    <a:pt x="792203" y="0"/>
                  </a:lnTo>
                  <a:close/>
                </a:path>
              </a:pathLst>
            </a:custGeom>
            <a:solidFill>
              <a:srgbClr val="FFFFFF"/>
            </a:solidFill>
          </p:spPr>
          <p:txBody>
            <a:bodyPr wrap="square" lIns="0" tIns="0" rIns="0" bIns="0" rtlCol="0"/>
            <a:lstStyle/>
            <a:p>
              <a:endParaRPr sz="649"/>
            </a:p>
          </p:txBody>
        </p:sp>
        <p:sp>
          <p:nvSpPr>
            <p:cNvPr id="5" name="object 5"/>
            <p:cNvSpPr/>
            <p:nvPr/>
          </p:nvSpPr>
          <p:spPr>
            <a:xfrm>
              <a:off x="3894983" y="6832800"/>
              <a:ext cx="1466850" cy="445770"/>
            </a:xfrm>
            <a:custGeom>
              <a:avLst/>
              <a:gdLst/>
              <a:ahLst/>
              <a:cxnLst/>
              <a:rect l="l" t="t" r="r" b="b"/>
              <a:pathLst>
                <a:path w="1466850" h="445770">
                  <a:moveTo>
                    <a:pt x="792203" y="0"/>
                  </a:moveTo>
                  <a:lnTo>
                    <a:pt x="793308" y="317131"/>
                  </a:lnTo>
                  <a:lnTo>
                    <a:pt x="794781" y="320941"/>
                  </a:lnTo>
                  <a:lnTo>
                    <a:pt x="1466840" y="383857"/>
                  </a:lnTo>
                  <a:lnTo>
                    <a:pt x="1466840" y="445376"/>
                  </a:lnTo>
                  <a:lnTo>
                    <a:pt x="3343" y="445376"/>
                  </a:lnTo>
                  <a:lnTo>
                    <a:pt x="996" y="408810"/>
                  </a:lnTo>
                  <a:lnTo>
                    <a:pt x="0" y="390213"/>
                  </a:lnTo>
                  <a:lnTo>
                    <a:pt x="160" y="383818"/>
                  </a:lnTo>
                  <a:lnTo>
                    <a:pt x="1285" y="383857"/>
                  </a:lnTo>
                  <a:lnTo>
                    <a:pt x="673725" y="321983"/>
                  </a:lnTo>
                  <a:lnTo>
                    <a:pt x="674068" y="320382"/>
                  </a:lnTo>
                  <a:lnTo>
                    <a:pt x="674068" y="59855"/>
                  </a:lnTo>
                </a:path>
              </a:pathLst>
            </a:custGeom>
            <a:ln w="12700">
              <a:solidFill>
                <a:srgbClr val="231F20"/>
              </a:solidFill>
            </a:ln>
          </p:spPr>
          <p:txBody>
            <a:bodyPr wrap="square" lIns="0" tIns="0" rIns="0" bIns="0" rtlCol="0"/>
            <a:lstStyle/>
            <a:p>
              <a:endParaRPr sz="649"/>
            </a:p>
          </p:txBody>
        </p:sp>
        <p:sp>
          <p:nvSpPr>
            <p:cNvPr id="6" name="object 6"/>
            <p:cNvSpPr/>
            <p:nvPr/>
          </p:nvSpPr>
          <p:spPr>
            <a:xfrm>
              <a:off x="5318193" y="6362972"/>
              <a:ext cx="311150" cy="830580"/>
            </a:xfrm>
            <a:custGeom>
              <a:avLst/>
              <a:gdLst/>
              <a:ahLst/>
              <a:cxnLst/>
              <a:rect l="l" t="t" r="r" b="b"/>
              <a:pathLst>
                <a:path w="311150" h="830579">
                  <a:moveTo>
                    <a:pt x="62928" y="0"/>
                  </a:moveTo>
                  <a:lnTo>
                    <a:pt x="0" y="189077"/>
                  </a:lnTo>
                  <a:lnTo>
                    <a:pt x="6616" y="187248"/>
                  </a:lnTo>
                  <a:lnTo>
                    <a:pt x="23865" y="197379"/>
                  </a:lnTo>
                  <a:lnTo>
                    <a:pt x="73832" y="271446"/>
                  </a:lnTo>
                  <a:lnTo>
                    <a:pt x="102786" y="325293"/>
                  </a:lnTo>
                  <a:lnTo>
                    <a:pt x="131876" y="383621"/>
                  </a:lnTo>
                  <a:lnTo>
                    <a:pt x="159220" y="441387"/>
                  </a:lnTo>
                  <a:lnTo>
                    <a:pt x="182936" y="493544"/>
                  </a:lnTo>
                  <a:lnTo>
                    <a:pt x="201140" y="535049"/>
                  </a:lnTo>
                  <a:lnTo>
                    <a:pt x="211950" y="560857"/>
                  </a:lnTo>
                  <a:lnTo>
                    <a:pt x="206679" y="600276"/>
                  </a:lnTo>
                  <a:lnTo>
                    <a:pt x="175855" y="642302"/>
                  </a:lnTo>
                  <a:lnTo>
                    <a:pt x="140761" y="682490"/>
                  </a:lnTo>
                  <a:lnTo>
                    <a:pt x="122682" y="716394"/>
                  </a:lnTo>
                  <a:lnTo>
                    <a:pt x="125431" y="747944"/>
                  </a:lnTo>
                  <a:lnTo>
                    <a:pt x="136813" y="780727"/>
                  </a:lnTo>
                  <a:lnTo>
                    <a:pt x="154068" y="809807"/>
                  </a:lnTo>
                  <a:lnTo>
                    <a:pt x="174434" y="830249"/>
                  </a:lnTo>
                  <a:lnTo>
                    <a:pt x="191044" y="822941"/>
                  </a:lnTo>
                  <a:lnTo>
                    <a:pt x="214501" y="790190"/>
                  </a:lnTo>
                  <a:lnTo>
                    <a:pt x="241266" y="740609"/>
                  </a:lnTo>
                  <a:lnTo>
                    <a:pt x="267798" y="682809"/>
                  </a:lnTo>
                  <a:lnTo>
                    <a:pt x="290558" y="625404"/>
                  </a:lnTo>
                  <a:lnTo>
                    <a:pt x="306006" y="577006"/>
                  </a:lnTo>
                  <a:lnTo>
                    <a:pt x="310603" y="546226"/>
                  </a:lnTo>
                  <a:lnTo>
                    <a:pt x="308135" y="530183"/>
                  </a:lnTo>
                  <a:lnTo>
                    <a:pt x="294731" y="467053"/>
                  </a:lnTo>
                  <a:lnTo>
                    <a:pt x="283831" y="423578"/>
                  </a:lnTo>
                  <a:lnTo>
                    <a:pt x="270156" y="374570"/>
                  </a:lnTo>
                  <a:lnTo>
                    <a:pt x="253723" y="321835"/>
                  </a:lnTo>
                  <a:lnTo>
                    <a:pt x="234549" y="267179"/>
                  </a:lnTo>
                  <a:lnTo>
                    <a:pt x="212652" y="212407"/>
                  </a:lnTo>
                  <a:lnTo>
                    <a:pt x="188049" y="159324"/>
                  </a:lnTo>
                  <a:lnTo>
                    <a:pt x="160758" y="109737"/>
                  </a:lnTo>
                  <a:lnTo>
                    <a:pt x="130796" y="65450"/>
                  </a:lnTo>
                  <a:lnTo>
                    <a:pt x="98180" y="28269"/>
                  </a:lnTo>
                  <a:lnTo>
                    <a:pt x="62928" y="0"/>
                  </a:lnTo>
                  <a:close/>
                </a:path>
              </a:pathLst>
            </a:custGeom>
            <a:solidFill>
              <a:srgbClr val="BCBEC0"/>
            </a:solidFill>
          </p:spPr>
          <p:txBody>
            <a:bodyPr wrap="square" lIns="0" tIns="0" rIns="0" bIns="0" rtlCol="0"/>
            <a:lstStyle/>
            <a:p>
              <a:endParaRPr sz="649"/>
            </a:p>
          </p:txBody>
        </p:sp>
        <p:sp>
          <p:nvSpPr>
            <p:cNvPr id="7" name="object 7"/>
            <p:cNvSpPr/>
            <p:nvPr/>
          </p:nvSpPr>
          <p:spPr>
            <a:xfrm>
              <a:off x="5318193" y="6362972"/>
              <a:ext cx="311150" cy="830580"/>
            </a:xfrm>
            <a:custGeom>
              <a:avLst/>
              <a:gdLst/>
              <a:ahLst/>
              <a:cxnLst/>
              <a:rect l="l" t="t" r="r" b="b"/>
              <a:pathLst>
                <a:path w="311150" h="830579">
                  <a:moveTo>
                    <a:pt x="0" y="189077"/>
                  </a:moveTo>
                  <a:lnTo>
                    <a:pt x="46897" y="227127"/>
                  </a:lnTo>
                  <a:lnTo>
                    <a:pt x="73832" y="271446"/>
                  </a:lnTo>
                  <a:lnTo>
                    <a:pt x="102786" y="325293"/>
                  </a:lnTo>
                  <a:lnTo>
                    <a:pt x="131876" y="383621"/>
                  </a:lnTo>
                  <a:lnTo>
                    <a:pt x="159220" y="441387"/>
                  </a:lnTo>
                  <a:lnTo>
                    <a:pt x="182936" y="493544"/>
                  </a:lnTo>
                  <a:lnTo>
                    <a:pt x="201140" y="535049"/>
                  </a:lnTo>
                  <a:lnTo>
                    <a:pt x="211950" y="560857"/>
                  </a:lnTo>
                  <a:lnTo>
                    <a:pt x="206679" y="600276"/>
                  </a:lnTo>
                  <a:lnTo>
                    <a:pt x="175855" y="642302"/>
                  </a:lnTo>
                  <a:lnTo>
                    <a:pt x="140761" y="682490"/>
                  </a:lnTo>
                  <a:lnTo>
                    <a:pt x="122682" y="716394"/>
                  </a:lnTo>
                  <a:lnTo>
                    <a:pt x="125431" y="747944"/>
                  </a:lnTo>
                  <a:lnTo>
                    <a:pt x="136813" y="780727"/>
                  </a:lnTo>
                  <a:lnTo>
                    <a:pt x="154068" y="809807"/>
                  </a:lnTo>
                  <a:lnTo>
                    <a:pt x="174434" y="830249"/>
                  </a:lnTo>
                  <a:lnTo>
                    <a:pt x="191044" y="822941"/>
                  </a:lnTo>
                  <a:lnTo>
                    <a:pt x="214501" y="790190"/>
                  </a:lnTo>
                  <a:lnTo>
                    <a:pt x="241266" y="740609"/>
                  </a:lnTo>
                  <a:lnTo>
                    <a:pt x="267798" y="682809"/>
                  </a:lnTo>
                  <a:lnTo>
                    <a:pt x="290558" y="625404"/>
                  </a:lnTo>
                  <a:lnTo>
                    <a:pt x="306006" y="577006"/>
                  </a:lnTo>
                  <a:lnTo>
                    <a:pt x="310603" y="546226"/>
                  </a:lnTo>
                  <a:lnTo>
                    <a:pt x="308135" y="530183"/>
                  </a:lnTo>
                  <a:lnTo>
                    <a:pt x="294731" y="467053"/>
                  </a:lnTo>
                  <a:lnTo>
                    <a:pt x="283831" y="423578"/>
                  </a:lnTo>
                  <a:lnTo>
                    <a:pt x="270156" y="374570"/>
                  </a:lnTo>
                  <a:lnTo>
                    <a:pt x="253723" y="321835"/>
                  </a:lnTo>
                  <a:lnTo>
                    <a:pt x="234549" y="267179"/>
                  </a:lnTo>
                  <a:lnTo>
                    <a:pt x="212652" y="212407"/>
                  </a:lnTo>
                  <a:lnTo>
                    <a:pt x="188049" y="159324"/>
                  </a:lnTo>
                  <a:lnTo>
                    <a:pt x="160758" y="109737"/>
                  </a:lnTo>
                  <a:lnTo>
                    <a:pt x="130796" y="65450"/>
                  </a:lnTo>
                  <a:lnTo>
                    <a:pt x="98180" y="28269"/>
                  </a:lnTo>
                  <a:lnTo>
                    <a:pt x="62928" y="0"/>
                  </a:lnTo>
                </a:path>
              </a:pathLst>
            </a:custGeom>
            <a:ln w="12700">
              <a:solidFill>
                <a:srgbClr val="231F20"/>
              </a:solidFill>
              <a:prstDash val="dash"/>
            </a:ln>
          </p:spPr>
          <p:txBody>
            <a:bodyPr wrap="square" lIns="0" tIns="0" rIns="0" bIns="0" rtlCol="0"/>
            <a:lstStyle/>
            <a:p>
              <a:endParaRPr sz="649"/>
            </a:p>
          </p:txBody>
        </p:sp>
        <p:sp>
          <p:nvSpPr>
            <p:cNvPr id="8" name="object 8"/>
            <p:cNvSpPr/>
            <p:nvPr/>
          </p:nvSpPr>
          <p:spPr>
            <a:xfrm>
              <a:off x="3623864" y="5016211"/>
              <a:ext cx="1863725" cy="2049780"/>
            </a:xfrm>
            <a:custGeom>
              <a:avLst/>
              <a:gdLst/>
              <a:ahLst/>
              <a:cxnLst/>
              <a:rect l="l" t="t" r="r" b="b"/>
              <a:pathLst>
                <a:path w="1863725" h="2049779">
                  <a:moveTo>
                    <a:pt x="90579" y="0"/>
                  </a:moveTo>
                  <a:lnTo>
                    <a:pt x="39500" y="9728"/>
                  </a:lnTo>
                  <a:lnTo>
                    <a:pt x="10791" y="31040"/>
                  </a:lnTo>
                  <a:lnTo>
                    <a:pt x="1649" y="59494"/>
                  </a:lnTo>
                  <a:lnTo>
                    <a:pt x="0" y="90862"/>
                  </a:lnTo>
                  <a:lnTo>
                    <a:pt x="3480" y="126218"/>
                  </a:lnTo>
                  <a:lnTo>
                    <a:pt x="9725" y="166638"/>
                  </a:lnTo>
                  <a:lnTo>
                    <a:pt x="30246" y="254874"/>
                  </a:lnTo>
                  <a:lnTo>
                    <a:pt x="46968" y="317097"/>
                  </a:lnTo>
                  <a:lnTo>
                    <a:pt x="65270" y="381664"/>
                  </a:lnTo>
                  <a:lnTo>
                    <a:pt x="83107" y="441280"/>
                  </a:lnTo>
                  <a:lnTo>
                    <a:pt x="98433" y="488652"/>
                  </a:lnTo>
                  <a:lnTo>
                    <a:pt x="120324" y="538141"/>
                  </a:lnTo>
                  <a:lnTo>
                    <a:pt x="163928" y="589433"/>
                  </a:lnTo>
                  <a:lnTo>
                    <a:pt x="158839" y="595103"/>
                  </a:lnTo>
                  <a:lnTo>
                    <a:pt x="149012" y="611451"/>
                  </a:lnTo>
                  <a:lnTo>
                    <a:pt x="142604" y="637488"/>
                  </a:lnTo>
                  <a:lnTo>
                    <a:pt x="147774" y="672225"/>
                  </a:lnTo>
                  <a:lnTo>
                    <a:pt x="374020" y="1333990"/>
                  </a:lnTo>
                  <a:lnTo>
                    <a:pt x="464118" y="1594019"/>
                  </a:lnTo>
                  <a:lnTo>
                    <a:pt x="523044" y="1761205"/>
                  </a:lnTo>
                  <a:lnTo>
                    <a:pt x="554930" y="1849503"/>
                  </a:lnTo>
                  <a:lnTo>
                    <a:pt x="578856" y="1913111"/>
                  </a:lnTo>
                  <a:lnTo>
                    <a:pt x="625606" y="1988195"/>
                  </a:lnTo>
                  <a:lnTo>
                    <a:pt x="688737" y="2006971"/>
                  </a:lnTo>
                  <a:lnTo>
                    <a:pt x="706447" y="2003744"/>
                  </a:lnTo>
                  <a:lnTo>
                    <a:pt x="784568" y="1983107"/>
                  </a:lnTo>
                  <a:lnTo>
                    <a:pt x="951999" y="1937938"/>
                  </a:lnTo>
                  <a:lnTo>
                    <a:pt x="1081490" y="1902260"/>
                  </a:lnTo>
                  <a:lnTo>
                    <a:pt x="1212774" y="1865260"/>
                  </a:lnTo>
                  <a:lnTo>
                    <a:pt x="1275740" y="1847103"/>
                  </a:lnTo>
                  <a:lnTo>
                    <a:pt x="1335135" y="1829620"/>
                  </a:lnTo>
                  <a:lnTo>
                    <a:pt x="1389620" y="1813149"/>
                  </a:lnTo>
                  <a:lnTo>
                    <a:pt x="1437856" y="1798022"/>
                  </a:lnTo>
                  <a:lnTo>
                    <a:pt x="1478502" y="1784577"/>
                  </a:lnTo>
                  <a:lnTo>
                    <a:pt x="1531669" y="1764071"/>
                  </a:lnTo>
                  <a:lnTo>
                    <a:pt x="1564512" y="1721602"/>
                  </a:lnTo>
                  <a:lnTo>
                    <a:pt x="1597528" y="1666840"/>
                  </a:lnTo>
                  <a:lnTo>
                    <a:pt x="1634324" y="1607933"/>
                  </a:lnTo>
                  <a:lnTo>
                    <a:pt x="1668669" y="1559420"/>
                  </a:lnTo>
                  <a:lnTo>
                    <a:pt x="1694329" y="1535837"/>
                  </a:lnTo>
                  <a:lnTo>
                    <a:pt x="1695776" y="1555786"/>
                  </a:lnTo>
                  <a:lnTo>
                    <a:pt x="1663163" y="1638967"/>
                  </a:lnTo>
                  <a:lnTo>
                    <a:pt x="1635271" y="1693371"/>
                  </a:lnTo>
                  <a:lnTo>
                    <a:pt x="1603767" y="1750432"/>
                  </a:lnTo>
                  <a:lnTo>
                    <a:pt x="1571735" y="1805737"/>
                  </a:lnTo>
                  <a:lnTo>
                    <a:pt x="1542259" y="1854872"/>
                  </a:lnTo>
                  <a:lnTo>
                    <a:pt x="1518422" y="1893423"/>
                  </a:lnTo>
                  <a:lnTo>
                    <a:pt x="1467865" y="1935007"/>
                  </a:lnTo>
                  <a:lnTo>
                    <a:pt x="1415770" y="1933486"/>
                  </a:lnTo>
                  <a:lnTo>
                    <a:pt x="1362765" y="1927409"/>
                  </a:lnTo>
                  <a:lnTo>
                    <a:pt x="1324594" y="1931773"/>
                  </a:lnTo>
                  <a:lnTo>
                    <a:pt x="1279648" y="1979922"/>
                  </a:lnTo>
                  <a:lnTo>
                    <a:pt x="1260230" y="2039024"/>
                  </a:lnTo>
                  <a:lnTo>
                    <a:pt x="1315959" y="2049260"/>
                  </a:lnTo>
                  <a:lnTo>
                    <a:pt x="1371971" y="2043145"/>
                  </a:lnTo>
                  <a:lnTo>
                    <a:pt x="1434617" y="2032174"/>
                  </a:lnTo>
                  <a:lnTo>
                    <a:pt x="1494795" y="2018322"/>
                  </a:lnTo>
                  <a:lnTo>
                    <a:pt x="1543407" y="2003565"/>
                  </a:lnTo>
                  <a:lnTo>
                    <a:pt x="1584772" y="1976882"/>
                  </a:lnTo>
                  <a:lnTo>
                    <a:pt x="1634139" y="1922048"/>
                  </a:lnTo>
                  <a:lnTo>
                    <a:pt x="1666434" y="1882938"/>
                  </a:lnTo>
                  <a:lnTo>
                    <a:pt x="1701366" y="1837853"/>
                  </a:lnTo>
                  <a:lnTo>
                    <a:pt x="1737108" y="1788159"/>
                  </a:lnTo>
                  <a:lnTo>
                    <a:pt x="1771832" y="1735220"/>
                  </a:lnTo>
                  <a:lnTo>
                    <a:pt x="1803710" y="1680404"/>
                  </a:lnTo>
                  <a:lnTo>
                    <a:pt x="1830914" y="1625074"/>
                  </a:lnTo>
                  <a:lnTo>
                    <a:pt x="1851618" y="1570597"/>
                  </a:lnTo>
                  <a:lnTo>
                    <a:pt x="1863668" y="1504213"/>
                  </a:lnTo>
                  <a:lnTo>
                    <a:pt x="1857414" y="1450779"/>
                  </a:lnTo>
                  <a:lnTo>
                    <a:pt x="1838251" y="1409306"/>
                  </a:lnTo>
                  <a:lnTo>
                    <a:pt x="1811575" y="1378805"/>
                  </a:lnTo>
                  <a:lnTo>
                    <a:pt x="1757257" y="1346760"/>
                  </a:lnTo>
                  <a:lnTo>
                    <a:pt x="1708808" y="1342937"/>
                  </a:lnTo>
                  <a:lnTo>
                    <a:pt x="1645018" y="1349887"/>
                  </a:lnTo>
                  <a:lnTo>
                    <a:pt x="1585271" y="1360919"/>
                  </a:lnTo>
                  <a:lnTo>
                    <a:pt x="1497873" y="1383443"/>
                  </a:lnTo>
                  <a:lnTo>
                    <a:pt x="1446969" y="1398165"/>
                  </a:lnTo>
                  <a:lnTo>
                    <a:pt x="1396386" y="1413438"/>
                  </a:lnTo>
                  <a:lnTo>
                    <a:pt x="1346267" y="1429191"/>
                  </a:lnTo>
                  <a:lnTo>
                    <a:pt x="1296757" y="1445355"/>
                  </a:lnTo>
                  <a:lnTo>
                    <a:pt x="1248002" y="1461859"/>
                  </a:lnTo>
                  <a:lnTo>
                    <a:pt x="1200146" y="1478633"/>
                  </a:lnTo>
                  <a:lnTo>
                    <a:pt x="1153333" y="1495608"/>
                  </a:lnTo>
                  <a:lnTo>
                    <a:pt x="1107708" y="1512713"/>
                  </a:lnTo>
                  <a:lnTo>
                    <a:pt x="1063417" y="1529878"/>
                  </a:lnTo>
                  <a:lnTo>
                    <a:pt x="1020603" y="1547034"/>
                  </a:lnTo>
                  <a:lnTo>
                    <a:pt x="979411" y="1564110"/>
                  </a:lnTo>
                  <a:lnTo>
                    <a:pt x="939987" y="1581037"/>
                  </a:lnTo>
                  <a:lnTo>
                    <a:pt x="901435" y="1599162"/>
                  </a:lnTo>
                  <a:lnTo>
                    <a:pt x="843568" y="1657536"/>
                  </a:lnTo>
                  <a:lnTo>
                    <a:pt x="797544" y="1724725"/>
                  </a:lnTo>
                  <a:lnTo>
                    <a:pt x="802486" y="1699386"/>
                  </a:lnTo>
                  <a:lnTo>
                    <a:pt x="815763" y="1651522"/>
                  </a:lnTo>
                  <a:lnTo>
                    <a:pt x="826881" y="1597209"/>
                  </a:lnTo>
                  <a:lnTo>
                    <a:pt x="825344" y="1552525"/>
                  </a:lnTo>
                  <a:lnTo>
                    <a:pt x="812273" y="1514076"/>
                  </a:lnTo>
                  <a:lnTo>
                    <a:pt x="796430" y="1469558"/>
                  </a:lnTo>
                  <a:lnTo>
                    <a:pt x="778191" y="1419860"/>
                  </a:lnTo>
                  <a:lnTo>
                    <a:pt x="757928" y="1365871"/>
                  </a:lnTo>
                  <a:lnTo>
                    <a:pt x="736017" y="1308481"/>
                  </a:lnTo>
                  <a:lnTo>
                    <a:pt x="688745" y="1187054"/>
                  </a:lnTo>
                  <a:lnTo>
                    <a:pt x="639372" y="1062692"/>
                  </a:lnTo>
                  <a:lnTo>
                    <a:pt x="590891" y="942508"/>
                  </a:lnTo>
                  <a:lnTo>
                    <a:pt x="546296" y="833617"/>
                  </a:lnTo>
                  <a:lnTo>
                    <a:pt x="508583" y="743131"/>
                  </a:lnTo>
                  <a:lnTo>
                    <a:pt x="480747" y="678166"/>
                  </a:lnTo>
                  <a:lnTo>
                    <a:pt x="433686" y="590161"/>
                  </a:lnTo>
                  <a:lnTo>
                    <a:pt x="408041" y="561206"/>
                  </a:lnTo>
                  <a:lnTo>
                    <a:pt x="322297" y="546025"/>
                  </a:lnTo>
                  <a:lnTo>
                    <a:pt x="328836" y="527362"/>
                  </a:lnTo>
                  <a:lnTo>
                    <a:pt x="342084" y="475589"/>
                  </a:lnTo>
                  <a:lnTo>
                    <a:pt x="352483" y="397029"/>
                  </a:lnTo>
                  <a:lnTo>
                    <a:pt x="350478" y="298007"/>
                  </a:lnTo>
                  <a:lnTo>
                    <a:pt x="342098" y="238312"/>
                  </a:lnTo>
                  <a:lnTo>
                    <a:pt x="329997" y="182604"/>
                  </a:lnTo>
                  <a:lnTo>
                    <a:pt x="314176" y="132265"/>
                  </a:lnTo>
                  <a:lnTo>
                    <a:pt x="294635" y="88679"/>
                  </a:lnTo>
                  <a:lnTo>
                    <a:pt x="271373" y="53229"/>
                  </a:lnTo>
                  <a:lnTo>
                    <a:pt x="213687" y="12269"/>
                  </a:lnTo>
                  <a:lnTo>
                    <a:pt x="152488" y="1099"/>
                  </a:lnTo>
                  <a:lnTo>
                    <a:pt x="90579" y="0"/>
                  </a:lnTo>
                  <a:close/>
                </a:path>
              </a:pathLst>
            </a:custGeom>
            <a:solidFill>
              <a:srgbClr val="EDEDEE"/>
            </a:solidFill>
          </p:spPr>
          <p:txBody>
            <a:bodyPr wrap="square" lIns="0" tIns="0" rIns="0" bIns="0" rtlCol="0"/>
            <a:lstStyle/>
            <a:p>
              <a:endParaRPr sz="649"/>
            </a:p>
          </p:txBody>
        </p:sp>
        <p:sp>
          <p:nvSpPr>
            <p:cNvPr id="9" name="object 9"/>
            <p:cNvSpPr/>
            <p:nvPr/>
          </p:nvSpPr>
          <p:spPr>
            <a:xfrm>
              <a:off x="3623864" y="5016211"/>
              <a:ext cx="1863725" cy="2049780"/>
            </a:xfrm>
            <a:custGeom>
              <a:avLst/>
              <a:gdLst/>
              <a:ahLst/>
              <a:cxnLst/>
              <a:rect l="l" t="t" r="r" b="b"/>
              <a:pathLst>
                <a:path w="1863725" h="2049779">
                  <a:moveTo>
                    <a:pt x="1694329" y="1535837"/>
                  </a:moveTo>
                  <a:lnTo>
                    <a:pt x="1668669" y="1559420"/>
                  </a:lnTo>
                  <a:lnTo>
                    <a:pt x="1634324" y="1607933"/>
                  </a:lnTo>
                  <a:lnTo>
                    <a:pt x="1597528" y="1666840"/>
                  </a:lnTo>
                  <a:lnTo>
                    <a:pt x="1564512" y="1721602"/>
                  </a:lnTo>
                  <a:lnTo>
                    <a:pt x="1541510" y="1757681"/>
                  </a:lnTo>
                  <a:lnTo>
                    <a:pt x="1478502" y="1784577"/>
                  </a:lnTo>
                  <a:lnTo>
                    <a:pt x="1437856" y="1798022"/>
                  </a:lnTo>
                  <a:lnTo>
                    <a:pt x="1389620" y="1813149"/>
                  </a:lnTo>
                  <a:lnTo>
                    <a:pt x="1335135" y="1829620"/>
                  </a:lnTo>
                  <a:lnTo>
                    <a:pt x="1275740" y="1847103"/>
                  </a:lnTo>
                  <a:lnTo>
                    <a:pt x="1212774" y="1865260"/>
                  </a:lnTo>
                  <a:lnTo>
                    <a:pt x="1147577" y="1883758"/>
                  </a:lnTo>
                  <a:lnTo>
                    <a:pt x="1081490" y="1902260"/>
                  </a:lnTo>
                  <a:lnTo>
                    <a:pt x="1015850" y="1920432"/>
                  </a:lnTo>
                  <a:lnTo>
                    <a:pt x="951999" y="1937938"/>
                  </a:lnTo>
                  <a:lnTo>
                    <a:pt x="891275" y="1954442"/>
                  </a:lnTo>
                  <a:lnTo>
                    <a:pt x="835018" y="1969611"/>
                  </a:lnTo>
                  <a:lnTo>
                    <a:pt x="784568" y="1983107"/>
                  </a:lnTo>
                  <a:lnTo>
                    <a:pt x="741264" y="1994596"/>
                  </a:lnTo>
                  <a:lnTo>
                    <a:pt x="688737" y="2006971"/>
                  </a:lnTo>
                  <a:lnTo>
                    <a:pt x="659642" y="2005029"/>
                  </a:lnTo>
                  <a:lnTo>
                    <a:pt x="593074" y="1946746"/>
                  </a:lnTo>
                  <a:lnTo>
                    <a:pt x="567997" y="1884723"/>
                  </a:lnTo>
                  <a:lnTo>
                    <a:pt x="539873" y="1808110"/>
                  </a:lnTo>
                  <a:lnTo>
                    <a:pt x="523044" y="1761205"/>
                  </a:lnTo>
                  <a:lnTo>
                    <a:pt x="504663" y="1709448"/>
                  </a:lnTo>
                  <a:lnTo>
                    <a:pt x="484948" y="1653499"/>
                  </a:lnTo>
                  <a:lnTo>
                    <a:pt x="464118" y="1594019"/>
                  </a:lnTo>
                  <a:lnTo>
                    <a:pt x="442392" y="1531668"/>
                  </a:lnTo>
                  <a:lnTo>
                    <a:pt x="419988" y="1467105"/>
                  </a:lnTo>
                  <a:lnTo>
                    <a:pt x="397124" y="1400993"/>
                  </a:lnTo>
                  <a:lnTo>
                    <a:pt x="374020" y="1333990"/>
                  </a:lnTo>
                  <a:lnTo>
                    <a:pt x="350894" y="1266756"/>
                  </a:lnTo>
                  <a:lnTo>
                    <a:pt x="327966" y="1199954"/>
                  </a:lnTo>
                  <a:lnTo>
                    <a:pt x="305452" y="1134241"/>
                  </a:lnTo>
                  <a:lnTo>
                    <a:pt x="283573" y="1070280"/>
                  </a:lnTo>
                  <a:lnTo>
                    <a:pt x="262547" y="1008730"/>
                  </a:lnTo>
                  <a:lnTo>
                    <a:pt x="242593" y="950251"/>
                  </a:lnTo>
                  <a:lnTo>
                    <a:pt x="223928" y="895504"/>
                  </a:lnTo>
                  <a:lnTo>
                    <a:pt x="206773" y="845148"/>
                  </a:lnTo>
                  <a:lnTo>
                    <a:pt x="191345" y="799845"/>
                  </a:lnTo>
                  <a:lnTo>
                    <a:pt x="177864" y="760255"/>
                  </a:lnTo>
                  <a:lnTo>
                    <a:pt x="166547" y="727038"/>
                  </a:lnTo>
                  <a:lnTo>
                    <a:pt x="157614" y="700853"/>
                  </a:lnTo>
                  <a:lnTo>
                    <a:pt x="151283" y="682362"/>
                  </a:lnTo>
                  <a:lnTo>
                    <a:pt x="147774" y="672225"/>
                  </a:lnTo>
                  <a:lnTo>
                    <a:pt x="142604" y="637488"/>
                  </a:lnTo>
                  <a:lnTo>
                    <a:pt x="149012" y="611451"/>
                  </a:lnTo>
                  <a:lnTo>
                    <a:pt x="158839" y="595103"/>
                  </a:lnTo>
                  <a:lnTo>
                    <a:pt x="163928" y="589433"/>
                  </a:lnTo>
                  <a:lnTo>
                    <a:pt x="142556" y="567777"/>
                  </a:lnTo>
                  <a:lnTo>
                    <a:pt x="109204" y="516485"/>
                  </a:lnTo>
                  <a:lnTo>
                    <a:pt x="83107" y="441280"/>
                  </a:lnTo>
                  <a:lnTo>
                    <a:pt x="65270" y="381664"/>
                  </a:lnTo>
                  <a:lnTo>
                    <a:pt x="46968" y="317097"/>
                  </a:lnTo>
                  <a:lnTo>
                    <a:pt x="30246" y="254874"/>
                  </a:lnTo>
                  <a:lnTo>
                    <a:pt x="17150" y="202290"/>
                  </a:lnTo>
                  <a:lnTo>
                    <a:pt x="3480" y="126218"/>
                  </a:lnTo>
                  <a:lnTo>
                    <a:pt x="0" y="90862"/>
                  </a:lnTo>
                  <a:lnTo>
                    <a:pt x="1649" y="59494"/>
                  </a:lnTo>
                  <a:lnTo>
                    <a:pt x="10791" y="31040"/>
                  </a:lnTo>
                  <a:lnTo>
                    <a:pt x="39500" y="9728"/>
                  </a:lnTo>
                  <a:lnTo>
                    <a:pt x="90579" y="0"/>
                  </a:lnTo>
                  <a:lnTo>
                    <a:pt x="152488" y="1099"/>
                  </a:lnTo>
                  <a:lnTo>
                    <a:pt x="213687" y="12269"/>
                  </a:lnTo>
                  <a:lnTo>
                    <a:pt x="271373" y="53229"/>
                  </a:lnTo>
                  <a:lnTo>
                    <a:pt x="294635" y="88679"/>
                  </a:lnTo>
                  <a:lnTo>
                    <a:pt x="314176" y="132265"/>
                  </a:lnTo>
                  <a:lnTo>
                    <a:pt x="329997" y="182604"/>
                  </a:lnTo>
                  <a:lnTo>
                    <a:pt x="342098" y="238312"/>
                  </a:lnTo>
                  <a:lnTo>
                    <a:pt x="350478" y="298007"/>
                  </a:lnTo>
                  <a:lnTo>
                    <a:pt x="352483" y="397029"/>
                  </a:lnTo>
                  <a:lnTo>
                    <a:pt x="342084" y="475589"/>
                  </a:lnTo>
                  <a:lnTo>
                    <a:pt x="328836" y="527362"/>
                  </a:lnTo>
                  <a:lnTo>
                    <a:pt x="322297" y="546025"/>
                  </a:lnTo>
                  <a:lnTo>
                    <a:pt x="375395" y="549613"/>
                  </a:lnTo>
                  <a:lnTo>
                    <a:pt x="433686" y="590161"/>
                  </a:lnTo>
                  <a:lnTo>
                    <a:pt x="465782" y="645834"/>
                  </a:lnTo>
                  <a:lnTo>
                    <a:pt x="493244" y="707014"/>
                  </a:lnTo>
                  <a:lnTo>
                    <a:pt x="508583" y="743131"/>
                  </a:lnTo>
                  <a:lnTo>
                    <a:pt x="526392" y="785629"/>
                  </a:lnTo>
                  <a:lnTo>
                    <a:pt x="546296" y="833617"/>
                  </a:lnTo>
                  <a:lnTo>
                    <a:pt x="567920" y="886206"/>
                  </a:lnTo>
                  <a:lnTo>
                    <a:pt x="590891" y="942508"/>
                  </a:lnTo>
                  <a:lnTo>
                    <a:pt x="614832" y="1001633"/>
                  </a:lnTo>
                  <a:lnTo>
                    <a:pt x="639372" y="1062692"/>
                  </a:lnTo>
                  <a:lnTo>
                    <a:pt x="664134" y="1124795"/>
                  </a:lnTo>
                  <a:lnTo>
                    <a:pt x="688745" y="1187054"/>
                  </a:lnTo>
                  <a:lnTo>
                    <a:pt x="712831" y="1248579"/>
                  </a:lnTo>
                  <a:lnTo>
                    <a:pt x="736017" y="1308481"/>
                  </a:lnTo>
                  <a:lnTo>
                    <a:pt x="757928" y="1365871"/>
                  </a:lnTo>
                  <a:lnTo>
                    <a:pt x="778191" y="1419860"/>
                  </a:lnTo>
                  <a:lnTo>
                    <a:pt x="796430" y="1469558"/>
                  </a:lnTo>
                  <a:lnTo>
                    <a:pt x="812273" y="1514076"/>
                  </a:lnTo>
                  <a:lnTo>
                    <a:pt x="825344" y="1552525"/>
                  </a:lnTo>
                  <a:lnTo>
                    <a:pt x="826881" y="1597209"/>
                  </a:lnTo>
                  <a:lnTo>
                    <a:pt x="815763" y="1651522"/>
                  </a:lnTo>
                  <a:lnTo>
                    <a:pt x="802486" y="1699386"/>
                  </a:lnTo>
                  <a:lnTo>
                    <a:pt x="797544" y="1724725"/>
                  </a:lnTo>
                  <a:lnTo>
                    <a:pt x="843568" y="1657536"/>
                  </a:lnTo>
                  <a:lnTo>
                    <a:pt x="873747" y="1620172"/>
                  </a:lnTo>
                  <a:lnTo>
                    <a:pt x="939987" y="1581037"/>
                  </a:lnTo>
                  <a:lnTo>
                    <a:pt x="979411" y="1564110"/>
                  </a:lnTo>
                  <a:lnTo>
                    <a:pt x="1020603" y="1547034"/>
                  </a:lnTo>
                  <a:lnTo>
                    <a:pt x="1063417" y="1529878"/>
                  </a:lnTo>
                  <a:lnTo>
                    <a:pt x="1107708" y="1512713"/>
                  </a:lnTo>
                  <a:lnTo>
                    <a:pt x="1153333" y="1495608"/>
                  </a:lnTo>
                  <a:lnTo>
                    <a:pt x="1200146" y="1478633"/>
                  </a:lnTo>
                  <a:lnTo>
                    <a:pt x="1248002" y="1461859"/>
                  </a:lnTo>
                  <a:lnTo>
                    <a:pt x="1296757" y="1445355"/>
                  </a:lnTo>
                  <a:lnTo>
                    <a:pt x="1346267" y="1429191"/>
                  </a:lnTo>
                  <a:lnTo>
                    <a:pt x="1396386" y="1413438"/>
                  </a:lnTo>
                  <a:lnTo>
                    <a:pt x="1446969" y="1398165"/>
                  </a:lnTo>
                  <a:lnTo>
                    <a:pt x="1497873" y="1383443"/>
                  </a:lnTo>
                  <a:lnTo>
                    <a:pt x="1548952" y="1369340"/>
                  </a:lnTo>
                  <a:lnTo>
                    <a:pt x="1645018" y="1349887"/>
                  </a:lnTo>
                  <a:lnTo>
                    <a:pt x="1708808" y="1342937"/>
                  </a:lnTo>
                  <a:lnTo>
                    <a:pt x="1757257" y="1346760"/>
                  </a:lnTo>
                  <a:lnTo>
                    <a:pt x="1811575" y="1378805"/>
                  </a:lnTo>
                  <a:lnTo>
                    <a:pt x="1838251" y="1409306"/>
                  </a:lnTo>
                  <a:lnTo>
                    <a:pt x="1857414" y="1450779"/>
                  </a:lnTo>
                  <a:lnTo>
                    <a:pt x="1863668" y="1504213"/>
                  </a:lnTo>
                  <a:lnTo>
                    <a:pt x="1851618" y="1570597"/>
                  </a:lnTo>
                  <a:lnTo>
                    <a:pt x="1830914" y="1625074"/>
                  </a:lnTo>
                  <a:lnTo>
                    <a:pt x="1803710" y="1680404"/>
                  </a:lnTo>
                  <a:lnTo>
                    <a:pt x="1771832" y="1735220"/>
                  </a:lnTo>
                  <a:lnTo>
                    <a:pt x="1737108" y="1788159"/>
                  </a:lnTo>
                  <a:lnTo>
                    <a:pt x="1701366" y="1837853"/>
                  </a:lnTo>
                  <a:lnTo>
                    <a:pt x="1666434" y="1882938"/>
                  </a:lnTo>
                  <a:lnTo>
                    <a:pt x="1634139" y="1922048"/>
                  </a:lnTo>
                  <a:lnTo>
                    <a:pt x="1606309" y="1953818"/>
                  </a:lnTo>
                  <a:lnTo>
                    <a:pt x="1571355" y="1989875"/>
                  </a:lnTo>
                  <a:lnTo>
                    <a:pt x="1494795" y="2018322"/>
                  </a:lnTo>
                  <a:lnTo>
                    <a:pt x="1434617" y="2032174"/>
                  </a:lnTo>
                  <a:lnTo>
                    <a:pt x="1371971" y="2043145"/>
                  </a:lnTo>
                  <a:lnTo>
                    <a:pt x="1315959" y="2049260"/>
                  </a:lnTo>
                  <a:lnTo>
                    <a:pt x="1275679" y="2048545"/>
                  </a:lnTo>
                  <a:lnTo>
                    <a:pt x="1265501" y="2010640"/>
                  </a:lnTo>
                  <a:lnTo>
                    <a:pt x="1300178" y="1951942"/>
                  </a:lnTo>
                  <a:lnTo>
                    <a:pt x="1362765" y="1927409"/>
                  </a:lnTo>
                  <a:lnTo>
                    <a:pt x="1415770" y="1933486"/>
                  </a:lnTo>
                  <a:lnTo>
                    <a:pt x="1467865" y="1935007"/>
                  </a:lnTo>
                  <a:lnTo>
                    <a:pt x="1503308" y="1916977"/>
                  </a:lnTo>
                  <a:lnTo>
                    <a:pt x="1542259" y="1854872"/>
                  </a:lnTo>
                  <a:lnTo>
                    <a:pt x="1571735" y="1805737"/>
                  </a:lnTo>
                  <a:lnTo>
                    <a:pt x="1603767" y="1750432"/>
                  </a:lnTo>
                  <a:lnTo>
                    <a:pt x="1635271" y="1693371"/>
                  </a:lnTo>
                  <a:lnTo>
                    <a:pt x="1663163" y="1638967"/>
                  </a:lnTo>
                  <a:lnTo>
                    <a:pt x="1684360" y="1591634"/>
                  </a:lnTo>
                  <a:lnTo>
                    <a:pt x="1695776" y="1555786"/>
                  </a:lnTo>
                  <a:lnTo>
                    <a:pt x="1694329" y="1535837"/>
                  </a:lnTo>
                </a:path>
              </a:pathLst>
            </a:custGeom>
            <a:ln w="25400">
              <a:solidFill>
                <a:srgbClr val="231F20"/>
              </a:solidFill>
            </a:ln>
          </p:spPr>
          <p:txBody>
            <a:bodyPr wrap="square" lIns="0" tIns="0" rIns="0" bIns="0" rtlCol="0"/>
            <a:lstStyle/>
            <a:p>
              <a:endParaRPr sz="649"/>
            </a:p>
          </p:txBody>
        </p:sp>
        <p:pic>
          <p:nvPicPr>
            <p:cNvPr id="10" name="object 10"/>
            <p:cNvPicPr/>
            <p:nvPr/>
          </p:nvPicPr>
          <p:blipFill>
            <a:blip r:embed="rId2" cstate="print"/>
            <a:stretch>
              <a:fillRect/>
            </a:stretch>
          </p:blipFill>
          <p:spPr>
            <a:xfrm>
              <a:off x="5194630" y="6854329"/>
              <a:ext cx="285432" cy="165049"/>
            </a:xfrm>
            <a:prstGeom prst="rect">
              <a:avLst/>
            </a:prstGeom>
          </p:spPr>
        </p:pic>
        <p:sp>
          <p:nvSpPr>
            <p:cNvPr id="11" name="object 11"/>
            <p:cNvSpPr/>
            <p:nvPr/>
          </p:nvSpPr>
          <p:spPr>
            <a:xfrm>
              <a:off x="5194633" y="6854333"/>
              <a:ext cx="285750" cy="165100"/>
            </a:xfrm>
            <a:custGeom>
              <a:avLst/>
              <a:gdLst/>
              <a:ahLst/>
              <a:cxnLst/>
              <a:rect l="l" t="t" r="r" b="b"/>
              <a:pathLst>
                <a:path w="285750" h="165100">
                  <a:moveTo>
                    <a:pt x="60680" y="165049"/>
                  </a:moveTo>
                  <a:lnTo>
                    <a:pt x="0" y="46850"/>
                  </a:lnTo>
                  <a:lnTo>
                    <a:pt x="117119" y="0"/>
                  </a:lnTo>
                  <a:lnTo>
                    <a:pt x="101371" y="46875"/>
                  </a:lnTo>
                  <a:lnTo>
                    <a:pt x="139164" y="51233"/>
                  </a:lnTo>
                  <a:lnTo>
                    <a:pt x="177414" y="48490"/>
                  </a:lnTo>
                  <a:lnTo>
                    <a:pt x="215094" y="38404"/>
                  </a:lnTo>
                  <a:lnTo>
                    <a:pt x="251180" y="20739"/>
                  </a:lnTo>
                  <a:lnTo>
                    <a:pt x="285432" y="76326"/>
                  </a:lnTo>
                  <a:lnTo>
                    <a:pt x="236142" y="100243"/>
                  </a:lnTo>
                  <a:lnTo>
                    <a:pt x="184651" y="113461"/>
                  </a:lnTo>
                  <a:lnTo>
                    <a:pt x="132456" y="116335"/>
                  </a:lnTo>
                  <a:lnTo>
                    <a:pt x="81051" y="109219"/>
                  </a:lnTo>
                  <a:lnTo>
                    <a:pt x="60680" y="165049"/>
                  </a:lnTo>
                  <a:close/>
                </a:path>
              </a:pathLst>
            </a:custGeom>
            <a:ln w="7620">
              <a:solidFill>
                <a:srgbClr val="E3873E"/>
              </a:solidFill>
            </a:ln>
          </p:spPr>
          <p:txBody>
            <a:bodyPr wrap="square" lIns="0" tIns="0" rIns="0" bIns="0" rtlCol="0"/>
            <a:lstStyle/>
            <a:p>
              <a:endParaRPr sz="649"/>
            </a:p>
          </p:txBody>
        </p:sp>
        <p:sp>
          <p:nvSpPr>
            <p:cNvPr id="12" name="object 12"/>
            <p:cNvSpPr/>
            <p:nvPr/>
          </p:nvSpPr>
          <p:spPr>
            <a:xfrm>
              <a:off x="4721082" y="6185991"/>
              <a:ext cx="1193165" cy="1193165"/>
            </a:xfrm>
            <a:custGeom>
              <a:avLst/>
              <a:gdLst/>
              <a:ahLst/>
              <a:cxnLst/>
              <a:rect l="l" t="t" r="r" b="b"/>
              <a:pathLst>
                <a:path w="1193164" h="1193165">
                  <a:moveTo>
                    <a:pt x="0" y="596493"/>
                  </a:moveTo>
                  <a:lnTo>
                    <a:pt x="1977" y="645414"/>
                  </a:lnTo>
                  <a:lnTo>
                    <a:pt x="7806" y="693245"/>
                  </a:lnTo>
                  <a:lnTo>
                    <a:pt x="17335" y="739834"/>
                  </a:lnTo>
                  <a:lnTo>
                    <a:pt x="30409" y="785028"/>
                  </a:lnTo>
                  <a:lnTo>
                    <a:pt x="46874" y="828672"/>
                  </a:lnTo>
                  <a:lnTo>
                    <a:pt x="66578" y="870612"/>
                  </a:lnTo>
                  <a:lnTo>
                    <a:pt x="89367" y="910696"/>
                  </a:lnTo>
                  <a:lnTo>
                    <a:pt x="115087" y="948771"/>
                  </a:lnTo>
                  <a:lnTo>
                    <a:pt x="143585" y="984681"/>
                  </a:lnTo>
                  <a:lnTo>
                    <a:pt x="174707" y="1018274"/>
                  </a:lnTo>
                  <a:lnTo>
                    <a:pt x="208300" y="1049397"/>
                  </a:lnTo>
                  <a:lnTo>
                    <a:pt x="244210" y="1077895"/>
                  </a:lnTo>
                  <a:lnTo>
                    <a:pt x="282284" y="1103616"/>
                  </a:lnTo>
                  <a:lnTo>
                    <a:pt x="322368" y="1126405"/>
                  </a:lnTo>
                  <a:lnTo>
                    <a:pt x="364309" y="1146110"/>
                  </a:lnTo>
                  <a:lnTo>
                    <a:pt x="407954" y="1162576"/>
                  </a:lnTo>
                  <a:lnTo>
                    <a:pt x="453148" y="1175650"/>
                  </a:lnTo>
                  <a:lnTo>
                    <a:pt x="499738" y="1185179"/>
                  </a:lnTo>
                  <a:lnTo>
                    <a:pt x="547571" y="1191009"/>
                  </a:lnTo>
                  <a:lnTo>
                    <a:pt x="596493" y="1192987"/>
                  </a:lnTo>
                  <a:lnTo>
                    <a:pt x="645414" y="1191009"/>
                  </a:lnTo>
                  <a:lnTo>
                    <a:pt x="693245" y="1185179"/>
                  </a:lnTo>
                  <a:lnTo>
                    <a:pt x="739834" y="1175650"/>
                  </a:lnTo>
                  <a:lnTo>
                    <a:pt x="785028" y="1162576"/>
                  </a:lnTo>
                  <a:lnTo>
                    <a:pt x="828672" y="1146110"/>
                  </a:lnTo>
                  <a:lnTo>
                    <a:pt x="870612" y="1126405"/>
                  </a:lnTo>
                  <a:lnTo>
                    <a:pt x="910696" y="1103616"/>
                  </a:lnTo>
                  <a:lnTo>
                    <a:pt x="948771" y="1077895"/>
                  </a:lnTo>
                  <a:lnTo>
                    <a:pt x="984681" y="1049397"/>
                  </a:lnTo>
                  <a:lnTo>
                    <a:pt x="1018274" y="1018274"/>
                  </a:lnTo>
                  <a:lnTo>
                    <a:pt x="1049397" y="984681"/>
                  </a:lnTo>
                  <a:lnTo>
                    <a:pt x="1077895" y="948771"/>
                  </a:lnTo>
                  <a:lnTo>
                    <a:pt x="1103616" y="910696"/>
                  </a:lnTo>
                  <a:lnTo>
                    <a:pt x="1126405" y="870612"/>
                  </a:lnTo>
                  <a:lnTo>
                    <a:pt x="1146110" y="828672"/>
                  </a:lnTo>
                  <a:lnTo>
                    <a:pt x="1162576" y="785028"/>
                  </a:lnTo>
                  <a:lnTo>
                    <a:pt x="1175650" y="739834"/>
                  </a:lnTo>
                  <a:lnTo>
                    <a:pt x="1185179" y="693245"/>
                  </a:lnTo>
                  <a:lnTo>
                    <a:pt x="1191009" y="645414"/>
                  </a:lnTo>
                  <a:lnTo>
                    <a:pt x="1192987" y="596493"/>
                  </a:lnTo>
                  <a:lnTo>
                    <a:pt x="1191009" y="547571"/>
                  </a:lnTo>
                  <a:lnTo>
                    <a:pt x="1185179" y="499738"/>
                  </a:lnTo>
                  <a:lnTo>
                    <a:pt x="1175650" y="453148"/>
                  </a:lnTo>
                  <a:lnTo>
                    <a:pt x="1162576" y="407954"/>
                  </a:lnTo>
                  <a:lnTo>
                    <a:pt x="1146110" y="364309"/>
                  </a:lnTo>
                  <a:lnTo>
                    <a:pt x="1126405" y="322368"/>
                  </a:lnTo>
                  <a:lnTo>
                    <a:pt x="1103616" y="282284"/>
                  </a:lnTo>
                  <a:lnTo>
                    <a:pt x="1077895" y="244210"/>
                  </a:lnTo>
                  <a:lnTo>
                    <a:pt x="1049397" y="208300"/>
                  </a:lnTo>
                  <a:lnTo>
                    <a:pt x="1018274" y="174707"/>
                  </a:lnTo>
                  <a:lnTo>
                    <a:pt x="984681" y="143585"/>
                  </a:lnTo>
                  <a:lnTo>
                    <a:pt x="948771" y="115087"/>
                  </a:lnTo>
                  <a:lnTo>
                    <a:pt x="910696" y="89367"/>
                  </a:lnTo>
                  <a:lnTo>
                    <a:pt x="870612" y="66578"/>
                  </a:lnTo>
                  <a:lnTo>
                    <a:pt x="828672" y="46874"/>
                  </a:lnTo>
                  <a:lnTo>
                    <a:pt x="785028" y="30409"/>
                  </a:lnTo>
                  <a:lnTo>
                    <a:pt x="739834" y="17335"/>
                  </a:lnTo>
                  <a:lnTo>
                    <a:pt x="693245" y="7806"/>
                  </a:lnTo>
                  <a:lnTo>
                    <a:pt x="645414" y="1977"/>
                  </a:lnTo>
                  <a:lnTo>
                    <a:pt x="596493" y="0"/>
                  </a:lnTo>
                  <a:lnTo>
                    <a:pt x="547571" y="1977"/>
                  </a:lnTo>
                  <a:lnTo>
                    <a:pt x="499738" y="7806"/>
                  </a:lnTo>
                  <a:lnTo>
                    <a:pt x="453148" y="17335"/>
                  </a:lnTo>
                  <a:lnTo>
                    <a:pt x="407954" y="30409"/>
                  </a:lnTo>
                  <a:lnTo>
                    <a:pt x="364309" y="46874"/>
                  </a:lnTo>
                  <a:lnTo>
                    <a:pt x="322368" y="66578"/>
                  </a:lnTo>
                  <a:lnTo>
                    <a:pt x="282284" y="89367"/>
                  </a:lnTo>
                  <a:lnTo>
                    <a:pt x="244210" y="115087"/>
                  </a:lnTo>
                  <a:lnTo>
                    <a:pt x="208300" y="143585"/>
                  </a:lnTo>
                  <a:lnTo>
                    <a:pt x="174707" y="174707"/>
                  </a:lnTo>
                  <a:lnTo>
                    <a:pt x="143585" y="208300"/>
                  </a:lnTo>
                  <a:lnTo>
                    <a:pt x="115087" y="244210"/>
                  </a:lnTo>
                  <a:lnTo>
                    <a:pt x="89367" y="282284"/>
                  </a:lnTo>
                  <a:lnTo>
                    <a:pt x="66578" y="322368"/>
                  </a:lnTo>
                  <a:lnTo>
                    <a:pt x="46874" y="364309"/>
                  </a:lnTo>
                  <a:lnTo>
                    <a:pt x="30409" y="407954"/>
                  </a:lnTo>
                  <a:lnTo>
                    <a:pt x="17335" y="453148"/>
                  </a:lnTo>
                  <a:lnTo>
                    <a:pt x="7806" y="499738"/>
                  </a:lnTo>
                  <a:lnTo>
                    <a:pt x="1977" y="547571"/>
                  </a:lnTo>
                  <a:lnTo>
                    <a:pt x="0" y="596493"/>
                  </a:lnTo>
                  <a:close/>
                </a:path>
              </a:pathLst>
            </a:custGeom>
            <a:ln w="25400">
              <a:solidFill>
                <a:srgbClr val="E3873E"/>
              </a:solidFill>
            </a:ln>
          </p:spPr>
          <p:txBody>
            <a:bodyPr wrap="square" lIns="0" tIns="0" rIns="0" bIns="0" rtlCol="0"/>
            <a:lstStyle/>
            <a:p>
              <a:endParaRPr sz="649"/>
            </a:p>
          </p:txBody>
        </p:sp>
        <p:sp>
          <p:nvSpPr>
            <p:cNvPr id="13" name="object 13"/>
            <p:cNvSpPr/>
            <p:nvPr/>
          </p:nvSpPr>
          <p:spPr>
            <a:xfrm>
              <a:off x="1691189" y="5784051"/>
              <a:ext cx="1799589" cy="1799589"/>
            </a:xfrm>
            <a:custGeom>
              <a:avLst/>
              <a:gdLst/>
              <a:ahLst/>
              <a:cxnLst/>
              <a:rect l="l" t="t" r="r" b="b"/>
              <a:pathLst>
                <a:path w="1799589" h="1799590">
                  <a:moveTo>
                    <a:pt x="901804" y="0"/>
                  </a:moveTo>
                  <a:lnTo>
                    <a:pt x="856318" y="1046"/>
                  </a:lnTo>
                  <a:lnTo>
                    <a:pt x="811164" y="4386"/>
                  </a:lnTo>
                  <a:lnTo>
                    <a:pt x="766419" y="9979"/>
                  </a:lnTo>
                  <a:lnTo>
                    <a:pt x="722161" y="17786"/>
                  </a:lnTo>
                  <a:lnTo>
                    <a:pt x="678470" y="27766"/>
                  </a:lnTo>
                  <a:lnTo>
                    <a:pt x="635422" y="39879"/>
                  </a:lnTo>
                  <a:lnTo>
                    <a:pt x="593098" y="54086"/>
                  </a:lnTo>
                  <a:lnTo>
                    <a:pt x="551575" y="70347"/>
                  </a:lnTo>
                  <a:lnTo>
                    <a:pt x="510930" y="88621"/>
                  </a:lnTo>
                  <a:lnTo>
                    <a:pt x="471244" y="108869"/>
                  </a:lnTo>
                  <a:lnTo>
                    <a:pt x="432593" y="131051"/>
                  </a:lnTo>
                  <a:lnTo>
                    <a:pt x="395057" y="155126"/>
                  </a:lnTo>
                  <a:lnTo>
                    <a:pt x="358713" y="181055"/>
                  </a:lnTo>
                  <a:lnTo>
                    <a:pt x="323641" y="208798"/>
                  </a:lnTo>
                  <a:lnTo>
                    <a:pt x="289917" y="238315"/>
                  </a:lnTo>
                  <a:lnTo>
                    <a:pt x="257621" y="269566"/>
                  </a:lnTo>
                  <a:lnTo>
                    <a:pt x="226831" y="302511"/>
                  </a:lnTo>
                  <a:lnTo>
                    <a:pt x="197624" y="337109"/>
                  </a:lnTo>
                  <a:lnTo>
                    <a:pt x="170081" y="373322"/>
                  </a:lnTo>
                  <a:lnTo>
                    <a:pt x="144278" y="411109"/>
                  </a:lnTo>
                  <a:lnTo>
                    <a:pt x="120294" y="450431"/>
                  </a:lnTo>
                  <a:lnTo>
                    <a:pt x="98208" y="491246"/>
                  </a:lnTo>
                  <a:lnTo>
                    <a:pt x="78097" y="533516"/>
                  </a:lnTo>
                  <a:lnTo>
                    <a:pt x="60041" y="577200"/>
                  </a:lnTo>
                  <a:lnTo>
                    <a:pt x="44116" y="622258"/>
                  </a:lnTo>
                  <a:lnTo>
                    <a:pt x="30564" y="668086"/>
                  </a:lnTo>
                  <a:lnTo>
                    <a:pt x="19545" y="714053"/>
                  </a:lnTo>
                  <a:lnTo>
                    <a:pt x="11019" y="760079"/>
                  </a:lnTo>
                  <a:lnTo>
                    <a:pt x="4946" y="806088"/>
                  </a:lnTo>
                  <a:lnTo>
                    <a:pt x="1286" y="852001"/>
                  </a:lnTo>
                  <a:lnTo>
                    <a:pt x="0" y="897739"/>
                  </a:lnTo>
                  <a:lnTo>
                    <a:pt x="1046" y="943225"/>
                  </a:lnTo>
                  <a:lnTo>
                    <a:pt x="4386" y="988379"/>
                  </a:lnTo>
                  <a:lnTo>
                    <a:pt x="9979" y="1033124"/>
                  </a:lnTo>
                  <a:lnTo>
                    <a:pt x="17786" y="1077381"/>
                  </a:lnTo>
                  <a:lnTo>
                    <a:pt x="27766" y="1121072"/>
                  </a:lnTo>
                  <a:lnTo>
                    <a:pt x="39879" y="1164118"/>
                  </a:lnTo>
                  <a:lnTo>
                    <a:pt x="54086" y="1206442"/>
                  </a:lnTo>
                  <a:lnTo>
                    <a:pt x="70347" y="1247965"/>
                  </a:lnTo>
                  <a:lnTo>
                    <a:pt x="88621" y="1288608"/>
                  </a:lnTo>
                  <a:lnTo>
                    <a:pt x="108869" y="1328294"/>
                  </a:lnTo>
                  <a:lnTo>
                    <a:pt x="131051" y="1366944"/>
                  </a:lnTo>
                  <a:lnTo>
                    <a:pt x="155126" y="1404480"/>
                  </a:lnTo>
                  <a:lnTo>
                    <a:pt x="181055" y="1440823"/>
                  </a:lnTo>
                  <a:lnTo>
                    <a:pt x="208798" y="1475895"/>
                  </a:lnTo>
                  <a:lnTo>
                    <a:pt x="238315" y="1509618"/>
                  </a:lnTo>
                  <a:lnTo>
                    <a:pt x="269566" y="1541914"/>
                  </a:lnTo>
                  <a:lnTo>
                    <a:pt x="302511" y="1572704"/>
                  </a:lnTo>
                  <a:lnTo>
                    <a:pt x="337109" y="1601909"/>
                  </a:lnTo>
                  <a:lnTo>
                    <a:pt x="373322" y="1629453"/>
                  </a:lnTo>
                  <a:lnTo>
                    <a:pt x="411109" y="1655255"/>
                  </a:lnTo>
                  <a:lnTo>
                    <a:pt x="450431" y="1679239"/>
                  </a:lnTo>
                  <a:lnTo>
                    <a:pt x="491246" y="1701325"/>
                  </a:lnTo>
                  <a:lnTo>
                    <a:pt x="533516" y="1721435"/>
                  </a:lnTo>
                  <a:lnTo>
                    <a:pt x="577200" y="1739492"/>
                  </a:lnTo>
                  <a:lnTo>
                    <a:pt x="622258" y="1755416"/>
                  </a:lnTo>
                  <a:lnTo>
                    <a:pt x="668085" y="1768969"/>
                  </a:lnTo>
                  <a:lnTo>
                    <a:pt x="714051" y="1779989"/>
                  </a:lnTo>
                  <a:lnTo>
                    <a:pt x="760077" y="1788517"/>
                  </a:lnTo>
                  <a:lnTo>
                    <a:pt x="806085" y="1794591"/>
                  </a:lnTo>
                  <a:lnTo>
                    <a:pt x="851998" y="1798251"/>
                  </a:lnTo>
                  <a:lnTo>
                    <a:pt x="897736" y="1799539"/>
                  </a:lnTo>
                  <a:lnTo>
                    <a:pt x="943221" y="1798493"/>
                  </a:lnTo>
                  <a:lnTo>
                    <a:pt x="988376" y="1795154"/>
                  </a:lnTo>
                  <a:lnTo>
                    <a:pt x="1033121" y="1789561"/>
                  </a:lnTo>
                  <a:lnTo>
                    <a:pt x="1077378" y="1781755"/>
                  </a:lnTo>
                  <a:lnTo>
                    <a:pt x="1121070" y="1771776"/>
                  </a:lnTo>
                  <a:lnTo>
                    <a:pt x="1164117" y="1759663"/>
                  </a:lnTo>
                  <a:lnTo>
                    <a:pt x="1206442" y="1745456"/>
                  </a:lnTo>
                  <a:lnTo>
                    <a:pt x="1247965" y="1729196"/>
                  </a:lnTo>
                  <a:lnTo>
                    <a:pt x="1288610" y="1710922"/>
                  </a:lnTo>
                  <a:lnTo>
                    <a:pt x="1328296" y="1690674"/>
                  </a:lnTo>
                  <a:lnTo>
                    <a:pt x="1366947" y="1668493"/>
                  </a:lnTo>
                  <a:lnTo>
                    <a:pt x="1404484" y="1644418"/>
                  </a:lnTo>
                  <a:lnTo>
                    <a:pt x="1440828" y="1618489"/>
                  </a:lnTo>
                  <a:lnTo>
                    <a:pt x="1475901" y="1590746"/>
                  </a:lnTo>
                  <a:lnTo>
                    <a:pt x="1509625" y="1561230"/>
                  </a:lnTo>
                  <a:lnTo>
                    <a:pt x="1541922" y="1529979"/>
                  </a:lnTo>
                  <a:lnTo>
                    <a:pt x="1572712" y="1497034"/>
                  </a:lnTo>
                  <a:lnTo>
                    <a:pt x="1601919" y="1462435"/>
                  </a:lnTo>
                  <a:lnTo>
                    <a:pt x="1629463" y="1426222"/>
                  </a:lnTo>
                  <a:lnTo>
                    <a:pt x="1655266" y="1388435"/>
                  </a:lnTo>
                  <a:lnTo>
                    <a:pt x="1679250" y="1349114"/>
                  </a:lnTo>
                  <a:lnTo>
                    <a:pt x="1701337" y="1308299"/>
                  </a:lnTo>
                  <a:lnTo>
                    <a:pt x="1721448" y="1266029"/>
                  </a:lnTo>
                  <a:lnTo>
                    <a:pt x="1739504" y="1222345"/>
                  </a:lnTo>
                  <a:lnTo>
                    <a:pt x="1755429" y="1177287"/>
                  </a:lnTo>
                  <a:lnTo>
                    <a:pt x="1768981" y="1131459"/>
                  </a:lnTo>
                  <a:lnTo>
                    <a:pt x="1780000" y="1085492"/>
                  </a:lnTo>
                  <a:lnTo>
                    <a:pt x="1788526" y="1039465"/>
                  </a:lnTo>
                  <a:lnTo>
                    <a:pt x="1794599" y="993456"/>
                  </a:lnTo>
                  <a:lnTo>
                    <a:pt x="1798259" y="947543"/>
                  </a:lnTo>
                  <a:lnTo>
                    <a:pt x="1799545" y="901804"/>
                  </a:lnTo>
                  <a:lnTo>
                    <a:pt x="1798499" y="856318"/>
                  </a:lnTo>
                  <a:lnTo>
                    <a:pt x="1795159" y="811164"/>
                  </a:lnTo>
                  <a:lnTo>
                    <a:pt x="1789566" y="766419"/>
                  </a:lnTo>
                  <a:lnTo>
                    <a:pt x="1781759" y="722161"/>
                  </a:lnTo>
                  <a:lnTo>
                    <a:pt x="1771779" y="678470"/>
                  </a:lnTo>
                  <a:lnTo>
                    <a:pt x="1759666" y="635422"/>
                  </a:lnTo>
                  <a:lnTo>
                    <a:pt x="1745459" y="593098"/>
                  </a:lnTo>
                  <a:lnTo>
                    <a:pt x="1729198" y="551575"/>
                  </a:lnTo>
                  <a:lnTo>
                    <a:pt x="1710924" y="510930"/>
                  </a:lnTo>
                  <a:lnTo>
                    <a:pt x="1690676" y="471244"/>
                  </a:lnTo>
                  <a:lnTo>
                    <a:pt x="1668494" y="432593"/>
                  </a:lnTo>
                  <a:lnTo>
                    <a:pt x="1644419" y="395057"/>
                  </a:lnTo>
                  <a:lnTo>
                    <a:pt x="1618490" y="358713"/>
                  </a:lnTo>
                  <a:lnTo>
                    <a:pt x="1590747" y="323641"/>
                  </a:lnTo>
                  <a:lnTo>
                    <a:pt x="1561230" y="289917"/>
                  </a:lnTo>
                  <a:lnTo>
                    <a:pt x="1529979" y="257621"/>
                  </a:lnTo>
                  <a:lnTo>
                    <a:pt x="1497034" y="226831"/>
                  </a:lnTo>
                  <a:lnTo>
                    <a:pt x="1462435" y="197624"/>
                  </a:lnTo>
                  <a:lnTo>
                    <a:pt x="1426223" y="170081"/>
                  </a:lnTo>
                  <a:lnTo>
                    <a:pt x="1388435" y="144278"/>
                  </a:lnTo>
                  <a:lnTo>
                    <a:pt x="1349114" y="120294"/>
                  </a:lnTo>
                  <a:lnTo>
                    <a:pt x="1308299" y="98208"/>
                  </a:lnTo>
                  <a:lnTo>
                    <a:pt x="1266029" y="78097"/>
                  </a:lnTo>
                  <a:lnTo>
                    <a:pt x="1222345" y="60041"/>
                  </a:lnTo>
                  <a:lnTo>
                    <a:pt x="1177287" y="44116"/>
                  </a:lnTo>
                  <a:lnTo>
                    <a:pt x="1131459" y="30564"/>
                  </a:lnTo>
                  <a:lnTo>
                    <a:pt x="1085492" y="19545"/>
                  </a:lnTo>
                  <a:lnTo>
                    <a:pt x="1039465" y="11019"/>
                  </a:lnTo>
                  <a:lnTo>
                    <a:pt x="993456" y="4946"/>
                  </a:lnTo>
                  <a:lnTo>
                    <a:pt x="947543" y="1286"/>
                  </a:lnTo>
                  <a:lnTo>
                    <a:pt x="901804" y="0"/>
                  </a:lnTo>
                  <a:close/>
                </a:path>
              </a:pathLst>
            </a:custGeom>
            <a:solidFill>
              <a:srgbClr val="D1D3D4"/>
            </a:solidFill>
          </p:spPr>
          <p:txBody>
            <a:bodyPr wrap="square" lIns="0" tIns="0" rIns="0" bIns="0" rtlCol="0"/>
            <a:lstStyle/>
            <a:p>
              <a:endParaRPr sz="649"/>
            </a:p>
          </p:txBody>
        </p:sp>
        <p:sp>
          <p:nvSpPr>
            <p:cNvPr id="14" name="object 14"/>
            <p:cNvSpPr/>
            <p:nvPr/>
          </p:nvSpPr>
          <p:spPr>
            <a:xfrm>
              <a:off x="1941652" y="6217682"/>
              <a:ext cx="900430" cy="647700"/>
            </a:xfrm>
            <a:custGeom>
              <a:avLst/>
              <a:gdLst/>
              <a:ahLst/>
              <a:cxnLst/>
              <a:rect l="l" t="t" r="r" b="b"/>
              <a:pathLst>
                <a:path w="900430" h="647700">
                  <a:moveTo>
                    <a:pt x="157581" y="0"/>
                  </a:moveTo>
                  <a:lnTo>
                    <a:pt x="71513" y="17449"/>
                  </a:lnTo>
                  <a:lnTo>
                    <a:pt x="0" y="377774"/>
                  </a:lnTo>
                  <a:lnTo>
                    <a:pt x="457" y="433603"/>
                  </a:lnTo>
                  <a:lnTo>
                    <a:pt x="57137" y="462280"/>
                  </a:lnTo>
                  <a:lnTo>
                    <a:pt x="545541" y="647484"/>
                  </a:lnTo>
                  <a:lnTo>
                    <a:pt x="656361" y="623633"/>
                  </a:lnTo>
                  <a:lnTo>
                    <a:pt x="707999" y="642454"/>
                  </a:lnTo>
                  <a:lnTo>
                    <a:pt x="756907" y="631520"/>
                  </a:lnTo>
                  <a:lnTo>
                    <a:pt x="803757" y="595147"/>
                  </a:lnTo>
                  <a:lnTo>
                    <a:pt x="851001" y="532117"/>
                  </a:lnTo>
                  <a:lnTo>
                    <a:pt x="885647" y="444385"/>
                  </a:lnTo>
                  <a:lnTo>
                    <a:pt x="900315" y="341934"/>
                  </a:lnTo>
                  <a:lnTo>
                    <a:pt x="874902" y="267703"/>
                  </a:lnTo>
                  <a:lnTo>
                    <a:pt x="890638" y="219202"/>
                  </a:lnTo>
                  <a:lnTo>
                    <a:pt x="157581" y="0"/>
                  </a:lnTo>
                  <a:close/>
                </a:path>
              </a:pathLst>
            </a:custGeom>
            <a:solidFill>
              <a:srgbClr val="FFFFFF"/>
            </a:solidFill>
          </p:spPr>
          <p:txBody>
            <a:bodyPr wrap="square" lIns="0" tIns="0" rIns="0" bIns="0" rtlCol="0"/>
            <a:lstStyle/>
            <a:p>
              <a:endParaRPr sz="649"/>
            </a:p>
          </p:txBody>
        </p:sp>
        <p:sp>
          <p:nvSpPr>
            <p:cNvPr id="15" name="object 15"/>
            <p:cNvSpPr/>
            <p:nvPr/>
          </p:nvSpPr>
          <p:spPr>
            <a:xfrm>
              <a:off x="1870702" y="6151423"/>
              <a:ext cx="1606550" cy="462915"/>
            </a:xfrm>
            <a:custGeom>
              <a:avLst/>
              <a:gdLst/>
              <a:ahLst/>
              <a:cxnLst/>
              <a:rect l="l" t="t" r="r" b="b"/>
              <a:pathLst>
                <a:path w="1606550" h="462915">
                  <a:moveTo>
                    <a:pt x="0" y="0"/>
                  </a:moveTo>
                  <a:lnTo>
                    <a:pt x="40520" y="14498"/>
                  </a:lnTo>
                  <a:lnTo>
                    <a:pt x="104493" y="34978"/>
                  </a:lnTo>
                  <a:lnTo>
                    <a:pt x="144233" y="47187"/>
                  </a:lnTo>
                  <a:lnTo>
                    <a:pt x="188586" y="60564"/>
                  </a:lnTo>
                  <a:lnTo>
                    <a:pt x="237134" y="74997"/>
                  </a:lnTo>
                  <a:lnTo>
                    <a:pt x="289462" y="90378"/>
                  </a:lnTo>
                  <a:lnTo>
                    <a:pt x="345151" y="106598"/>
                  </a:lnTo>
                  <a:lnTo>
                    <a:pt x="403785" y="123546"/>
                  </a:lnTo>
                  <a:lnTo>
                    <a:pt x="464948" y="141113"/>
                  </a:lnTo>
                  <a:lnTo>
                    <a:pt x="528222" y="159190"/>
                  </a:lnTo>
                  <a:lnTo>
                    <a:pt x="593190" y="177667"/>
                  </a:lnTo>
                  <a:lnTo>
                    <a:pt x="659436" y="196435"/>
                  </a:lnTo>
                  <a:lnTo>
                    <a:pt x="726542" y="215384"/>
                  </a:lnTo>
                  <a:lnTo>
                    <a:pt x="794092" y="234404"/>
                  </a:lnTo>
                  <a:lnTo>
                    <a:pt x="861669" y="253386"/>
                  </a:lnTo>
                  <a:lnTo>
                    <a:pt x="928855" y="272220"/>
                  </a:lnTo>
                  <a:lnTo>
                    <a:pt x="995234" y="290797"/>
                  </a:lnTo>
                  <a:lnTo>
                    <a:pt x="1060390" y="309007"/>
                  </a:lnTo>
                  <a:lnTo>
                    <a:pt x="1123904" y="326742"/>
                  </a:lnTo>
                  <a:lnTo>
                    <a:pt x="1185361" y="343890"/>
                  </a:lnTo>
                  <a:lnTo>
                    <a:pt x="1244343" y="360343"/>
                  </a:lnTo>
                  <a:lnTo>
                    <a:pt x="1300433" y="375991"/>
                  </a:lnTo>
                  <a:lnTo>
                    <a:pt x="1353215" y="390725"/>
                  </a:lnTo>
                  <a:lnTo>
                    <a:pt x="1402272" y="404435"/>
                  </a:lnTo>
                  <a:lnTo>
                    <a:pt x="1447186" y="417012"/>
                  </a:lnTo>
                  <a:lnTo>
                    <a:pt x="1487540" y="428345"/>
                  </a:lnTo>
                  <a:lnTo>
                    <a:pt x="1552905" y="446845"/>
                  </a:lnTo>
                  <a:lnTo>
                    <a:pt x="1595029" y="459058"/>
                  </a:lnTo>
                  <a:lnTo>
                    <a:pt x="1606334" y="462534"/>
                  </a:lnTo>
                </a:path>
              </a:pathLst>
            </a:custGeom>
            <a:ln w="25400">
              <a:solidFill>
                <a:srgbClr val="231F20"/>
              </a:solidFill>
            </a:ln>
          </p:spPr>
          <p:txBody>
            <a:bodyPr wrap="square" lIns="0" tIns="0" rIns="0" bIns="0" rtlCol="0"/>
            <a:lstStyle/>
            <a:p>
              <a:endParaRPr sz="649"/>
            </a:p>
          </p:txBody>
        </p:sp>
        <p:sp>
          <p:nvSpPr>
            <p:cNvPr id="16" name="object 16"/>
            <p:cNvSpPr/>
            <p:nvPr/>
          </p:nvSpPr>
          <p:spPr>
            <a:xfrm>
              <a:off x="1939418" y="6224807"/>
              <a:ext cx="667385" cy="641985"/>
            </a:xfrm>
            <a:custGeom>
              <a:avLst/>
              <a:gdLst/>
              <a:ahLst/>
              <a:cxnLst/>
              <a:rect l="l" t="t" r="r" b="b"/>
              <a:pathLst>
                <a:path w="667385" h="641984">
                  <a:moveTo>
                    <a:pt x="165862" y="75"/>
                  </a:moveTo>
                  <a:lnTo>
                    <a:pt x="119188" y="0"/>
                  </a:lnTo>
                  <a:lnTo>
                    <a:pt x="81024" y="2688"/>
                  </a:lnTo>
                  <a:lnTo>
                    <a:pt x="55114" y="65927"/>
                  </a:lnTo>
                  <a:lnTo>
                    <a:pt x="43500" y="124290"/>
                  </a:lnTo>
                  <a:lnTo>
                    <a:pt x="31302" y="191338"/>
                  </a:lnTo>
                  <a:lnTo>
                    <a:pt x="19686" y="259214"/>
                  </a:lnTo>
                  <a:lnTo>
                    <a:pt x="9819" y="320057"/>
                  </a:lnTo>
                  <a:lnTo>
                    <a:pt x="2868" y="366011"/>
                  </a:lnTo>
                  <a:lnTo>
                    <a:pt x="0" y="389215"/>
                  </a:lnTo>
                  <a:lnTo>
                    <a:pt x="1437" y="406297"/>
                  </a:lnTo>
                  <a:lnTo>
                    <a:pt x="40703" y="445502"/>
                  </a:lnTo>
                  <a:lnTo>
                    <a:pt x="95508" y="468065"/>
                  </a:lnTo>
                  <a:lnTo>
                    <a:pt x="145139" y="487864"/>
                  </a:lnTo>
                  <a:lnTo>
                    <a:pt x="204261" y="511232"/>
                  </a:lnTo>
                  <a:lnTo>
                    <a:pt x="268882" y="536589"/>
                  </a:lnTo>
                  <a:lnTo>
                    <a:pt x="335006" y="562351"/>
                  </a:lnTo>
                  <a:lnTo>
                    <a:pt x="398639" y="586938"/>
                  </a:lnTo>
                  <a:lnTo>
                    <a:pt x="455787" y="608767"/>
                  </a:lnTo>
                  <a:lnTo>
                    <a:pt x="502455" y="626258"/>
                  </a:lnTo>
                  <a:lnTo>
                    <a:pt x="548373" y="641895"/>
                  </a:lnTo>
                  <a:lnTo>
                    <a:pt x="571779" y="638008"/>
                  </a:lnTo>
                  <a:lnTo>
                    <a:pt x="611966" y="630212"/>
                  </a:lnTo>
                  <a:lnTo>
                    <a:pt x="649980" y="622562"/>
                  </a:lnTo>
                  <a:lnTo>
                    <a:pt x="666864" y="619111"/>
                  </a:lnTo>
                </a:path>
              </a:pathLst>
            </a:custGeom>
            <a:ln w="25400">
              <a:solidFill>
                <a:srgbClr val="231F20"/>
              </a:solidFill>
            </a:ln>
          </p:spPr>
          <p:txBody>
            <a:bodyPr wrap="square" lIns="0" tIns="0" rIns="0" bIns="0" rtlCol="0"/>
            <a:lstStyle/>
            <a:p>
              <a:endParaRPr sz="649"/>
            </a:p>
          </p:txBody>
        </p:sp>
        <p:sp>
          <p:nvSpPr>
            <p:cNvPr id="17" name="object 17"/>
            <p:cNvSpPr/>
            <p:nvPr/>
          </p:nvSpPr>
          <p:spPr>
            <a:xfrm>
              <a:off x="2547588" y="6438122"/>
              <a:ext cx="288925" cy="419100"/>
            </a:xfrm>
            <a:custGeom>
              <a:avLst/>
              <a:gdLst/>
              <a:ahLst/>
              <a:cxnLst/>
              <a:rect l="l" t="t" r="r" b="b"/>
              <a:pathLst>
                <a:path w="288925" h="419100">
                  <a:moveTo>
                    <a:pt x="54553" y="404637"/>
                  </a:moveTo>
                  <a:lnTo>
                    <a:pt x="29273" y="387380"/>
                  </a:lnTo>
                  <a:lnTo>
                    <a:pt x="11549" y="358071"/>
                  </a:lnTo>
                  <a:lnTo>
                    <a:pt x="1689" y="318985"/>
                  </a:lnTo>
                  <a:lnTo>
                    <a:pt x="0" y="272400"/>
                  </a:lnTo>
                  <a:lnTo>
                    <a:pt x="6787" y="220592"/>
                  </a:lnTo>
                  <a:lnTo>
                    <a:pt x="22359" y="165839"/>
                  </a:lnTo>
                  <a:lnTo>
                    <a:pt x="45421" y="113796"/>
                  </a:lnTo>
                  <a:lnTo>
                    <a:pt x="73350" y="69637"/>
                  </a:lnTo>
                  <a:lnTo>
                    <a:pt x="104451" y="34916"/>
                  </a:lnTo>
                  <a:lnTo>
                    <a:pt x="137035" y="11186"/>
                  </a:lnTo>
                  <a:lnTo>
                    <a:pt x="169408" y="0"/>
                  </a:lnTo>
                  <a:lnTo>
                    <a:pt x="199879" y="2911"/>
                  </a:lnTo>
                  <a:lnTo>
                    <a:pt x="259628" y="31343"/>
                  </a:lnTo>
                  <a:lnTo>
                    <a:pt x="287215" y="99739"/>
                  </a:lnTo>
                  <a:lnTo>
                    <a:pt x="288906" y="146324"/>
                  </a:lnTo>
                  <a:lnTo>
                    <a:pt x="282117" y="198131"/>
                  </a:lnTo>
                  <a:lnTo>
                    <a:pt x="266541" y="252885"/>
                  </a:lnTo>
                  <a:lnTo>
                    <a:pt x="243483" y="304927"/>
                  </a:lnTo>
                  <a:lnTo>
                    <a:pt x="215556" y="349083"/>
                  </a:lnTo>
                  <a:lnTo>
                    <a:pt x="184453" y="383803"/>
                  </a:lnTo>
                  <a:lnTo>
                    <a:pt x="151868" y="407532"/>
                  </a:lnTo>
                  <a:lnTo>
                    <a:pt x="119493" y="418720"/>
                  </a:lnTo>
                  <a:lnTo>
                    <a:pt x="89021" y="415813"/>
                  </a:lnTo>
                  <a:lnTo>
                    <a:pt x="54553" y="404637"/>
                  </a:lnTo>
                  <a:close/>
                </a:path>
              </a:pathLst>
            </a:custGeom>
            <a:ln w="25400">
              <a:solidFill>
                <a:srgbClr val="231F20"/>
              </a:solidFill>
            </a:ln>
          </p:spPr>
          <p:txBody>
            <a:bodyPr wrap="square" lIns="0" tIns="0" rIns="0" bIns="0" rtlCol="0"/>
            <a:lstStyle/>
            <a:p>
              <a:endParaRPr sz="649"/>
            </a:p>
          </p:txBody>
        </p:sp>
        <p:sp>
          <p:nvSpPr>
            <p:cNvPr id="18" name="object 18"/>
            <p:cNvSpPr/>
            <p:nvPr/>
          </p:nvSpPr>
          <p:spPr>
            <a:xfrm>
              <a:off x="2583484" y="6455781"/>
              <a:ext cx="198755" cy="393065"/>
            </a:xfrm>
            <a:custGeom>
              <a:avLst/>
              <a:gdLst/>
              <a:ahLst/>
              <a:cxnLst/>
              <a:rect l="l" t="t" r="r" b="b"/>
              <a:pathLst>
                <a:path w="198755" h="393065">
                  <a:moveTo>
                    <a:pt x="57415" y="392634"/>
                  </a:moveTo>
                  <a:lnTo>
                    <a:pt x="31516" y="375404"/>
                  </a:lnTo>
                  <a:lnTo>
                    <a:pt x="13082" y="346547"/>
                  </a:lnTo>
                  <a:lnTo>
                    <a:pt x="2460" y="308287"/>
                  </a:lnTo>
                  <a:lnTo>
                    <a:pt x="0" y="262846"/>
                  </a:lnTo>
                  <a:lnTo>
                    <a:pt x="6048" y="212450"/>
                  </a:lnTo>
                  <a:lnTo>
                    <a:pt x="20953" y="159322"/>
                  </a:lnTo>
                  <a:lnTo>
                    <a:pt x="43489" y="108951"/>
                  </a:lnTo>
                  <a:lnTo>
                    <a:pt x="71083" y="66346"/>
                  </a:lnTo>
                  <a:lnTo>
                    <a:pt x="102046" y="32995"/>
                  </a:lnTo>
                  <a:lnTo>
                    <a:pt x="134687" y="10384"/>
                  </a:lnTo>
                  <a:lnTo>
                    <a:pt x="167316" y="0"/>
                  </a:lnTo>
                  <a:lnTo>
                    <a:pt x="198245" y="3328"/>
                  </a:lnTo>
                </a:path>
              </a:pathLst>
            </a:custGeom>
            <a:ln w="7620">
              <a:solidFill>
                <a:srgbClr val="231F20"/>
              </a:solidFill>
            </a:ln>
          </p:spPr>
          <p:txBody>
            <a:bodyPr wrap="square" lIns="0" tIns="0" rIns="0" bIns="0" rtlCol="0"/>
            <a:lstStyle/>
            <a:p>
              <a:endParaRPr sz="649"/>
            </a:p>
          </p:txBody>
        </p:sp>
        <p:pic>
          <p:nvPicPr>
            <p:cNvPr id="19" name="object 19"/>
            <p:cNvPicPr/>
            <p:nvPr/>
          </p:nvPicPr>
          <p:blipFill>
            <a:blip r:embed="rId3" cstate="print"/>
            <a:stretch>
              <a:fillRect/>
            </a:stretch>
          </p:blipFill>
          <p:spPr>
            <a:xfrm>
              <a:off x="2644379" y="6548056"/>
              <a:ext cx="146072" cy="218503"/>
            </a:xfrm>
            <a:prstGeom prst="rect">
              <a:avLst/>
            </a:prstGeom>
          </p:spPr>
        </p:pic>
        <p:sp>
          <p:nvSpPr>
            <p:cNvPr id="20" name="object 20"/>
            <p:cNvSpPr/>
            <p:nvPr/>
          </p:nvSpPr>
          <p:spPr>
            <a:xfrm>
              <a:off x="2653499" y="6553186"/>
              <a:ext cx="332105" cy="372110"/>
            </a:xfrm>
            <a:custGeom>
              <a:avLst/>
              <a:gdLst/>
              <a:ahLst/>
              <a:cxnLst/>
              <a:rect l="l" t="t" r="r" b="b"/>
              <a:pathLst>
                <a:path w="332105" h="372109">
                  <a:moveTo>
                    <a:pt x="94360" y="0"/>
                  </a:moveTo>
                  <a:lnTo>
                    <a:pt x="55321" y="15405"/>
                  </a:lnTo>
                  <a:lnTo>
                    <a:pt x="14439" y="73113"/>
                  </a:lnTo>
                  <a:lnTo>
                    <a:pt x="0" y="152615"/>
                  </a:lnTo>
                  <a:lnTo>
                    <a:pt x="26441" y="188683"/>
                  </a:lnTo>
                  <a:lnTo>
                    <a:pt x="10833" y="200545"/>
                  </a:lnTo>
                  <a:lnTo>
                    <a:pt x="4813" y="343611"/>
                  </a:lnTo>
                  <a:lnTo>
                    <a:pt x="46596" y="361619"/>
                  </a:lnTo>
                  <a:lnTo>
                    <a:pt x="117195" y="371487"/>
                  </a:lnTo>
                  <a:lnTo>
                    <a:pt x="237223" y="264922"/>
                  </a:lnTo>
                  <a:lnTo>
                    <a:pt x="275742" y="265684"/>
                  </a:lnTo>
                  <a:lnTo>
                    <a:pt x="302640" y="228473"/>
                  </a:lnTo>
                  <a:lnTo>
                    <a:pt x="324650" y="165404"/>
                  </a:lnTo>
                  <a:lnTo>
                    <a:pt x="331863" y="118503"/>
                  </a:lnTo>
                  <a:lnTo>
                    <a:pt x="312153" y="80289"/>
                  </a:lnTo>
                  <a:lnTo>
                    <a:pt x="94360" y="0"/>
                  </a:lnTo>
                  <a:close/>
                </a:path>
              </a:pathLst>
            </a:custGeom>
            <a:solidFill>
              <a:srgbClr val="FFFFFF"/>
            </a:solidFill>
          </p:spPr>
          <p:txBody>
            <a:bodyPr wrap="square" lIns="0" tIns="0" rIns="0" bIns="0" rtlCol="0"/>
            <a:lstStyle/>
            <a:p>
              <a:endParaRPr sz="649"/>
            </a:p>
          </p:txBody>
        </p:sp>
        <p:pic>
          <p:nvPicPr>
            <p:cNvPr id="21" name="object 21"/>
            <p:cNvPicPr/>
            <p:nvPr/>
          </p:nvPicPr>
          <p:blipFill>
            <a:blip r:embed="rId4" cstate="print"/>
            <a:stretch>
              <a:fillRect/>
            </a:stretch>
          </p:blipFill>
          <p:spPr>
            <a:xfrm>
              <a:off x="2761543" y="6624340"/>
              <a:ext cx="200021" cy="174830"/>
            </a:xfrm>
            <a:prstGeom prst="rect">
              <a:avLst/>
            </a:prstGeom>
          </p:spPr>
        </p:pic>
        <p:sp>
          <p:nvSpPr>
            <p:cNvPr id="22" name="object 22"/>
            <p:cNvSpPr/>
            <p:nvPr/>
          </p:nvSpPr>
          <p:spPr>
            <a:xfrm>
              <a:off x="2658193" y="6555117"/>
              <a:ext cx="325120" cy="375285"/>
            </a:xfrm>
            <a:custGeom>
              <a:avLst/>
              <a:gdLst/>
              <a:ahLst/>
              <a:cxnLst/>
              <a:rect l="l" t="t" r="r" b="b"/>
              <a:pathLst>
                <a:path w="325119" h="375284">
                  <a:moveTo>
                    <a:pt x="129984" y="97663"/>
                  </a:moveTo>
                  <a:lnTo>
                    <a:pt x="56638" y="152305"/>
                  </a:lnTo>
                  <a:lnTo>
                    <a:pt x="18989" y="181425"/>
                  </a:lnTo>
                  <a:lnTo>
                    <a:pt x="2818" y="228620"/>
                  </a:lnTo>
                  <a:lnTo>
                    <a:pt x="1689" y="276186"/>
                  </a:lnTo>
                  <a:lnTo>
                    <a:pt x="531" y="321791"/>
                  </a:lnTo>
                  <a:lnTo>
                    <a:pt x="0" y="342163"/>
                  </a:lnTo>
                  <a:lnTo>
                    <a:pt x="56980" y="362483"/>
                  </a:lnTo>
                  <a:lnTo>
                    <a:pt x="86896" y="372471"/>
                  </a:lnTo>
                  <a:lnTo>
                    <a:pt x="99576" y="375021"/>
                  </a:lnTo>
                  <a:lnTo>
                    <a:pt x="104851" y="373024"/>
                  </a:lnTo>
                  <a:lnTo>
                    <a:pt x="127959" y="354768"/>
                  </a:lnTo>
                  <a:lnTo>
                    <a:pt x="172496" y="318916"/>
                  </a:lnTo>
                  <a:lnTo>
                    <a:pt x="215820" y="283891"/>
                  </a:lnTo>
                  <a:lnTo>
                    <a:pt x="235292" y="268122"/>
                  </a:lnTo>
                  <a:lnTo>
                    <a:pt x="257190" y="266677"/>
                  </a:lnTo>
                  <a:lnTo>
                    <a:pt x="279782" y="250817"/>
                  </a:lnTo>
                  <a:lnTo>
                    <a:pt x="300452" y="223172"/>
                  </a:lnTo>
                  <a:lnTo>
                    <a:pt x="316585" y="186372"/>
                  </a:lnTo>
                  <a:lnTo>
                    <a:pt x="324879" y="147065"/>
                  </a:lnTo>
                  <a:lnTo>
                    <a:pt x="324154" y="112561"/>
                  </a:lnTo>
                  <a:lnTo>
                    <a:pt x="315010" y="86518"/>
                  </a:lnTo>
                  <a:lnTo>
                    <a:pt x="298043" y="72593"/>
                  </a:lnTo>
                  <a:lnTo>
                    <a:pt x="92913" y="0"/>
                  </a:lnTo>
                  <a:lnTo>
                    <a:pt x="70578" y="1309"/>
                  </a:lnTo>
                  <a:lnTo>
                    <a:pt x="26722" y="44618"/>
                  </a:lnTo>
                  <a:lnTo>
                    <a:pt x="10502" y="81381"/>
                  </a:lnTo>
                  <a:lnTo>
                    <a:pt x="1255" y="144791"/>
                  </a:lnTo>
                  <a:lnTo>
                    <a:pt x="6007" y="169740"/>
                  </a:lnTo>
                  <a:lnTo>
                    <a:pt x="16878" y="187464"/>
                  </a:lnTo>
                </a:path>
              </a:pathLst>
            </a:custGeom>
            <a:ln w="25400">
              <a:solidFill>
                <a:srgbClr val="231F20"/>
              </a:solidFill>
            </a:ln>
          </p:spPr>
          <p:txBody>
            <a:bodyPr wrap="square" lIns="0" tIns="0" rIns="0" bIns="0" rtlCol="0"/>
            <a:lstStyle/>
            <a:p>
              <a:endParaRPr sz="649"/>
            </a:p>
          </p:txBody>
        </p:sp>
        <p:sp>
          <p:nvSpPr>
            <p:cNvPr id="23" name="object 23"/>
            <p:cNvSpPr/>
            <p:nvPr/>
          </p:nvSpPr>
          <p:spPr>
            <a:xfrm>
              <a:off x="2661456" y="6757482"/>
              <a:ext cx="102870" cy="170815"/>
            </a:xfrm>
            <a:custGeom>
              <a:avLst/>
              <a:gdLst/>
              <a:ahLst/>
              <a:cxnLst/>
              <a:rect l="l" t="t" r="r" b="b"/>
              <a:pathLst>
                <a:path w="102869" h="170815">
                  <a:moveTo>
                    <a:pt x="0" y="0"/>
                  </a:moveTo>
                  <a:lnTo>
                    <a:pt x="102514" y="35394"/>
                  </a:lnTo>
                  <a:lnTo>
                    <a:pt x="101587" y="170662"/>
                  </a:lnTo>
                </a:path>
              </a:pathLst>
            </a:custGeom>
            <a:ln w="7619">
              <a:solidFill>
                <a:srgbClr val="231F20"/>
              </a:solidFill>
            </a:ln>
          </p:spPr>
          <p:txBody>
            <a:bodyPr wrap="square" lIns="0" tIns="0" rIns="0" bIns="0" rtlCol="0"/>
            <a:lstStyle/>
            <a:p>
              <a:endParaRPr sz="649"/>
            </a:p>
          </p:txBody>
        </p:sp>
        <p:sp>
          <p:nvSpPr>
            <p:cNvPr id="24" name="object 24"/>
            <p:cNvSpPr/>
            <p:nvPr/>
          </p:nvSpPr>
          <p:spPr>
            <a:xfrm>
              <a:off x="1997624" y="6846530"/>
              <a:ext cx="713740" cy="485140"/>
            </a:xfrm>
            <a:custGeom>
              <a:avLst/>
              <a:gdLst/>
              <a:ahLst/>
              <a:cxnLst/>
              <a:rect l="l" t="t" r="r" b="b"/>
              <a:pathLst>
                <a:path w="713739" h="485140">
                  <a:moveTo>
                    <a:pt x="713676" y="0"/>
                  </a:moveTo>
                  <a:lnTo>
                    <a:pt x="682028" y="28448"/>
                  </a:lnTo>
                  <a:lnTo>
                    <a:pt x="651984" y="58711"/>
                  </a:lnTo>
                  <a:lnTo>
                    <a:pt x="622087" y="89948"/>
                  </a:lnTo>
                  <a:lnTo>
                    <a:pt x="590878" y="121323"/>
                  </a:lnTo>
                  <a:lnTo>
                    <a:pt x="556901" y="151995"/>
                  </a:lnTo>
                  <a:lnTo>
                    <a:pt x="518698" y="181128"/>
                  </a:lnTo>
                  <a:lnTo>
                    <a:pt x="474812" y="207882"/>
                  </a:lnTo>
                  <a:lnTo>
                    <a:pt x="423785" y="231419"/>
                  </a:lnTo>
                  <a:lnTo>
                    <a:pt x="364159" y="250901"/>
                  </a:lnTo>
                  <a:lnTo>
                    <a:pt x="225746" y="309186"/>
                  </a:lnTo>
                  <a:lnTo>
                    <a:pt x="109623" y="387191"/>
                  </a:lnTo>
                  <a:lnTo>
                    <a:pt x="29728" y="455537"/>
                  </a:lnTo>
                  <a:lnTo>
                    <a:pt x="0" y="484847"/>
                  </a:lnTo>
                </a:path>
              </a:pathLst>
            </a:custGeom>
            <a:ln w="63500">
              <a:solidFill>
                <a:srgbClr val="231F20"/>
              </a:solidFill>
            </a:ln>
          </p:spPr>
          <p:txBody>
            <a:bodyPr wrap="square" lIns="0" tIns="0" rIns="0" bIns="0" rtlCol="0"/>
            <a:lstStyle/>
            <a:p>
              <a:endParaRPr sz="649"/>
            </a:p>
          </p:txBody>
        </p:sp>
        <p:pic>
          <p:nvPicPr>
            <p:cNvPr id="25" name="object 25"/>
            <p:cNvPicPr/>
            <p:nvPr/>
          </p:nvPicPr>
          <p:blipFill>
            <a:blip r:embed="rId5" cstate="print"/>
            <a:stretch>
              <a:fillRect/>
            </a:stretch>
          </p:blipFill>
          <p:spPr>
            <a:xfrm>
              <a:off x="2752681" y="6717237"/>
              <a:ext cx="81672" cy="190199"/>
            </a:xfrm>
            <a:prstGeom prst="rect">
              <a:avLst/>
            </a:prstGeom>
          </p:spPr>
        </p:pic>
        <p:sp>
          <p:nvSpPr>
            <p:cNvPr id="26" name="object 26"/>
            <p:cNvSpPr/>
            <p:nvPr/>
          </p:nvSpPr>
          <p:spPr>
            <a:xfrm>
              <a:off x="2817633" y="6437408"/>
              <a:ext cx="8255" cy="30480"/>
            </a:xfrm>
            <a:custGeom>
              <a:avLst/>
              <a:gdLst/>
              <a:ahLst/>
              <a:cxnLst/>
              <a:rect l="l" t="t" r="r" b="b"/>
              <a:pathLst>
                <a:path w="8255" h="30479">
                  <a:moveTo>
                    <a:pt x="0" y="30429"/>
                  </a:moveTo>
                  <a:lnTo>
                    <a:pt x="8128" y="0"/>
                  </a:lnTo>
                </a:path>
              </a:pathLst>
            </a:custGeom>
            <a:ln w="25400">
              <a:solidFill>
                <a:srgbClr val="231F20"/>
              </a:solidFill>
            </a:ln>
          </p:spPr>
          <p:txBody>
            <a:bodyPr wrap="square" lIns="0" tIns="0" rIns="0" bIns="0" rtlCol="0"/>
            <a:lstStyle/>
            <a:p>
              <a:endParaRPr sz="649"/>
            </a:p>
          </p:txBody>
        </p:sp>
        <p:sp>
          <p:nvSpPr>
            <p:cNvPr id="27" name="object 27"/>
            <p:cNvSpPr/>
            <p:nvPr/>
          </p:nvSpPr>
          <p:spPr>
            <a:xfrm>
              <a:off x="1691189" y="5784051"/>
              <a:ext cx="1799589" cy="1799589"/>
            </a:xfrm>
            <a:custGeom>
              <a:avLst/>
              <a:gdLst/>
              <a:ahLst/>
              <a:cxnLst/>
              <a:rect l="l" t="t" r="r" b="b"/>
              <a:pathLst>
                <a:path w="1799589" h="1799590">
                  <a:moveTo>
                    <a:pt x="1755429" y="1177287"/>
                  </a:moveTo>
                  <a:lnTo>
                    <a:pt x="1739504" y="1222345"/>
                  </a:lnTo>
                  <a:lnTo>
                    <a:pt x="1721448" y="1266029"/>
                  </a:lnTo>
                  <a:lnTo>
                    <a:pt x="1701337" y="1308299"/>
                  </a:lnTo>
                  <a:lnTo>
                    <a:pt x="1679250" y="1349114"/>
                  </a:lnTo>
                  <a:lnTo>
                    <a:pt x="1655266" y="1388435"/>
                  </a:lnTo>
                  <a:lnTo>
                    <a:pt x="1629463" y="1426222"/>
                  </a:lnTo>
                  <a:lnTo>
                    <a:pt x="1601919" y="1462435"/>
                  </a:lnTo>
                  <a:lnTo>
                    <a:pt x="1572712" y="1497034"/>
                  </a:lnTo>
                  <a:lnTo>
                    <a:pt x="1541922" y="1529979"/>
                  </a:lnTo>
                  <a:lnTo>
                    <a:pt x="1509625" y="1561230"/>
                  </a:lnTo>
                  <a:lnTo>
                    <a:pt x="1475901" y="1590746"/>
                  </a:lnTo>
                  <a:lnTo>
                    <a:pt x="1440828" y="1618489"/>
                  </a:lnTo>
                  <a:lnTo>
                    <a:pt x="1404484" y="1644418"/>
                  </a:lnTo>
                  <a:lnTo>
                    <a:pt x="1366947" y="1668493"/>
                  </a:lnTo>
                  <a:lnTo>
                    <a:pt x="1328296" y="1690674"/>
                  </a:lnTo>
                  <a:lnTo>
                    <a:pt x="1288610" y="1710922"/>
                  </a:lnTo>
                  <a:lnTo>
                    <a:pt x="1247965" y="1729196"/>
                  </a:lnTo>
                  <a:lnTo>
                    <a:pt x="1206442" y="1745456"/>
                  </a:lnTo>
                  <a:lnTo>
                    <a:pt x="1164117" y="1759663"/>
                  </a:lnTo>
                  <a:lnTo>
                    <a:pt x="1121070" y="1771776"/>
                  </a:lnTo>
                  <a:lnTo>
                    <a:pt x="1077378" y="1781755"/>
                  </a:lnTo>
                  <a:lnTo>
                    <a:pt x="1033121" y="1789561"/>
                  </a:lnTo>
                  <a:lnTo>
                    <a:pt x="988376" y="1795154"/>
                  </a:lnTo>
                  <a:lnTo>
                    <a:pt x="943221" y="1798493"/>
                  </a:lnTo>
                  <a:lnTo>
                    <a:pt x="897736" y="1799539"/>
                  </a:lnTo>
                  <a:lnTo>
                    <a:pt x="851998" y="1798251"/>
                  </a:lnTo>
                  <a:lnTo>
                    <a:pt x="806085" y="1794591"/>
                  </a:lnTo>
                  <a:lnTo>
                    <a:pt x="760077" y="1788517"/>
                  </a:lnTo>
                  <a:lnTo>
                    <a:pt x="714051" y="1779989"/>
                  </a:lnTo>
                  <a:lnTo>
                    <a:pt x="668085" y="1768969"/>
                  </a:lnTo>
                  <a:lnTo>
                    <a:pt x="622258" y="1755416"/>
                  </a:lnTo>
                  <a:lnTo>
                    <a:pt x="577200" y="1739492"/>
                  </a:lnTo>
                  <a:lnTo>
                    <a:pt x="533516" y="1721435"/>
                  </a:lnTo>
                  <a:lnTo>
                    <a:pt x="491246" y="1701325"/>
                  </a:lnTo>
                  <a:lnTo>
                    <a:pt x="450431" y="1679239"/>
                  </a:lnTo>
                  <a:lnTo>
                    <a:pt x="411109" y="1655255"/>
                  </a:lnTo>
                  <a:lnTo>
                    <a:pt x="373322" y="1629453"/>
                  </a:lnTo>
                  <a:lnTo>
                    <a:pt x="337109" y="1601909"/>
                  </a:lnTo>
                  <a:lnTo>
                    <a:pt x="302511" y="1572704"/>
                  </a:lnTo>
                  <a:lnTo>
                    <a:pt x="269566" y="1541914"/>
                  </a:lnTo>
                  <a:lnTo>
                    <a:pt x="238315" y="1509618"/>
                  </a:lnTo>
                  <a:lnTo>
                    <a:pt x="208798" y="1475895"/>
                  </a:lnTo>
                  <a:lnTo>
                    <a:pt x="181055" y="1440823"/>
                  </a:lnTo>
                  <a:lnTo>
                    <a:pt x="155126" y="1404480"/>
                  </a:lnTo>
                  <a:lnTo>
                    <a:pt x="131051" y="1366944"/>
                  </a:lnTo>
                  <a:lnTo>
                    <a:pt x="108869" y="1328294"/>
                  </a:lnTo>
                  <a:lnTo>
                    <a:pt x="88621" y="1288608"/>
                  </a:lnTo>
                  <a:lnTo>
                    <a:pt x="70347" y="1247965"/>
                  </a:lnTo>
                  <a:lnTo>
                    <a:pt x="54086" y="1206442"/>
                  </a:lnTo>
                  <a:lnTo>
                    <a:pt x="39879" y="1164118"/>
                  </a:lnTo>
                  <a:lnTo>
                    <a:pt x="27766" y="1121072"/>
                  </a:lnTo>
                  <a:lnTo>
                    <a:pt x="17786" y="1077381"/>
                  </a:lnTo>
                  <a:lnTo>
                    <a:pt x="9979" y="1033124"/>
                  </a:lnTo>
                  <a:lnTo>
                    <a:pt x="4386" y="988379"/>
                  </a:lnTo>
                  <a:lnTo>
                    <a:pt x="1046" y="943225"/>
                  </a:lnTo>
                  <a:lnTo>
                    <a:pt x="0" y="897739"/>
                  </a:lnTo>
                  <a:lnTo>
                    <a:pt x="1286" y="852001"/>
                  </a:lnTo>
                  <a:lnTo>
                    <a:pt x="4946" y="806088"/>
                  </a:lnTo>
                  <a:lnTo>
                    <a:pt x="11019" y="760079"/>
                  </a:lnTo>
                  <a:lnTo>
                    <a:pt x="19545" y="714053"/>
                  </a:lnTo>
                  <a:lnTo>
                    <a:pt x="30564" y="668086"/>
                  </a:lnTo>
                  <a:lnTo>
                    <a:pt x="44116" y="622258"/>
                  </a:lnTo>
                  <a:lnTo>
                    <a:pt x="60041" y="577200"/>
                  </a:lnTo>
                  <a:lnTo>
                    <a:pt x="78097" y="533516"/>
                  </a:lnTo>
                  <a:lnTo>
                    <a:pt x="98208" y="491246"/>
                  </a:lnTo>
                  <a:lnTo>
                    <a:pt x="120294" y="450431"/>
                  </a:lnTo>
                  <a:lnTo>
                    <a:pt x="144278" y="411109"/>
                  </a:lnTo>
                  <a:lnTo>
                    <a:pt x="170081" y="373322"/>
                  </a:lnTo>
                  <a:lnTo>
                    <a:pt x="197624" y="337109"/>
                  </a:lnTo>
                  <a:lnTo>
                    <a:pt x="226831" y="302511"/>
                  </a:lnTo>
                  <a:lnTo>
                    <a:pt x="257621" y="269566"/>
                  </a:lnTo>
                  <a:lnTo>
                    <a:pt x="289917" y="238315"/>
                  </a:lnTo>
                  <a:lnTo>
                    <a:pt x="323641" y="208798"/>
                  </a:lnTo>
                  <a:lnTo>
                    <a:pt x="358713" y="181055"/>
                  </a:lnTo>
                  <a:lnTo>
                    <a:pt x="395057" y="155126"/>
                  </a:lnTo>
                  <a:lnTo>
                    <a:pt x="432593" y="131051"/>
                  </a:lnTo>
                  <a:lnTo>
                    <a:pt x="471244" y="108869"/>
                  </a:lnTo>
                  <a:lnTo>
                    <a:pt x="510930" y="88621"/>
                  </a:lnTo>
                  <a:lnTo>
                    <a:pt x="551575" y="70347"/>
                  </a:lnTo>
                  <a:lnTo>
                    <a:pt x="593098" y="54086"/>
                  </a:lnTo>
                  <a:lnTo>
                    <a:pt x="635422" y="39879"/>
                  </a:lnTo>
                  <a:lnTo>
                    <a:pt x="678470" y="27766"/>
                  </a:lnTo>
                  <a:lnTo>
                    <a:pt x="722161" y="17786"/>
                  </a:lnTo>
                  <a:lnTo>
                    <a:pt x="766419" y="9979"/>
                  </a:lnTo>
                  <a:lnTo>
                    <a:pt x="811164" y="4386"/>
                  </a:lnTo>
                  <a:lnTo>
                    <a:pt x="856318" y="1046"/>
                  </a:lnTo>
                  <a:lnTo>
                    <a:pt x="901804" y="0"/>
                  </a:lnTo>
                  <a:lnTo>
                    <a:pt x="947543" y="1286"/>
                  </a:lnTo>
                  <a:lnTo>
                    <a:pt x="993456" y="4946"/>
                  </a:lnTo>
                  <a:lnTo>
                    <a:pt x="1039465" y="11019"/>
                  </a:lnTo>
                  <a:lnTo>
                    <a:pt x="1085492" y="19545"/>
                  </a:lnTo>
                  <a:lnTo>
                    <a:pt x="1131459" y="30564"/>
                  </a:lnTo>
                  <a:lnTo>
                    <a:pt x="1177287" y="44116"/>
                  </a:lnTo>
                  <a:lnTo>
                    <a:pt x="1222345" y="60041"/>
                  </a:lnTo>
                  <a:lnTo>
                    <a:pt x="1266029" y="78097"/>
                  </a:lnTo>
                  <a:lnTo>
                    <a:pt x="1308299" y="98208"/>
                  </a:lnTo>
                  <a:lnTo>
                    <a:pt x="1349114" y="120294"/>
                  </a:lnTo>
                  <a:lnTo>
                    <a:pt x="1388435" y="144278"/>
                  </a:lnTo>
                  <a:lnTo>
                    <a:pt x="1426223" y="170081"/>
                  </a:lnTo>
                  <a:lnTo>
                    <a:pt x="1462435" y="197624"/>
                  </a:lnTo>
                  <a:lnTo>
                    <a:pt x="1497034" y="226831"/>
                  </a:lnTo>
                  <a:lnTo>
                    <a:pt x="1529979" y="257621"/>
                  </a:lnTo>
                  <a:lnTo>
                    <a:pt x="1561230" y="289917"/>
                  </a:lnTo>
                  <a:lnTo>
                    <a:pt x="1590747" y="323641"/>
                  </a:lnTo>
                  <a:lnTo>
                    <a:pt x="1618490" y="358713"/>
                  </a:lnTo>
                  <a:lnTo>
                    <a:pt x="1644419" y="395057"/>
                  </a:lnTo>
                  <a:lnTo>
                    <a:pt x="1668494" y="432593"/>
                  </a:lnTo>
                  <a:lnTo>
                    <a:pt x="1690676" y="471244"/>
                  </a:lnTo>
                  <a:lnTo>
                    <a:pt x="1710924" y="510930"/>
                  </a:lnTo>
                  <a:lnTo>
                    <a:pt x="1729198" y="551575"/>
                  </a:lnTo>
                  <a:lnTo>
                    <a:pt x="1745459" y="593098"/>
                  </a:lnTo>
                  <a:lnTo>
                    <a:pt x="1759666" y="635422"/>
                  </a:lnTo>
                  <a:lnTo>
                    <a:pt x="1771779" y="678470"/>
                  </a:lnTo>
                  <a:lnTo>
                    <a:pt x="1781759" y="722161"/>
                  </a:lnTo>
                  <a:lnTo>
                    <a:pt x="1789566" y="766419"/>
                  </a:lnTo>
                  <a:lnTo>
                    <a:pt x="1795159" y="811164"/>
                  </a:lnTo>
                  <a:lnTo>
                    <a:pt x="1798499" y="856318"/>
                  </a:lnTo>
                  <a:lnTo>
                    <a:pt x="1799545" y="901804"/>
                  </a:lnTo>
                  <a:lnTo>
                    <a:pt x="1798259" y="947543"/>
                  </a:lnTo>
                  <a:lnTo>
                    <a:pt x="1794599" y="993456"/>
                  </a:lnTo>
                  <a:lnTo>
                    <a:pt x="1788526" y="1039465"/>
                  </a:lnTo>
                  <a:lnTo>
                    <a:pt x="1780000" y="1085492"/>
                  </a:lnTo>
                  <a:lnTo>
                    <a:pt x="1768981" y="1131459"/>
                  </a:lnTo>
                  <a:lnTo>
                    <a:pt x="1755429" y="1177287"/>
                  </a:lnTo>
                  <a:close/>
                </a:path>
              </a:pathLst>
            </a:custGeom>
            <a:ln w="25400">
              <a:solidFill>
                <a:srgbClr val="E3873E"/>
              </a:solidFill>
              <a:prstDash val="sysDash"/>
            </a:ln>
          </p:spPr>
          <p:txBody>
            <a:bodyPr wrap="square" lIns="0" tIns="0" rIns="0" bIns="0" rtlCol="0"/>
            <a:lstStyle/>
            <a:p>
              <a:endParaRPr sz="649"/>
            </a:p>
          </p:txBody>
        </p:sp>
        <p:pic>
          <p:nvPicPr>
            <p:cNvPr id="28" name="object 28"/>
            <p:cNvPicPr/>
            <p:nvPr/>
          </p:nvPicPr>
          <p:blipFill>
            <a:blip r:embed="rId6" cstate="print"/>
            <a:stretch>
              <a:fillRect/>
            </a:stretch>
          </p:blipFill>
          <p:spPr>
            <a:xfrm>
              <a:off x="2922599" y="6644030"/>
              <a:ext cx="482536" cy="308419"/>
            </a:xfrm>
            <a:prstGeom prst="rect">
              <a:avLst/>
            </a:prstGeom>
          </p:spPr>
        </p:pic>
        <p:sp>
          <p:nvSpPr>
            <p:cNvPr id="29" name="object 29"/>
            <p:cNvSpPr/>
            <p:nvPr/>
          </p:nvSpPr>
          <p:spPr>
            <a:xfrm>
              <a:off x="2922605" y="6644040"/>
              <a:ext cx="482600" cy="308610"/>
            </a:xfrm>
            <a:custGeom>
              <a:avLst/>
              <a:gdLst/>
              <a:ahLst/>
              <a:cxnLst/>
              <a:rect l="l" t="t" r="r" b="b"/>
              <a:pathLst>
                <a:path w="482600" h="308609">
                  <a:moveTo>
                    <a:pt x="448017" y="308394"/>
                  </a:moveTo>
                  <a:lnTo>
                    <a:pt x="126847" y="204228"/>
                  </a:lnTo>
                  <a:lnTo>
                    <a:pt x="94208" y="289026"/>
                  </a:lnTo>
                  <a:lnTo>
                    <a:pt x="0" y="90043"/>
                  </a:lnTo>
                  <a:lnTo>
                    <a:pt x="187947" y="0"/>
                  </a:lnTo>
                  <a:lnTo>
                    <a:pt x="161340" y="97866"/>
                  </a:lnTo>
                  <a:lnTo>
                    <a:pt x="482511" y="202031"/>
                  </a:lnTo>
                  <a:lnTo>
                    <a:pt x="463298" y="261293"/>
                  </a:lnTo>
                  <a:lnTo>
                    <a:pt x="453301" y="292126"/>
                  </a:lnTo>
                  <a:lnTo>
                    <a:pt x="449285" y="304503"/>
                  </a:lnTo>
                  <a:lnTo>
                    <a:pt x="448017" y="308394"/>
                  </a:lnTo>
                  <a:close/>
                </a:path>
              </a:pathLst>
            </a:custGeom>
            <a:ln w="7620">
              <a:solidFill>
                <a:srgbClr val="E3873E"/>
              </a:solidFill>
            </a:ln>
          </p:spPr>
          <p:txBody>
            <a:bodyPr wrap="square" lIns="0" tIns="0" rIns="0" bIns="0" rtlCol="0"/>
            <a:lstStyle/>
            <a:p>
              <a:endParaRPr sz="649"/>
            </a:p>
          </p:txBody>
        </p:sp>
        <p:sp>
          <p:nvSpPr>
            <p:cNvPr id="30" name="object 30"/>
            <p:cNvSpPr/>
            <p:nvPr/>
          </p:nvSpPr>
          <p:spPr>
            <a:xfrm>
              <a:off x="3457344" y="7629199"/>
              <a:ext cx="1799589" cy="1799589"/>
            </a:xfrm>
            <a:custGeom>
              <a:avLst/>
              <a:gdLst/>
              <a:ahLst/>
              <a:cxnLst/>
              <a:rect l="l" t="t" r="r" b="b"/>
              <a:pathLst>
                <a:path w="1799589" h="1799590">
                  <a:moveTo>
                    <a:pt x="901804" y="0"/>
                  </a:moveTo>
                  <a:lnTo>
                    <a:pt x="856319" y="1047"/>
                  </a:lnTo>
                  <a:lnTo>
                    <a:pt x="811164" y="4387"/>
                  </a:lnTo>
                  <a:lnTo>
                    <a:pt x="766419" y="9981"/>
                  </a:lnTo>
                  <a:lnTo>
                    <a:pt x="722161" y="17788"/>
                  </a:lnTo>
                  <a:lnTo>
                    <a:pt x="678470" y="27768"/>
                  </a:lnTo>
                  <a:lnTo>
                    <a:pt x="635423" y="39882"/>
                  </a:lnTo>
                  <a:lnTo>
                    <a:pt x="593098" y="54090"/>
                  </a:lnTo>
                  <a:lnTo>
                    <a:pt x="551575" y="70351"/>
                  </a:lnTo>
                  <a:lnTo>
                    <a:pt x="510931" y="88626"/>
                  </a:lnTo>
                  <a:lnTo>
                    <a:pt x="471244" y="108874"/>
                  </a:lnTo>
                  <a:lnTo>
                    <a:pt x="432594" y="131057"/>
                  </a:lnTo>
                  <a:lnTo>
                    <a:pt x="395057" y="155133"/>
                  </a:lnTo>
                  <a:lnTo>
                    <a:pt x="358714" y="181062"/>
                  </a:lnTo>
                  <a:lnTo>
                    <a:pt x="323641" y="208806"/>
                  </a:lnTo>
                  <a:lnTo>
                    <a:pt x="289917" y="238323"/>
                  </a:lnTo>
                  <a:lnTo>
                    <a:pt x="257621" y="269575"/>
                  </a:lnTo>
                  <a:lnTo>
                    <a:pt x="226831" y="302520"/>
                  </a:lnTo>
                  <a:lnTo>
                    <a:pt x="197625" y="337119"/>
                  </a:lnTo>
                  <a:lnTo>
                    <a:pt x="170081" y="373333"/>
                  </a:lnTo>
                  <a:lnTo>
                    <a:pt x="144278" y="411120"/>
                  </a:lnTo>
                  <a:lnTo>
                    <a:pt x="120294" y="450442"/>
                  </a:lnTo>
                  <a:lnTo>
                    <a:pt x="98208" y="491257"/>
                  </a:lnTo>
                  <a:lnTo>
                    <a:pt x="78097" y="533527"/>
                  </a:lnTo>
                  <a:lnTo>
                    <a:pt x="60041" y="577211"/>
                  </a:lnTo>
                  <a:lnTo>
                    <a:pt x="44116" y="622270"/>
                  </a:lnTo>
                  <a:lnTo>
                    <a:pt x="30564" y="668096"/>
                  </a:lnTo>
                  <a:lnTo>
                    <a:pt x="19545" y="714062"/>
                  </a:lnTo>
                  <a:lnTo>
                    <a:pt x="11019" y="760088"/>
                  </a:lnTo>
                  <a:lnTo>
                    <a:pt x="4946" y="806096"/>
                  </a:lnTo>
                  <a:lnTo>
                    <a:pt x="1286" y="852008"/>
                  </a:lnTo>
                  <a:lnTo>
                    <a:pt x="0" y="897746"/>
                  </a:lnTo>
                  <a:lnTo>
                    <a:pt x="1046" y="943231"/>
                  </a:lnTo>
                  <a:lnTo>
                    <a:pt x="4386" y="988385"/>
                  </a:lnTo>
                  <a:lnTo>
                    <a:pt x="9979" y="1033130"/>
                  </a:lnTo>
                  <a:lnTo>
                    <a:pt x="17785" y="1077387"/>
                  </a:lnTo>
                  <a:lnTo>
                    <a:pt x="27765" y="1121078"/>
                  </a:lnTo>
                  <a:lnTo>
                    <a:pt x="39879" y="1164124"/>
                  </a:lnTo>
                  <a:lnTo>
                    <a:pt x="54086" y="1206448"/>
                  </a:lnTo>
                  <a:lnTo>
                    <a:pt x="70346" y="1247971"/>
                  </a:lnTo>
                  <a:lnTo>
                    <a:pt x="88620" y="1288615"/>
                  </a:lnTo>
                  <a:lnTo>
                    <a:pt x="108867" y="1328301"/>
                  </a:lnTo>
                  <a:lnTo>
                    <a:pt x="131049" y="1366951"/>
                  </a:lnTo>
                  <a:lnTo>
                    <a:pt x="155124" y="1404487"/>
                  </a:lnTo>
                  <a:lnTo>
                    <a:pt x="181052" y="1440831"/>
                  </a:lnTo>
                  <a:lnTo>
                    <a:pt x="208795" y="1475904"/>
                  </a:lnTo>
                  <a:lnTo>
                    <a:pt x="238311" y="1509627"/>
                  </a:lnTo>
                  <a:lnTo>
                    <a:pt x="269561" y="1541923"/>
                  </a:lnTo>
                  <a:lnTo>
                    <a:pt x="302506" y="1572713"/>
                  </a:lnTo>
                  <a:lnTo>
                    <a:pt x="337104" y="1601919"/>
                  </a:lnTo>
                  <a:lnTo>
                    <a:pt x="373316" y="1629463"/>
                  </a:lnTo>
                  <a:lnTo>
                    <a:pt x="411102" y="1655266"/>
                  </a:lnTo>
                  <a:lnTo>
                    <a:pt x="450422" y="1679250"/>
                  </a:lnTo>
                  <a:lnTo>
                    <a:pt x="491237" y="1701336"/>
                  </a:lnTo>
                  <a:lnTo>
                    <a:pt x="533506" y="1721447"/>
                  </a:lnTo>
                  <a:lnTo>
                    <a:pt x="577189" y="1739503"/>
                  </a:lnTo>
                  <a:lnTo>
                    <a:pt x="622246" y="1755427"/>
                  </a:lnTo>
                  <a:lnTo>
                    <a:pt x="668074" y="1768981"/>
                  </a:lnTo>
                  <a:lnTo>
                    <a:pt x="714040" y="1780001"/>
                  </a:lnTo>
                  <a:lnTo>
                    <a:pt x="760068" y="1788528"/>
                  </a:lnTo>
                  <a:lnTo>
                    <a:pt x="806077" y="1794601"/>
                  </a:lnTo>
                  <a:lnTo>
                    <a:pt x="851990" y="1798262"/>
                  </a:lnTo>
                  <a:lnTo>
                    <a:pt x="897729" y="1799549"/>
                  </a:lnTo>
                  <a:lnTo>
                    <a:pt x="943215" y="1798503"/>
                  </a:lnTo>
                  <a:lnTo>
                    <a:pt x="988371" y="1795163"/>
                  </a:lnTo>
                  <a:lnTo>
                    <a:pt x="1033116" y="1789570"/>
                  </a:lnTo>
                  <a:lnTo>
                    <a:pt x="1077374" y="1781764"/>
                  </a:lnTo>
                  <a:lnTo>
                    <a:pt x="1121066" y="1771784"/>
                  </a:lnTo>
                  <a:lnTo>
                    <a:pt x="1164114" y="1759671"/>
                  </a:lnTo>
                  <a:lnTo>
                    <a:pt x="1206439" y="1745464"/>
                  </a:lnTo>
                  <a:lnTo>
                    <a:pt x="1247963" y="1729203"/>
                  </a:lnTo>
                  <a:lnTo>
                    <a:pt x="1288608" y="1710929"/>
                  </a:lnTo>
                  <a:lnTo>
                    <a:pt x="1328295" y="1690681"/>
                  </a:lnTo>
                  <a:lnTo>
                    <a:pt x="1366946" y="1668499"/>
                  </a:lnTo>
                  <a:lnTo>
                    <a:pt x="1404483" y="1644424"/>
                  </a:lnTo>
                  <a:lnTo>
                    <a:pt x="1440827" y="1618495"/>
                  </a:lnTo>
                  <a:lnTo>
                    <a:pt x="1475901" y="1590752"/>
                  </a:lnTo>
                  <a:lnTo>
                    <a:pt x="1509625" y="1561235"/>
                  </a:lnTo>
                  <a:lnTo>
                    <a:pt x="1541922" y="1529985"/>
                  </a:lnTo>
                  <a:lnTo>
                    <a:pt x="1572712" y="1497040"/>
                  </a:lnTo>
                  <a:lnTo>
                    <a:pt x="1601919" y="1462442"/>
                  </a:lnTo>
                  <a:lnTo>
                    <a:pt x="1629463" y="1426229"/>
                  </a:lnTo>
                  <a:lnTo>
                    <a:pt x="1655266" y="1388443"/>
                  </a:lnTo>
                  <a:lnTo>
                    <a:pt x="1679250" y="1349122"/>
                  </a:lnTo>
                  <a:lnTo>
                    <a:pt x="1701337" y="1308307"/>
                  </a:lnTo>
                  <a:lnTo>
                    <a:pt x="1721448" y="1266038"/>
                  </a:lnTo>
                  <a:lnTo>
                    <a:pt x="1739504" y="1222355"/>
                  </a:lnTo>
                  <a:lnTo>
                    <a:pt x="1755429" y="1177298"/>
                  </a:lnTo>
                  <a:lnTo>
                    <a:pt x="1768981" y="1131470"/>
                  </a:lnTo>
                  <a:lnTo>
                    <a:pt x="1780000" y="1085504"/>
                  </a:lnTo>
                  <a:lnTo>
                    <a:pt x="1788526" y="1039477"/>
                  </a:lnTo>
                  <a:lnTo>
                    <a:pt x="1794599" y="993467"/>
                  </a:lnTo>
                  <a:lnTo>
                    <a:pt x="1798259" y="947554"/>
                  </a:lnTo>
                  <a:lnTo>
                    <a:pt x="1799546" y="901816"/>
                  </a:lnTo>
                  <a:lnTo>
                    <a:pt x="1798499" y="856330"/>
                  </a:lnTo>
                  <a:lnTo>
                    <a:pt x="1795159" y="811175"/>
                  </a:lnTo>
                  <a:lnTo>
                    <a:pt x="1789566" y="766430"/>
                  </a:lnTo>
                  <a:lnTo>
                    <a:pt x="1781759" y="722172"/>
                  </a:lnTo>
                  <a:lnTo>
                    <a:pt x="1771779" y="678480"/>
                  </a:lnTo>
                  <a:lnTo>
                    <a:pt x="1759666" y="635433"/>
                  </a:lnTo>
                  <a:lnTo>
                    <a:pt x="1745459" y="593109"/>
                  </a:lnTo>
                  <a:lnTo>
                    <a:pt x="1729198" y="551585"/>
                  </a:lnTo>
                  <a:lnTo>
                    <a:pt x="1710924" y="510941"/>
                  </a:lnTo>
                  <a:lnTo>
                    <a:pt x="1690676" y="471254"/>
                  </a:lnTo>
                  <a:lnTo>
                    <a:pt x="1668494" y="432603"/>
                  </a:lnTo>
                  <a:lnTo>
                    <a:pt x="1644419" y="395066"/>
                  </a:lnTo>
                  <a:lnTo>
                    <a:pt x="1618490" y="358722"/>
                  </a:lnTo>
                  <a:lnTo>
                    <a:pt x="1590747" y="323649"/>
                  </a:lnTo>
                  <a:lnTo>
                    <a:pt x="1561230" y="289924"/>
                  </a:lnTo>
                  <a:lnTo>
                    <a:pt x="1529979" y="257628"/>
                  </a:lnTo>
                  <a:lnTo>
                    <a:pt x="1497034" y="226837"/>
                  </a:lnTo>
                  <a:lnTo>
                    <a:pt x="1462436" y="197630"/>
                  </a:lnTo>
                  <a:lnTo>
                    <a:pt x="1426223" y="170086"/>
                  </a:lnTo>
                  <a:lnTo>
                    <a:pt x="1388436" y="144282"/>
                  </a:lnTo>
                  <a:lnTo>
                    <a:pt x="1349114" y="120297"/>
                  </a:lnTo>
                  <a:lnTo>
                    <a:pt x="1308299" y="98210"/>
                  </a:lnTo>
                  <a:lnTo>
                    <a:pt x="1266029" y="78098"/>
                  </a:lnTo>
                  <a:lnTo>
                    <a:pt x="1222345" y="60041"/>
                  </a:lnTo>
                  <a:lnTo>
                    <a:pt x="1177287" y="44115"/>
                  </a:lnTo>
                  <a:lnTo>
                    <a:pt x="1131459" y="30563"/>
                  </a:lnTo>
                  <a:lnTo>
                    <a:pt x="1085492" y="19544"/>
                  </a:lnTo>
                  <a:lnTo>
                    <a:pt x="1039465" y="11018"/>
                  </a:lnTo>
                  <a:lnTo>
                    <a:pt x="993456" y="4945"/>
                  </a:lnTo>
                  <a:lnTo>
                    <a:pt x="947543" y="1286"/>
                  </a:lnTo>
                  <a:lnTo>
                    <a:pt x="901804" y="0"/>
                  </a:lnTo>
                  <a:close/>
                </a:path>
              </a:pathLst>
            </a:custGeom>
            <a:solidFill>
              <a:srgbClr val="D1D3D4"/>
            </a:solidFill>
          </p:spPr>
          <p:txBody>
            <a:bodyPr wrap="square" lIns="0" tIns="0" rIns="0" bIns="0" rtlCol="0"/>
            <a:lstStyle/>
            <a:p>
              <a:endParaRPr sz="649"/>
            </a:p>
          </p:txBody>
        </p:sp>
        <p:sp>
          <p:nvSpPr>
            <p:cNvPr id="31" name="object 31"/>
            <p:cNvSpPr/>
            <p:nvPr/>
          </p:nvSpPr>
          <p:spPr>
            <a:xfrm>
              <a:off x="3707814" y="8062841"/>
              <a:ext cx="900430" cy="647700"/>
            </a:xfrm>
            <a:custGeom>
              <a:avLst/>
              <a:gdLst/>
              <a:ahLst/>
              <a:cxnLst/>
              <a:rect l="l" t="t" r="r" b="b"/>
              <a:pathLst>
                <a:path w="900429" h="647700">
                  <a:moveTo>
                    <a:pt x="157581" y="0"/>
                  </a:moveTo>
                  <a:lnTo>
                    <a:pt x="71501" y="17437"/>
                  </a:lnTo>
                  <a:lnTo>
                    <a:pt x="0" y="377774"/>
                  </a:lnTo>
                  <a:lnTo>
                    <a:pt x="457" y="433590"/>
                  </a:lnTo>
                  <a:lnTo>
                    <a:pt x="57137" y="462280"/>
                  </a:lnTo>
                  <a:lnTo>
                    <a:pt x="545541" y="647484"/>
                  </a:lnTo>
                  <a:lnTo>
                    <a:pt x="656361" y="623633"/>
                  </a:lnTo>
                  <a:lnTo>
                    <a:pt x="707999" y="642454"/>
                  </a:lnTo>
                  <a:lnTo>
                    <a:pt x="756907" y="631507"/>
                  </a:lnTo>
                  <a:lnTo>
                    <a:pt x="803757" y="595147"/>
                  </a:lnTo>
                  <a:lnTo>
                    <a:pt x="851001" y="532117"/>
                  </a:lnTo>
                  <a:lnTo>
                    <a:pt x="885647" y="444385"/>
                  </a:lnTo>
                  <a:lnTo>
                    <a:pt x="900315" y="341922"/>
                  </a:lnTo>
                  <a:lnTo>
                    <a:pt x="874903" y="267703"/>
                  </a:lnTo>
                  <a:lnTo>
                    <a:pt x="890638" y="219202"/>
                  </a:lnTo>
                  <a:lnTo>
                    <a:pt x="157581" y="0"/>
                  </a:lnTo>
                  <a:close/>
                </a:path>
              </a:pathLst>
            </a:custGeom>
            <a:solidFill>
              <a:srgbClr val="FFFFFF"/>
            </a:solidFill>
          </p:spPr>
          <p:txBody>
            <a:bodyPr wrap="square" lIns="0" tIns="0" rIns="0" bIns="0" rtlCol="0"/>
            <a:lstStyle/>
            <a:p>
              <a:endParaRPr sz="649"/>
            </a:p>
          </p:txBody>
        </p:sp>
        <p:sp>
          <p:nvSpPr>
            <p:cNvPr id="32" name="object 32"/>
            <p:cNvSpPr/>
            <p:nvPr/>
          </p:nvSpPr>
          <p:spPr>
            <a:xfrm>
              <a:off x="3636858" y="7996575"/>
              <a:ext cx="1606550" cy="462915"/>
            </a:xfrm>
            <a:custGeom>
              <a:avLst/>
              <a:gdLst/>
              <a:ahLst/>
              <a:cxnLst/>
              <a:rect l="l" t="t" r="r" b="b"/>
              <a:pathLst>
                <a:path w="1606550" h="462915">
                  <a:moveTo>
                    <a:pt x="0" y="0"/>
                  </a:moveTo>
                  <a:lnTo>
                    <a:pt x="40520" y="14496"/>
                  </a:lnTo>
                  <a:lnTo>
                    <a:pt x="104493" y="34974"/>
                  </a:lnTo>
                  <a:lnTo>
                    <a:pt x="144233" y="47183"/>
                  </a:lnTo>
                  <a:lnTo>
                    <a:pt x="188586" y="60559"/>
                  </a:lnTo>
                  <a:lnTo>
                    <a:pt x="237134" y="74992"/>
                  </a:lnTo>
                  <a:lnTo>
                    <a:pt x="289461" y="90373"/>
                  </a:lnTo>
                  <a:lnTo>
                    <a:pt x="345151" y="106593"/>
                  </a:lnTo>
                  <a:lnTo>
                    <a:pt x="403785" y="123541"/>
                  </a:lnTo>
                  <a:lnTo>
                    <a:pt x="464947" y="141108"/>
                  </a:lnTo>
                  <a:lnTo>
                    <a:pt x="528221" y="159185"/>
                  </a:lnTo>
                  <a:lnTo>
                    <a:pt x="593189" y="177663"/>
                  </a:lnTo>
                  <a:lnTo>
                    <a:pt x="659435" y="196431"/>
                  </a:lnTo>
                  <a:lnTo>
                    <a:pt x="726541" y="215380"/>
                  </a:lnTo>
                  <a:lnTo>
                    <a:pt x="794090" y="234400"/>
                  </a:lnTo>
                  <a:lnTo>
                    <a:pt x="861667" y="253383"/>
                  </a:lnTo>
                  <a:lnTo>
                    <a:pt x="928853" y="272218"/>
                  </a:lnTo>
                  <a:lnTo>
                    <a:pt x="995232" y="290795"/>
                  </a:lnTo>
                  <a:lnTo>
                    <a:pt x="1060387" y="309007"/>
                  </a:lnTo>
                  <a:lnTo>
                    <a:pt x="1123901" y="326742"/>
                  </a:lnTo>
                  <a:lnTo>
                    <a:pt x="1185357" y="343891"/>
                  </a:lnTo>
                  <a:lnTo>
                    <a:pt x="1244339" y="360345"/>
                  </a:lnTo>
                  <a:lnTo>
                    <a:pt x="1300429" y="375994"/>
                  </a:lnTo>
                  <a:lnTo>
                    <a:pt x="1353210" y="390729"/>
                  </a:lnTo>
                  <a:lnTo>
                    <a:pt x="1402265" y="404440"/>
                  </a:lnTo>
                  <a:lnTo>
                    <a:pt x="1447179" y="417018"/>
                  </a:lnTo>
                  <a:lnTo>
                    <a:pt x="1487533" y="428352"/>
                  </a:lnTo>
                  <a:lnTo>
                    <a:pt x="1552895" y="446854"/>
                  </a:lnTo>
                  <a:lnTo>
                    <a:pt x="1595017" y="459070"/>
                  </a:lnTo>
                  <a:lnTo>
                    <a:pt x="1606321" y="462546"/>
                  </a:lnTo>
                </a:path>
              </a:pathLst>
            </a:custGeom>
            <a:ln w="25400">
              <a:solidFill>
                <a:srgbClr val="231F20"/>
              </a:solidFill>
            </a:ln>
          </p:spPr>
          <p:txBody>
            <a:bodyPr wrap="square" lIns="0" tIns="0" rIns="0" bIns="0" rtlCol="0"/>
            <a:lstStyle/>
            <a:p>
              <a:endParaRPr sz="649"/>
            </a:p>
          </p:txBody>
        </p:sp>
        <p:sp>
          <p:nvSpPr>
            <p:cNvPr id="33" name="object 33"/>
            <p:cNvSpPr/>
            <p:nvPr/>
          </p:nvSpPr>
          <p:spPr>
            <a:xfrm>
              <a:off x="3705574" y="8069959"/>
              <a:ext cx="667385" cy="641985"/>
            </a:xfrm>
            <a:custGeom>
              <a:avLst/>
              <a:gdLst/>
              <a:ahLst/>
              <a:cxnLst/>
              <a:rect l="l" t="t" r="r" b="b"/>
              <a:pathLst>
                <a:path w="667385" h="641984">
                  <a:moveTo>
                    <a:pt x="165862" y="75"/>
                  </a:moveTo>
                  <a:lnTo>
                    <a:pt x="119195" y="0"/>
                  </a:lnTo>
                  <a:lnTo>
                    <a:pt x="81031" y="2688"/>
                  </a:lnTo>
                  <a:lnTo>
                    <a:pt x="55114" y="65927"/>
                  </a:lnTo>
                  <a:lnTo>
                    <a:pt x="43500" y="124290"/>
                  </a:lnTo>
                  <a:lnTo>
                    <a:pt x="31302" y="191340"/>
                  </a:lnTo>
                  <a:lnTo>
                    <a:pt x="19686" y="259217"/>
                  </a:lnTo>
                  <a:lnTo>
                    <a:pt x="9819" y="320063"/>
                  </a:lnTo>
                  <a:lnTo>
                    <a:pt x="2868" y="366019"/>
                  </a:lnTo>
                  <a:lnTo>
                    <a:pt x="0" y="389228"/>
                  </a:lnTo>
                  <a:lnTo>
                    <a:pt x="1443" y="406302"/>
                  </a:lnTo>
                  <a:lnTo>
                    <a:pt x="40703" y="445489"/>
                  </a:lnTo>
                  <a:lnTo>
                    <a:pt x="95508" y="468059"/>
                  </a:lnTo>
                  <a:lnTo>
                    <a:pt x="145139" y="487861"/>
                  </a:lnTo>
                  <a:lnTo>
                    <a:pt x="204261" y="511232"/>
                  </a:lnTo>
                  <a:lnTo>
                    <a:pt x="268882" y="536591"/>
                  </a:lnTo>
                  <a:lnTo>
                    <a:pt x="335006" y="562355"/>
                  </a:lnTo>
                  <a:lnTo>
                    <a:pt x="398639" y="586943"/>
                  </a:lnTo>
                  <a:lnTo>
                    <a:pt x="455787" y="608773"/>
                  </a:lnTo>
                  <a:lnTo>
                    <a:pt x="502455" y="626262"/>
                  </a:lnTo>
                  <a:lnTo>
                    <a:pt x="548373" y="641895"/>
                  </a:lnTo>
                  <a:lnTo>
                    <a:pt x="571779" y="638008"/>
                  </a:lnTo>
                  <a:lnTo>
                    <a:pt x="611966" y="630212"/>
                  </a:lnTo>
                  <a:lnTo>
                    <a:pt x="649980" y="622562"/>
                  </a:lnTo>
                  <a:lnTo>
                    <a:pt x="666864" y="619111"/>
                  </a:lnTo>
                </a:path>
              </a:pathLst>
            </a:custGeom>
            <a:ln w="25400">
              <a:solidFill>
                <a:srgbClr val="231F20"/>
              </a:solidFill>
            </a:ln>
          </p:spPr>
          <p:txBody>
            <a:bodyPr wrap="square" lIns="0" tIns="0" rIns="0" bIns="0" rtlCol="0"/>
            <a:lstStyle/>
            <a:p>
              <a:endParaRPr sz="649"/>
            </a:p>
          </p:txBody>
        </p:sp>
        <p:sp>
          <p:nvSpPr>
            <p:cNvPr id="34" name="object 34"/>
            <p:cNvSpPr/>
            <p:nvPr/>
          </p:nvSpPr>
          <p:spPr>
            <a:xfrm>
              <a:off x="4313741" y="8283274"/>
              <a:ext cx="288925" cy="419100"/>
            </a:xfrm>
            <a:custGeom>
              <a:avLst/>
              <a:gdLst/>
              <a:ahLst/>
              <a:cxnLst/>
              <a:rect l="l" t="t" r="r" b="b"/>
              <a:pathLst>
                <a:path w="288925" h="419100">
                  <a:moveTo>
                    <a:pt x="54556" y="404632"/>
                  </a:moveTo>
                  <a:lnTo>
                    <a:pt x="29271" y="387376"/>
                  </a:lnTo>
                  <a:lnTo>
                    <a:pt x="11547" y="358068"/>
                  </a:lnTo>
                  <a:lnTo>
                    <a:pt x="1687" y="318984"/>
                  </a:lnTo>
                  <a:lnTo>
                    <a:pt x="0" y="272400"/>
                  </a:lnTo>
                  <a:lnTo>
                    <a:pt x="6789" y="220591"/>
                  </a:lnTo>
                  <a:lnTo>
                    <a:pt x="22361" y="165834"/>
                  </a:lnTo>
                  <a:lnTo>
                    <a:pt x="45424" y="113796"/>
                  </a:lnTo>
                  <a:lnTo>
                    <a:pt x="73352" y="69640"/>
                  </a:lnTo>
                  <a:lnTo>
                    <a:pt x="104453" y="34920"/>
                  </a:lnTo>
                  <a:lnTo>
                    <a:pt x="137034" y="11189"/>
                  </a:lnTo>
                  <a:lnTo>
                    <a:pt x="169404" y="0"/>
                  </a:lnTo>
                  <a:lnTo>
                    <a:pt x="199869" y="2905"/>
                  </a:lnTo>
                  <a:lnTo>
                    <a:pt x="259635" y="31350"/>
                  </a:lnTo>
                  <a:lnTo>
                    <a:pt x="287223" y="99741"/>
                  </a:lnTo>
                  <a:lnTo>
                    <a:pt x="288912" y="146325"/>
                  </a:lnTo>
                  <a:lnTo>
                    <a:pt x="282121" y="198134"/>
                  </a:lnTo>
                  <a:lnTo>
                    <a:pt x="266544" y="252892"/>
                  </a:lnTo>
                  <a:lnTo>
                    <a:pt x="243486" y="304930"/>
                  </a:lnTo>
                  <a:lnTo>
                    <a:pt x="215559" y="349085"/>
                  </a:lnTo>
                  <a:lnTo>
                    <a:pt x="184458" y="383805"/>
                  </a:lnTo>
                  <a:lnTo>
                    <a:pt x="151875" y="407537"/>
                  </a:lnTo>
                  <a:lnTo>
                    <a:pt x="119503" y="418726"/>
                  </a:lnTo>
                  <a:lnTo>
                    <a:pt x="89036" y="415820"/>
                  </a:lnTo>
                  <a:lnTo>
                    <a:pt x="54556" y="404632"/>
                  </a:lnTo>
                  <a:close/>
                </a:path>
              </a:pathLst>
            </a:custGeom>
            <a:ln w="25400">
              <a:solidFill>
                <a:srgbClr val="231F20"/>
              </a:solidFill>
            </a:ln>
          </p:spPr>
          <p:txBody>
            <a:bodyPr wrap="square" lIns="0" tIns="0" rIns="0" bIns="0" rtlCol="0"/>
            <a:lstStyle/>
            <a:p>
              <a:endParaRPr sz="649"/>
            </a:p>
          </p:txBody>
        </p:sp>
        <p:sp>
          <p:nvSpPr>
            <p:cNvPr id="35" name="object 35"/>
            <p:cNvSpPr/>
            <p:nvPr/>
          </p:nvSpPr>
          <p:spPr>
            <a:xfrm>
              <a:off x="4349643" y="8300939"/>
              <a:ext cx="198755" cy="393065"/>
            </a:xfrm>
            <a:custGeom>
              <a:avLst/>
              <a:gdLst/>
              <a:ahLst/>
              <a:cxnLst/>
              <a:rect l="l" t="t" r="r" b="b"/>
              <a:pathLst>
                <a:path w="198754" h="393065">
                  <a:moveTo>
                    <a:pt x="57412" y="392634"/>
                  </a:moveTo>
                  <a:lnTo>
                    <a:pt x="31518" y="375400"/>
                  </a:lnTo>
                  <a:lnTo>
                    <a:pt x="13085" y="346541"/>
                  </a:lnTo>
                  <a:lnTo>
                    <a:pt x="2462" y="308281"/>
                  </a:lnTo>
                  <a:lnTo>
                    <a:pt x="0" y="262840"/>
                  </a:lnTo>
                  <a:lnTo>
                    <a:pt x="6046" y="212442"/>
                  </a:lnTo>
                  <a:lnTo>
                    <a:pt x="20950" y="159310"/>
                  </a:lnTo>
                  <a:lnTo>
                    <a:pt x="43486" y="108944"/>
                  </a:lnTo>
                  <a:lnTo>
                    <a:pt x="71081" y="66343"/>
                  </a:lnTo>
                  <a:lnTo>
                    <a:pt x="102045" y="32994"/>
                  </a:lnTo>
                  <a:lnTo>
                    <a:pt x="134688" y="10384"/>
                  </a:lnTo>
                  <a:lnTo>
                    <a:pt x="167321" y="0"/>
                  </a:lnTo>
                  <a:lnTo>
                    <a:pt x="198255" y="3328"/>
                  </a:lnTo>
                </a:path>
              </a:pathLst>
            </a:custGeom>
            <a:ln w="7620">
              <a:solidFill>
                <a:srgbClr val="231F20"/>
              </a:solidFill>
            </a:ln>
          </p:spPr>
          <p:txBody>
            <a:bodyPr wrap="square" lIns="0" tIns="0" rIns="0" bIns="0" rtlCol="0"/>
            <a:lstStyle/>
            <a:p>
              <a:endParaRPr sz="649"/>
            </a:p>
          </p:txBody>
        </p:sp>
        <p:pic>
          <p:nvPicPr>
            <p:cNvPr id="36" name="object 36"/>
            <p:cNvPicPr/>
            <p:nvPr/>
          </p:nvPicPr>
          <p:blipFill>
            <a:blip r:embed="rId7" cstate="print"/>
            <a:stretch>
              <a:fillRect/>
            </a:stretch>
          </p:blipFill>
          <p:spPr>
            <a:xfrm>
              <a:off x="4410542" y="8393215"/>
              <a:ext cx="146072" cy="218503"/>
            </a:xfrm>
            <a:prstGeom prst="rect">
              <a:avLst/>
            </a:prstGeom>
          </p:spPr>
        </p:pic>
        <p:sp>
          <p:nvSpPr>
            <p:cNvPr id="37" name="object 37"/>
            <p:cNvSpPr/>
            <p:nvPr/>
          </p:nvSpPr>
          <p:spPr>
            <a:xfrm>
              <a:off x="4613490" y="8493892"/>
              <a:ext cx="332105" cy="372110"/>
            </a:xfrm>
            <a:custGeom>
              <a:avLst/>
              <a:gdLst/>
              <a:ahLst/>
              <a:cxnLst/>
              <a:rect l="l" t="t" r="r" b="b"/>
              <a:pathLst>
                <a:path w="332104" h="372109">
                  <a:moveTo>
                    <a:pt x="94373" y="0"/>
                  </a:moveTo>
                  <a:lnTo>
                    <a:pt x="55333" y="15417"/>
                  </a:lnTo>
                  <a:lnTo>
                    <a:pt x="14452" y="73113"/>
                  </a:lnTo>
                  <a:lnTo>
                    <a:pt x="0" y="152615"/>
                  </a:lnTo>
                  <a:lnTo>
                    <a:pt x="26454" y="188683"/>
                  </a:lnTo>
                  <a:lnTo>
                    <a:pt x="10845" y="200558"/>
                  </a:lnTo>
                  <a:lnTo>
                    <a:pt x="4825" y="343623"/>
                  </a:lnTo>
                  <a:lnTo>
                    <a:pt x="46608" y="361619"/>
                  </a:lnTo>
                  <a:lnTo>
                    <a:pt x="117208" y="371500"/>
                  </a:lnTo>
                  <a:lnTo>
                    <a:pt x="237235" y="264934"/>
                  </a:lnTo>
                  <a:lnTo>
                    <a:pt x="275755" y="265684"/>
                  </a:lnTo>
                  <a:lnTo>
                    <a:pt x="302653" y="228485"/>
                  </a:lnTo>
                  <a:lnTo>
                    <a:pt x="324662" y="165404"/>
                  </a:lnTo>
                  <a:lnTo>
                    <a:pt x="331876" y="118516"/>
                  </a:lnTo>
                  <a:lnTo>
                    <a:pt x="312165" y="80289"/>
                  </a:lnTo>
                  <a:lnTo>
                    <a:pt x="94373" y="0"/>
                  </a:lnTo>
                  <a:close/>
                </a:path>
              </a:pathLst>
            </a:custGeom>
            <a:solidFill>
              <a:srgbClr val="FFFFFF"/>
            </a:solidFill>
          </p:spPr>
          <p:txBody>
            <a:bodyPr wrap="square" lIns="0" tIns="0" rIns="0" bIns="0" rtlCol="0"/>
            <a:lstStyle/>
            <a:p>
              <a:endParaRPr sz="649"/>
            </a:p>
          </p:txBody>
        </p:sp>
        <p:pic>
          <p:nvPicPr>
            <p:cNvPr id="38" name="object 38"/>
            <p:cNvPicPr/>
            <p:nvPr/>
          </p:nvPicPr>
          <p:blipFill>
            <a:blip r:embed="rId8" cstate="print"/>
            <a:stretch>
              <a:fillRect/>
            </a:stretch>
          </p:blipFill>
          <p:spPr>
            <a:xfrm>
              <a:off x="4721555" y="8565046"/>
              <a:ext cx="200014" cy="174843"/>
            </a:xfrm>
            <a:prstGeom prst="rect">
              <a:avLst/>
            </a:prstGeom>
          </p:spPr>
        </p:pic>
        <p:sp>
          <p:nvSpPr>
            <p:cNvPr id="39" name="object 39"/>
            <p:cNvSpPr/>
            <p:nvPr/>
          </p:nvSpPr>
          <p:spPr>
            <a:xfrm>
              <a:off x="4618197" y="8495838"/>
              <a:ext cx="325120" cy="375285"/>
            </a:xfrm>
            <a:custGeom>
              <a:avLst/>
              <a:gdLst/>
              <a:ahLst/>
              <a:cxnLst/>
              <a:rect l="l" t="t" r="r" b="b"/>
              <a:pathLst>
                <a:path w="325120" h="375284">
                  <a:moveTo>
                    <a:pt x="129984" y="97650"/>
                  </a:moveTo>
                  <a:lnTo>
                    <a:pt x="56638" y="152292"/>
                  </a:lnTo>
                  <a:lnTo>
                    <a:pt x="18988" y="181413"/>
                  </a:lnTo>
                  <a:lnTo>
                    <a:pt x="2812" y="228607"/>
                  </a:lnTo>
                  <a:lnTo>
                    <a:pt x="1687" y="276174"/>
                  </a:lnTo>
                  <a:lnTo>
                    <a:pt x="531" y="321778"/>
                  </a:lnTo>
                  <a:lnTo>
                    <a:pt x="0" y="342150"/>
                  </a:lnTo>
                  <a:lnTo>
                    <a:pt x="56980" y="362471"/>
                  </a:lnTo>
                  <a:lnTo>
                    <a:pt x="86896" y="372459"/>
                  </a:lnTo>
                  <a:lnTo>
                    <a:pt x="99576" y="375008"/>
                  </a:lnTo>
                  <a:lnTo>
                    <a:pt x="104851" y="373011"/>
                  </a:lnTo>
                  <a:lnTo>
                    <a:pt x="127959" y="354758"/>
                  </a:lnTo>
                  <a:lnTo>
                    <a:pt x="172496" y="318909"/>
                  </a:lnTo>
                  <a:lnTo>
                    <a:pt x="215820" y="283889"/>
                  </a:lnTo>
                  <a:lnTo>
                    <a:pt x="235292" y="268122"/>
                  </a:lnTo>
                  <a:lnTo>
                    <a:pt x="257190" y="266670"/>
                  </a:lnTo>
                  <a:lnTo>
                    <a:pt x="279782" y="250807"/>
                  </a:lnTo>
                  <a:lnTo>
                    <a:pt x="300452" y="223164"/>
                  </a:lnTo>
                  <a:lnTo>
                    <a:pt x="316585" y="186372"/>
                  </a:lnTo>
                  <a:lnTo>
                    <a:pt x="324877" y="147057"/>
                  </a:lnTo>
                  <a:lnTo>
                    <a:pt x="324148" y="112552"/>
                  </a:lnTo>
                  <a:lnTo>
                    <a:pt x="314999" y="86511"/>
                  </a:lnTo>
                  <a:lnTo>
                    <a:pt x="298030" y="72593"/>
                  </a:lnTo>
                  <a:lnTo>
                    <a:pt x="92900" y="0"/>
                  </a:lnTo>
                  <a:lnTo>
                    <a:pt x="70572" y="1301"/>
                  </a:lnTo>
                  <a:lnTo>
                    <a:pt x="26722" y="44610"/>
                  </a:lnTo>
                  <a:lnTo>
                    <a:pt x="10502" y="81381"/>
                  </a:lnTo>
                  <a:lnTo>
                    <a:pt x="1255" y="144784"/>
                  </a:lnTo>
                  <a:lnTo>
                    <a:pt x="6007" y="169730"/>
                  </a:lnTo>
                  <a:lnTo>
                    <a:pt x="16878" y="187452"/>
                  </a:lnTo>
                </a:path>
              </a:pathLst>
            </a:custGeom>
            <a:ln w="25400">
              <a:solidFill>
                <a:srgbClr val="231F20"/>
              </a:solidFill>
            </a:ln>
          </p:spPr>
          <p:txBody>
            <a:bodyPr wrap="square" lIns="0" tIns="0" rIns="0" bIns="0" rtlCol="0"/>
            <a:lstStyle/>
            <a:p>
              <a:endParaRPr sz="649"/>
            </a:p>
          </p:txBody>
        </p:sp>
        <p:sp>
          <p:nvSpPr>
            <p:cNvPr id="40" name="object 40"/>
            <p:cNvSpPr/>
            <p:nvPr/>
          </p:nvSpPr>
          <p:spPr>
            <a:xfrm>
              <a:off x="4621455" y="8698188"/>
              <a:ext cx="102870" cy="170815"/>
            </a:xfrm>
            <a:custGeom>
              <a:avLst/>
              <a:gdLst/>
              <a:ahLst/>
              <a:cxnLst/>
              <a:rect l="l" t="t" r="r" b="b"/>
              <a:pathLst>
                <a:path w="102870" h="170815">
                  <a:moveTo>
                    <a:pt x="0" y="0"/>
                  </a:moveTo>
                  <a:lnTo>
                    <a:pt x="102514" y="35407"/>
                  </a:lnTo>
                  <a:lnTo>
                    <a:pt x="101587" y="170662"/>
                  </a:lnTo>
                </a:path>
              </a:pathLst>
            </a:custGeom>
            <a:ln w="7619">
              <a:solidFill>
                <a:srgbClr val="231F20"/>
              </a:solidFill>
            </a:ln>
          </p:spPr>
          <p:txBody>
            <a:bodyPr wrap="square" lIns="0" tIns="0" rIns="0" bIns="0" rtlCol="0"/>
            <a:lstStyle/>
            <a:p>
              <a:endParaRPr sz="649"/>
            </a:p>
          </p:txBody>
        </p:sp>
        <p:sp>
          <p:nvSpPr>
            <p:cNvPr id="41" name="object 41"/>
            <p:cNvSpPr/>
            <p:nvPr/>
          </p:nvSpPr>
          <p:spPr>
            <a:xfrm>
              <a:off x="3938091" y="8787236"/>
              <a:ext cx="733425" cy="516255"/>
            </a:xfrm>
            <a:custGeom>
              <a:avLst/>
              <a:gdLst/>
              <a:ahLst/>
              <a:cxnLst/>
              <a:rect l="l" t="t" r="r" b="b"/>
              <a:pathLst>
                <a:path w="733425" h="516254">
                  <a:moveTo>
                    <a:pt x="733209" y="0"/>
                  </a:moveTo>
                  <a:lnTo>
                    <a:pt x="701561" y="28448"/>
                  </a:lnTo>
                  <a:lnTo>
                    <a:pt x="671517" y="58711"/>
                  </a:lnTo>
                  <a:lnTo>
                    <a:pt x="641619" y="89948"/>
                  </a:lnTo>
                  <a:lnTo>
                    <a:pt x="610411" y="121323"/>
                  </a:lnTo>
                  <a:lnTo>
                    <a:pt x="576434" y="151995"/>
                  </a:lnTo>
                  <a:lnTo>
                    <a:pt x="538231" y="181128"/>
                  </a:lnTo>
                  <a:lnTo>
                    <a:pt x="494344" y="207882"/>
                  </a:lnTo>
                  <a:lnTo>
                    <a:pt x="443317" y="231419"/>
                  </a:lnTo>
                  <a:lnTo>
                    <a:pt x="383692" y="250901"/>
                  </a:lnTo>
                  <a:lnTo>
                    <a:pt x="242232" y="314086"/>
                  </a:lnTo>
                  <a:lnTo>
                    <a:pt x="119394" y="402869"/>
                  </a:lnTo>
                  <a:lnTo>
                    <a:pt x="32782" y="481994"/>
                  </a:lnTo>
                  <a:lnTo>
                    <a:pt x="0" y="516204"/>
                  </a:lnTo>
                </a:path>
              </a:pathLst>
            </a:custGeom>
            <a:ln w="63499">
              <a:solidFill>
                <a:srgbClr val="231F20"/>
              </a:solidFill>
            </a:ln>
          </p:spPr>
          <p:txBody>
            <a:bodyPr wrap="square" lIns="0" tIns="0" rIns="0" bIns="0" rtlCol="0"/>
            <a:lstStyle/>
            <a:p>
              <a:endParaRPr sz="649"/>
            </a:p>
          </p:txBody>
        </p:sp>
        <p:pic>
          <p:nvPicPr>
            <p:cNvPr id="42" name="object 42"/>
            <p:cNvPicPr/>
            <p:nvPr/>
          </p:nvPicPr>
          <p:blipFill>
            <a:blip r:embed="rId9" cstate="print"/>
            <a:stretch>
              <a:fillRect/>
            </a:stretch>
          </p:blipFill>
          <p:spPr>
            <a:xfrm>
              <a:off x="4712686" y="8657957"/>
              <a:ext cx="81672" cy="190197"/>
            </a:xfrm>
            <a:prstGeom prst="rect">
              <a:avLst/>
            </a:prstGeom>
          </p:spPr>
        </p:pic>
        <p:sp>
          <p:nvSpPr>
            <p:cNvPr id="43" name="object 43"/>
            <p:cNvSpPr/>
            <p:nvPr/>
          </p:nvSpPr>
          <p:spPr>
            <a:xfrm>
              <a:off x="4583789" y="8282566"/>
              <a:ext cx="8255" cy="30480"/>
            </a:xfrm>
            <a:custGeom>
              <a:avLst/>
              <a:gdLst/>
              <a:ahLst/>
              <a:cxnLst/>
              <a:rect l="l" t="t" r="r" b="b"/>
              <a:pathLst>
                <a:path w="8254" h="30479">
                  <a:moveTo>
                    <a:pt x="0" y="30429"/>
                  </a:moveTo>
                  <a:lnTo>
                    <a:pt x="8128" y="0"/>
                  </a:lnTo>
                </a:path>
              </a:pathLst>
            </a:custGeom>
            <a:ln w="25400">
              <a:solidFill>
                <a:srgbClr val="231F20"/>
              </a:solidFill>
            </a:ln>
          </p:spPr>
          <p:txBody>
            <a:bodyPr wrap="square" lIns="0" tIns="0" rIns="0" bIns="0" rtlCol="0"/>
            <a:lstStyle/>
            <a:p>
              <a:endParaRPr sz="649"/>
            </a:p>
          </p:txBody>
        </p:sp>
        <p:sp>
          <p:nvSpPr>
            <p:cNvPr id="44" name="object 44"/>
            <p:cNvSpPr/>
            <p:nvPr/>
          </p:nvSpPr>
          <p:spPr>
            <a:xfrm>
              <a:off x="3457344" y="7629199"/>
              <a:ext cx="1799589" cy="1799589"/>
            </a:xfrm>
            <a:custGeom>
              <a:avLst/>
              <a:gdLst/>
              <a:ahLst/>
              <a:cxnLst/>
              <a:rect l="l" t="t" r="r" b="b"/>
              <a:pathLst>
                <a:path w="1799589" h="1799590">
                  <a:moveTo>
                    <a:pt x="1755429" y="1177298"/>
                  </a:moveTo>
                  <a:lnTo>
                    <a:pt x="1739504" y="1222355"/>
                  </a:lnTo>
                  <a:lnTo>
                    <a:pt x="1721448" y="1266038"/>
                  </a:lnTo>
                  <a:lnTo>
                    <a:pt x="1701337" y="1308307"/>
                  </a:lnTo>
                  <a:lnTo>
                    <a:pt x="1679250" y="1349122"/>
                  </a:lnTo>
                  <a:lnTo>
                    <a:pt x="1655266" y="1388443"/>
                  </a:lnTo>
                  <a:lnTo>
                    <a:pt x="1629463" y="1426229"/>
                  </a:lnTo>
                  <a:lnTo>
                    <a:pt x="1601919" y="1462442"/>
                  </a:lnTo>
                  <a:lnTo>
                    <a:pt x="1572712" y="1497040"/>
                  </a:lnTo>
                  <a:lnTo>
                    <a:pt x="1541922" y="1529985"/>
                  </a:lnTo>
                  <a:lnTo>
                    <a:pt x="1509625" y="1561235"/>
                  </a:lnTo>
                  <a:lnTo>
                    <a:pt x="1475901" y="1590752"/>
                  </a:lnTo>
                  <a:lnTo>
                    <a:pt x="1440827" y="1618495"/>
                  </a:lnTo>
                  <a:lnTo>
                    <a:pt x="1404483" y="1644424"/>
                  </a:lnTo>
                  <a:lnTo>
                    <a:pt x="1366946" y="1668499"/>
                  </a:lnTo>
                  <a:lnTo>
                    <a:pt x="1328295" y="1690681"/>
                  </a:lnTo>
                  <a:lnTo>
                    <a:pt x="1288608" y="1710929"/>
                  </a:lnTo>
                  <a:lnTo>
                    <a:pt x="1247963" y="1729203"/>
                  </a:lnTo>
                  <a:lnTo>
                    <a:pt x="1206439" y="1745464"/>
                  </a:lnTo>
                  <a:lnTo>
                    <a:pt x="1164114" y="1759671"/>
                  </a:lnTo>
                  <a:lnTo>
                    <a:pt x="1121066" y="1771784"/>
                  </a:lnTo>
                  <a:lnTo>
                    <a:pt x="1077374" y="1781764"/>
                  </a:lnTo>
                  <a:lnTo>
                    <a:pt x="1033116" y="1789570"/>
                  </a:lnTo>
                  <a:lnTo>
                    <a:pt x="988371" y="1795163"/>
                  </a:lnTo>
                  <a:lnTo>
                    <a:pt x="943215" y="1798503"/>
                  </a:lnTo>
                  <a:lnTo>
                    <a:pt x="897729" y="1799549"/>
                  </a:lnTo>
                  <a:lnTo>
                    <a:pt x="851990" y="1798262"/>
                  </a:lnTo>
                  <a:lnTo>
                    <a:pt x="806077" y="1794601"/>
                  </a:lnTo>
                  <a:lnTo>
                    <a:pt x="760068" y="1788528"/>
                  </a:lnTo>
                  <a:lnTo>
                    <a:pt x="714040" y="1780001"/>
                  </a:lnTo>
                  <a:lnTo>
                    <a:pt x="668074" y="1768981"/>
                  </a:lnTo>
                  <a:lnTo>
                    <a:pt x="622246" y="1755427"/>
                  </a:lnTo>
                  <a:lnTo>
                    <a:pt x="577189" y="1739503"/>
                  </a:lnTo>
                  <a:lnTo>
                    <a:pt x="533506" y="1721447"/>
                  </a:lnTo>
                  <a:lnTo>
                    <a:pt x="491237" y="1701336"/>
                  </a:lnTo>
                  <a:lnTo>
                    <a:pt x="450422" y="1679250"/>
                  </a:lnTo>
                  <a:lnTo>
                    <a:pt x="411102" y="1655266"/>
                  </a:lnTo>
                  <a:lnTo>
                    <a:pt x="373316" y="1629463"/>
                  </a:lnTo>
                  <a:lnTo>
                    <a:pt x="337104" y="1601919"/>
                  </a:lnTo>
                  <a:lnTo>
                    <a:pt x="302506" y="1572713"/>
                  </a:lnTo>
                  <a:lnTo>
                    <a:pt x="269561" y="1541923"/>
                  </a:lnTo>
                  <a:lnTo>
                    <a:pt x="238311" y="1509627"/>
                  </a:lnTo>
                  <a:lnTo>
                    <a:pt x="208795" y="1475904"/>
                  </a:lnTo>
                  <a:lnTo>
                    <a:pt x="181052" y="1440831"/>
                  </a:lnTo>
                  <a:lnTo>
                    <a:pt x="155124" y="1404487"/>
                  </a:lnTo>
                  <a:lnTo>
                    <a:pt x="131049" y="1366951"/>
                  </a:lnTo>
                  <a:lnTo>
                    <a:pt x="108867" y="1328301"/>
                  </a:lnTo>
                  <a:lnTo>
                    <a:pt x="88620" y="1288615"/>
                  </a:lnTo>
                  <a:lnTo>
                    <a:pt x="70346" y="1247971"/>
                  </a:lnTo>
                  <a:lnTo>
                    <a:pt x="54086" y="1206448"/>
                  </a:lnTo>
                  <a:lnTo>
                    <a:pt x="39879" y="1164124"/>
                  </a:lnTo>
                  <a:lnTo>
                    <a:pt x="27765" y="1121078"/>
                  </a:lnTo>
                  <a:lnTo>
                    <a:pt x="17785" y="1077387"/>
                  </a:lnTo>
                  <a:lnTo>
                    <a:pt x="9979" y="1033130"/>
                  </a:lnTo>
                  <a:lnTo>
                    <a:pt x="4386" y="988385"/>
                  </a:lnTo>
                  <a:lnTo>
                    <a:pt x="1046" y="943231"/>
                  </a:lnTo>
                  <a:lnTo>
                    <a:pt x="0" y="897746"/>
                  </a:lnTo>
                  <a:lnTo>
                    <a:pt x="1286" y="852008"/>
                  </a:lnTo>
                  <a:lnTo>
                    <a:pt x="4946" y="806096"/>
                  </a:lnTo>
                  <a:lnTo>
                    <a:pt x="11019" y="760088"/>
                  </a:lnTo>
                  <a:lnTo>
                    <a:pt x="19545" y="714062"/>
                  </a:lnTo>
                  <a:lnTo>
                    <a:pt x="30564" y="668096"/>
                  </a:lnTo>
                  <a:lnTo>
                    <a:pt x="44116" y="622270"/>
                  </a:lnTo>
                  <a:lnTo>
                    <a:pt x="60041" y="577211"/>
                  </a:lnTo>
                  <a:lnTo>
                    <a:pt x="78097" y="533527"/>
                  </a:lnTo>
                  <a:lnTo>
                    <a:pt x="98208" y="491257"/>
                  </a:lnTo>
                  <a:lnTo>
                    <a:pt x="120294" y="450442"/>
                  </a:lnTo>
                  <a:lnTo>
                    <a:pt x="144278" y="411120"/>
                  </a:lnTo>
                  <a:lnTo>
                    <a:pt x="170081" y="373333"/>
                  </a:lnTo>
                  <a:lnTo>
                    <a:pt x="197625" y="337119"/>
                  </a:lnTo>
                  <a:lnTo>
                    <a:pt x="226831" y="302520"/>
                  </a:lnTo>
                  <a:lnTo>
                    <a:pt x="257621" y="269575"/>
                  </a:lnTo>
                  <a:lnTo>
                    <a:pt x="289917" y="238323"/>
                  </a:lnTo>
                  <a:lnTo>
                    <a:pt x="323641" y="208806"/>
                  </a:lnTo>
                  <a:lnTo>
                    <a:pt x="358714" y="181062"/>
                  </a:lnTo>
                  <a:lnTo>
                    <a:pt x="395057" y="155133"/>
                  </a:lnTo>
                  <a:lnTo>
                    <a:pt x="432594" y="131057"/>
                  </a:lnTo>
                  <a:lnTo>
                    <a:pt x="471244" y="108874"/>
                  </a:lnTo>
                  <a:lnTo>
                    <a:pt x="510931" y="88626"/>
                  </a:lnTo>
                  <a:lnTo>
                    <a:pt x="551575" y="70351"/>
                  </a:lnTo>
                  <a:lnTo>
                    <a:pt x="593098" y="54090"/>
                  </a:lnTo>
                  <a:lnTo>
                    <a:pt x="635423" y="39882"/>
                  </a:lnTo>
                  <a:lnTo>
                    <a:pt x="678470" y="27768"/>
                  </a:lnTo>
                  <a:lnTo>
                    <a:pt x="722161" y="17788"/>
                  </a:lnTo>
                  <a:lnTo>
                    <a:pt x="766419" y="9981"/>
                  </a:lnTo>
                  <a:lnTo>
                    <a:pt x="811164" y="4387"/>
                  </a:lnTo>
                  <a:lnTo>
                    <a:pt x="856319" y="1047"/>
                  </a:lnTo>
                  <a:lnTo>
                    <a:pt x="901804" y="0"/>
                  </a:lnTo>
                  <a:lnTo>
                    <a:pt x="947543" y="1286"/>
                  </a:lnTo>
                  <a:lnTo>
                    <a:pt x="993456" y="4945"/>
                  </a:lnTo>
                  <a:lnTo>
                    <a:pt x="1039465" y="11018"/>
                  </a:lnTo>
                  <a:lnTo>
                    <a:pt x="1085492" y="19544"/>
                  </a:lnTo>
                  <a:lnTo>
                    <a:pt x="1131459" y="30563"/>
                  </a:lnTo>
                  <a:lnTo>
                    <a:pt x="1177287" y="44115"/>
                  </a:lnTo>
                  <a:lnTo>
                    <a:pt x="1222345" y="60041"/>
                  </a:lnTo>
                  <a:lnTo>
                    <a:pt x="1266029" y="78098"/>
                  </a:lnTo>
                  <a:lnTo>
                    <a:pt x="1308299" y="98210"/>
                  </a:lnTo>
                  <a:lnTo>
                    <a:pt x="1349114" y="120297"/>
                  </a:lnTo>
                  <a:lnTo>
                    <a:pt x="1388436" y="144282"/>
                  </a:lnTo>
                  <a:lnTo>
                    <a:pt x="1426223" y="170086"/>
                  </a:lnTo>
                  <a:lnTo>
                    <a:pt x="1462436" y="197630"/>
                  </a:lnTo>
                  <a:lnTo>
                    <a:pt x="1497034" y="226837"/>
                  </a:lnTo>
                  <a:lnTo>
                    <a:pt x="1529979" y="257628"/>
                  </a:lnTo>
                  <a:lnTo>
                    <a:pt x="1561230" y="289924"/>
                  </a:lnTo>
                  <a:lnTo>
                    <a:pt x="1590747" y="323649"/>
                  </a:lnTo>
                  <a:lnTo>
                    <a:pt x="1618490" y="358722"/>
                  </a:lnTo>
                  <a:lnTo>
                    <a:pt x="1644419" y="395066"/>
                  </a:lnTo>
                  <a:lnTo>
                    <a:pt x="1668494" y="432603"/>
                  </a:lnTo>
                  <a:lnTo>
                    <a:pt x="1690676" y="471254"/>
                  </a:lnTo>
                  <a:lnTo>
                    <a:pt x="1710924" y="510941"/>
                  </a:lnTo>
                  <a:lnTo>
                    <a:pt x="1729198" y="551585"/>
                  </a:lnTo>
                  <a:lnTo>
                    <a:pt x="1745459" y="593109"/>
                  </a:lnTo>
                  <a:lnTo>
                    <a:pt x="1759666" y="635433"/>
                  </a:lnTo>
                  <a:lnTo>
                    <a:pt x="1771779" y="678480"/>
                  </a:lnTo>
                  <a:lnTo>
                    <a:pt x="1781759" y="722172"/>
                  </a:lnTo>
                  <a:lnTo>
                    <a:pt x="1789566" y="766430"/>
                  </a:lnTo>
                  <a:lnTo>
                    <a:pt x="1795159" y="811175"/>
                  </a:lnTo>
                  <a:lnTo>
                    <a:pt x="1798499" y="856330"/>
                  </a:lnTo>
                  <a:lnTo>
                    <a:pt x="1799546" y="901816"/>
                  </a:lnTo>
                  <a:lnTo>
                    <a:pt x="1798259" y="947554"/>
                  </a:lnTo>
                  <a:lnTo>
                    <a:pt x="1794599" y="993467"/>
                  </a:lnTo>
                  <a:lnTo>
                    <a:pt x="1788526" y="1039477"/>
                  </a:lnTo>
                  <a:lnTo>
                    <a:pt x="1780000" y="1085504"/>
                  </a:lnTo>
                  <a:lnTo>
                    <a:pt x="1768981" y="1131470"/>
                  </a:lnTo>
                  <a:lnTo>
                    <a:pt x="1755429" y="1177298"/>
                  </a:lnTo>
                  <a:close/>
                </a:path>
              </a:pathLst>
            </a:custGeom>
            <a:ln w="25400">
              <a:solidFill>
                <a:srgbClr val="E3873E"/>
              </a:solidFill>
              <a:prstDash val="sysDash"/>
            </a:ln>
          </p:spPr>
          <p:txBody>
            <a:bodyPr wrap="square" lIns="0" tIns="0" rIns="0" bIns="0" rtlCol="0"/>
            <a:lstStyle/>
            <a:p>
              <a:endParaRPr sz="649"/>
            </a:p>
          </p:txBody>
        </p:sp>
        <p:pic>
          <p:nvPicPr>
            <p:cNvPr id="45" name="object 45"/>
            <p:cNvPicPr/>
            <p:nvPr/>
          </p:nvPicPr>
          <p:blipFill>
            <a:blip r:embed="rId10" cstate="print"/>
            <a:stretch>
              <a:fillRect/>
            </a:stretch>
          </p:blipFill>
          <p:spPr>
            <a:xfrm>
              <a:off x="4762563" y="8565845"/>
              <a:ext cx="383717" cy="245249"/>
            </a:xfrm>
            <a:prstGeom prst="rect">
              <a:avLst/>
            </a:prstGeom>
          </p:spPr>
        </p:pic>
        <p:sp>
          <p:nvSpPr>
            <p:cNvPr id="46" name="object 46"/>
            <p:cNvSpPr/>
            <p:nvPr/>
          </p:nvSpPr>
          <p:spPr>
            <a:xfrm>
              <a:off x="4762558" y="8565843"/>
              <a:ext cx="384175" cy="245745"/>
            </a:xfrm>
            <a:custGeom>
              <a:avLst/>
              <a:gdLst/>
              <a:ahLst/>
              <a:cxnLst/>
              <a:rect l="l" t="t" r="r" b="b"/>
              <a:pathLst>
                <a:path w="384175" h="245745">
                  <a:moveTo>
                    <a:pt x="27432" y="0"/>
                  </a:moveTo>
                  <a:lnTo>
                    <a:pt x="282854" y="82829"/>
                  </a:lnTo>
                  <a:lnTo>
                    <a:pt x="308800" y="15405"/>
                  </a:lnTo>
                  <a:lnTo>
                    <a:pt x="383730" y="173647"/>
                  </a:lnTo>
                  <a:lnTo>
                    <a:pt x="234251" y="245262"/>
                  </a:lnTo>
                  <a:lnTo>
                    <a:pt x="255422" y="167424"/>
                  </a:lnTo>
                  <a:lnTo>
                    <a:pt x="0" y="84581"/>
                  </a:lnTo>
                  <a:lnTo>
                    <a:pt x="15287" y="37454"/>
                  </a:lnTo>
                  <a:lnTo>
                    <a:pt x="23241" y="12934"/>
                  </a:lnTo>
                  <a:lnTo>
                    <a:pt x="26431" y="3093"/>
                  </a:lnTo>
                  <a:lnTo>
                    <a:pt x="27432" y="0"/>
                  </a:lnTo>
                  <a:close/>
                </a:path>
              </a:pathLst>
            </a:custGeom>
            <a:ln w="7620">
              <a:solidFill>
                <a:srgbClr val="E3873E"/>
              </a:solidFill>
            </a:ln>
          </p:spPr>
          <p:txBody>
            <a:bodyPr wrap="square" lIns="0" tIns="0" rIns="0" bIns="0" rtlCol="0"/>
            <a:lstStyle/>
            <a:p>
              <a:endParaRPr sz="649"/>
            </a:p>
          </p:txBody>
        </p:sp>
        <p:sp>
          <p:nvSpPr>
            <p:cNvPr id="47" name="object 47"/>
            <p:cNvSpPr/>
            <p:nvPr/>
          </p:nvSpPr>
          <p:spPr>
            <a:xfrm>
              <a:off x="3482580" y="6861322"/>
              <a:ext cx="552450" cy="117475"/>
            </a:xfrm>
            <a:custGeom>
              <a:avLst/>
              <a:gdLst/>
              <a:ahLst/>
              <a:cxnLst/>
              <a:rect l="l" t="t" r="r" b="b"/>
              <a:pathLst>
                <a:path w="552450" h="117475">
                  <a:moveTo>
                    <a:pt x="552157" y="117119"/>
                  </a:moveTo>
                  <a:lnTo>
                    <a:pt x="0" y="0"/>
                  </a:lnTo>
                </a:path>
              </a:pathLst>
            </a:custGeom>
            <a:ln w="25400">
              <a:solidFill>
                <a:srgbClr val="E3873E"/>
              </a:solidFill>
            </a:ln>
          </p:spPr>
          <p:txBody>
            <a:bodyPr wrap="square" lIns="0" tIns="0" rIns="0" bIns="0" rtlCol="0"/>
            <a:lstStyle/>
            <a:p>
              <a:endParaRPr sz="649"/>
            </a:p>
          </p:txBody>
        </p:sp>
        <p:sp>
          <p:nvSpPr>
            <p:cNvPr id="48" name="object 48"/>
            <p:cNvSpPr/>
            <p:nvPr/>
          </p:nvSpPr>
          <p:spPr>
            <a:xfrm>
              <a:off x="3970197" y="6895818"/>
              <a:ext cx="285115" cy="144780"/>
            </a:xfrm>
            <a:custGeom>
              <a:avLst/>
              <a:gdLst/>
              <a:ahLst/>
              <a:cxnLst/>
              <a:rect l="l" t="t" r="r" b="b"/>
              <a:pathLst>
                <a:path w="285114" h="144779">
                  <a:moveTo>
                    <a:pt x="30619" y="0"/>
                  </a:moveTo>
                  <a:lnTo>
                    <a:pt x="0" y="144373"/>
                  </a:lnTo>
                  <a:lnTo>
                    <a:pt x="284683" y="129273"/>
                  </a:lnTo>
                  <a:lnTo>
                    <a:pt x="30619" y="0"/>
                  </a:lnTo>
                  <a:close/>
                </a:path>
              </a:pathLst>
            </a:custGeom>
            <a:solidFill>
              <a:srgbClr val="E3873E"/>
            </a:solidFill>
          </p:spPr>
          <p:txBody>
            <a:bodyPr wrap="square" lIns="0" tIns="0" rIns="0" bIns="0" rtlCol="0"/>
            <a:lstStyle/>
            <a:p>
              <a:endParaRPr sz="649"/>
            </a:p>
          </p:txBody>
        </p:sp>
        <p:sp>
          <p:nvSpPr>
            <p:cNvPr id="49" name="object 49"/>
            <p:cNvSpPr/>
            <p:nvPr/>
          </p:nvSpPr>
          <p:spPr>
            <a:xfrm>
              <a:off x="4280551" y="7253861"/>
              <a:ext cx="35560" cy="375285"/>
            </a:xfrm>
            <a:custGeom>
              <a:avLst/>
              <a:gdLst/>
              <a:ahLst/>
              <a:cxnLst/>
              <a:rect l="l" t="t" r="r" b="b"/>
              <a:pathLst>
                <a:path w="35560" h="375284">
                  <a:moveTo>
                    <a:pt x="0" y="0"/>
                  </a:moveTo>
                  <a:lnTo>
                    <a:pt x="35166" y="375069"/>
                  </a:lnTo>
                </a:path>
              </a:pathLst>
            </a:custGeom>
            <a:ln w="25400">
              <a:solidFill>
                <a:srgbClr val="E3873E"/>
              </a:solidFill>
            </a:ln>
          </p:spPr>
          <p:txBody>
            <a:bodyPr wrap="square" lIns="0" tIns="0" rIns="0" bIns="0" rtlCol="0"/>
            <a:lstStyle/>
            <a:p>
              <a:endParaRPr sz="649"/>
            </a:p>
          </p:txBody>
        </p:sp>
        <p:sp>
          <p:nvSpPr>
            <p:cNvPr id="50" name="object 50"/>
            <p:cNvSpPr/>
            <p:nvPr/>
          </p:nvSpPr>
          <p:spPr>
            <a:xfrm>
              <a:off x="4211781" y="7029823"/>
              <a:ext cx="147320" cy="281305"/>
            </a:xfrm>
            <a:custGeom>
              <a:avLst/>
              <a:gdLst/>
              <a:ahLst/>
              <a:cxnLst/>
              <a:rect l="l" t="t" r="r" b="b"/>
              <a:pathLst>
                <a:path w="147320" h="281304">
                  <a:moveTo>
                    <a:pt x="47713" y="0"/>
                  </a:moveTo>
                  <a:lnTo>
                    <a:pt x="0" y="281038"/>
                  </a:lnTo>
                  <a:lnTo>
                    <a:pt x="146939" y="267258"/>
                  </a:lnTo>
                  <a:lnTo>
                    <a:pt x="47713" y="0"/>
                  </a:lnTo>
                  <a:close/>
                </a:path>
              </a:pathLst>
            </a:custGeom>
            <a:solidFill>
              <a:srgbClr val="E3873E"/>
            </a:solidFill>
          </p:spPr>
          <p:txBody>
            <a:bodyPr wrap="square" lIns="0" tIns="0" rIns="0" bIns="0" rtlCol="0"/>
            <a:lstStyle/>
            <a:p>
              <a:endParaRPr sz="649"/>
            </a:p>
          </p:txBody>
        </p:sp>
        <p:sp>
          <p:nvSpPr>
            <p:cNvPr id="51" name="object 51"/>
            <p:cNvSpPr/>
            <p:nvPr/>
          </p:nvSpPr>
          <p:spPr>
            <a:xfrm>
              <a:off x="5734400" y="6374160"/>
              <a:ext cx="275590" cy="275590"/>
            </a:xfrm>
            <a:custGeom>
              <a:avLst/>
              <a:gdLst/>
              <a:ahLst/>
              <a:cxnLst/>
              <a:rect l="l" t="t" r="r" b="b"/>
              <a:pathLst>
                <a:path w="275589" h="275590">
                  <a:moveTo>
                    <a:pt x="137655" y="0"/>
                  </a:moveTo>
                  <a:lnTo>
                    <a:pt x="94146" y="7016"/>
                  </a:lnTo>
                  <a:lnTo>
                    <a:pt x="56359" y="26555"/>
                  </a:lnTo>
                  <a:lnTo>
                    <a:pt x="26560" y="56350"/>
                  </a:lnTo>
                  <a:lnTo>
                    <a:pt x="7018" y="94135"/>
                  </a:lnTo>
                  <a:lnTo>
                    <a:pt x="0" y="137642"/>
                  </a:lnTo>
                  <a:lnTo>
                    <a:pt x="7018" y="181151"/>
                  </a:lnTo>
                  <a:lnTo>
                    <a:pt x="26560" y="218938"/>
                  </a:lnTo>
                  <a:lnTo>
                    <a:pt x="56359" y="248737"/>
                  </a:lnTo>
                  <a:lnTo>
                    <a:pt x="94146" y="268279"/>
                  </a:lnTo>
                  <a:lnTo>
                    <a:pt x="137655" y="275297"/>
                  </a:lnTo>
                  <a:lnTo>
                    <a:pt x="181163" y="268279"/>
                  </a:lnTo>
                  <a:lnTo>
                    <a:pt x="218951" y="248737"/>
                  </a:lnTo>
                  <a:lnTo>
                    <a:pt x="248750" y="218938"/>
                  </a:lnTo>
                  <a:lnTo>
                    <a:pt x="268292" y="181151"/>
                  </a:lnTo>
                  <a:lnTo>
                    <a:pt x="275310" y="137642"/>
                  </a:lnTo>
                  <a:lnTo>
                    <a:pt x="268292" y="94135"/>
                  </a:lnTo>
                  <a:lnTo>
                    <a:pt x="248750" y="56350"/>
                  </a:lnTo>
                  <a:lnTo>
                    <a:pt x="218951" y="26555"/>
                  </a:lnTo>
                  <a:lnTo>
                    <a:pt x="181163" y="7016"/>
                  </a:lnTo>
                  <a:lnTo>
                    <a:pt x="137655" y="0"/>
                  </a:lnTo>
                  <a:close/>
                </a:path>
              </a:pathLst>
            </a:custGeom>
            <a:solidFill>
              <a:srgbClr val="FFFFFF"/>
            </a:solidFill>
          </p:spPr>
          <p:txBody>
            <a:bodyPr wrap="square" lIns="0" tIns="0" rIns="0" bIns="0" rtlCol="0"/>
            <a:lstStyle/>
            <a:p>
              <a:endParaRPr sz="649"/>
            </a:p>
          </p:txBody>
        </p:sp>
        <p:sp>
          <p:nvSpPr>
            <p:cNvPr id="52" name="object 52"/>
            <p:cNvSpPr/>
            <p:nvPr/>
          </p:nvSpPr>
          <p:spPr>
            <a:xfrm>
              <a:off x="5734400" y="6374160"/>
              <a:ext cx="275590" cy="275590"/>
            </a:xfrm>
            <a:custGeom>
              <a:avLst/>
              <a:gdLst/>
              <a:ahLst/>
              <a:cxnLst/>
              <a:rect l="l" t="t" r="r" b="b"/>
              <a:pathLst>
                <a:path w="275589" h="275590">
                  <a:moveTo>
                    <a:pt x="137655" y="275297"/>
                  </a:moveTo>
                  <a:lnTo>
                    <a:pt x="181163" y="268279"/>
                  </a:lnTo>
                  <a:lnTo>
                    <a:pt x="218951" y="248737"/>
                  </a:lnTo>
                  <a:lnTo>
                    <a:pt x="248750" y="218938"/>
                  </a:lnTo>
                  <a:lnTo>
                    <a:pt x="268292" y="181151"/>
                  </a:lnTo>
                  <a:lnTo>
                    <a:pt x="275310" y="137642"/>
                  </a:lnTo>
                  <a:lnTo>
                    <a:pt x="268292" y="94135"/>
                  </a:lnTo>
                  <a:lnTo>
                    <a:pt x="248750" y="56350"/>
                  </a:lnTo>
                  <a:lnTo>
                    <a:pt x="218951" y="26555"/>
                  </a:lnTo>
                  <a:lnTo>
                    <a:pt x="181163" y="7016"/>
                  </a:lnTo>
                  <a:lnTo>
                    <a:pt x="137655" y="0"/>
                  </a:lnTo>
                  <a:lnTo>
                    <a:pt x="94146" y="7016"/>
                  </a:lnTo>
                  <a:lnTo>
                    <a:pt x="56359" y="26555"/>
                  </a:lnTo>
                  <a:lnTo>
                    <a:pt x="26560" y="56350"/>
                  </a:lnTo>
                  <a:lnTo>
                    <a:pt x="7018" y="94135"/>
                  </a:lnTo>
                  <a:lnTo>
                    <a:pt x="0" y="137642"/>
                  </a:lnTo>
                  <a:lnTo>
                    <a:pt x="7018" y="181151"/>
                  </a:lnTo>
                  <a:lnTo>
                    <a:pt x="26560" y="218938"/>
                  </a:lnTo>
                  <a:lnTo>
                    <a:pt x="56359" y="248737"/>
                  </a:lnTo>
                  <a:lnTo>
                    <a:pt x="94146" y="268279"/>
                  </a:lnTo>
                  <a:lnTo>
                    <a:pt x="137655" y="275297"/>
                  </a:lnTo>
                  <a:close/>
                </a:path>
              </a:pathLst>
            </a:custGeom>
            <a:ln w="12700">
              <a:solidFill>
                <a:srgbClr val="231F20"/>
              </a:solidFill>
            </a:ln>
          </p:spPr>
          <p:txBody>
            <a:bodyPr wrap="square" lIns="0" tIns="0" rIns="0" bIns="0" rtlCol="0"/>
            <a:lstStyle/>
            <a:p>
              <a:endParaRPr sz="649"/>
            </a:p>
          </p:txBody>
        </p:sp>
      </p:grpSp>
      <p:sp>
        <p:nvSpPr>
          <p:cNvPr id="53" name="object 53"/>
          <p:cNvSpPr txBox="1"/>
          <p:nvPr/>
        </p:nvSpPr>
        <p:spPr>
          <a:xfrm>
            <a:off x="5541420" y="3056971"/>
            <a:ext cx="76076" cy="139412"/>
          </a:xfrm>
          <a:prstGeom prst="rect">
            <a:avLst/>
          </a:prstGeom>
        </p:spPr>
        <p:txBody>
          <a:bodyPr vert="horz" wrap="square" lIns="0" tIns="6111" rIns="0" bIns="0" rtlCol="0">
            <a:spAutoFit/>
          </a:bodyPr>
          <a:lstStyle/>
          <a:p>
            <a:pPr marL="6110">
              <a:spcBef>
                <a:spcPts val="48"/>
              </a:spcBef>
            </a:pPr>
            <a:r>
              <a:rPr sz="866" b="1" spc="-51" dirty="0">
                <a:solidFill>
                  <a:srgbClr val="231F20"/>
                </a:solidFill>
                <a:latin typeface="Tahoma"/>
                <a:cs typeface="Tahoma"/>
              </a:rPr>
              <a:t>2</a:t>
            </a:r>
            <a:endParaRPr sz="866">
              <a:latin typeface="Tahoma"/>
              <a:cs typeface="Tahoma"/>
            </a:endParaRPr>
          </a:p>
        </p:txBody>
      </p:sp>
      <p:grpSp>
        <p:nvGrpSpPr>
          <p:cNvPr id="54" name="object 54"/>
          <p:cNvGrpSpPr/>
          <p:nvPr/>
        </p:nvGrpSpPr>
        <p:grpSpPr>
          <a:xfrm>
            <a:off x="3724097" y="2767073"/>
            <a:ext cx="138710" cy="138710"/>
            <a:chOff x="2015994" y="5751004"/>
            <a:chExt cx="288290" cy="288290"/>
          </a:xfrm>
        </p:grpSpPr>
        <p:sp>
          <p:nvSpPr>
            <p:cNvPr id="55" name="object 55"/>
            <p:cNvSpPr/>
            <p:nvPr/>
          </p:nvSpPr>
          <p:spPr>
            <a:xfrm>
              <a:off x="2022344" y="5757354"/>
              <a:ext cx="275590" cy="275590"/>
            </a:xfrm>
            <a:custGeom>
              <a:avLst/>
              <a:gdLst/>
              <a:ahLst/>
              <a:cxnLst/>
              <a:rect l="l" t="t" r="r" b="b"/>
              <a:pathLst>
                <a:path w="275589" h="275589">
                  <a:moveTo>
                    <a:pt x="137655" y="0"/>
                  </a:moveTo>
                  <a:lnTo>
                    <a:pt x="94146" y="7016"/>
                  </a:lnTo>
                  <a:lnTo>
                    <a:pt x="56359" y="26555"/>
                  </a:lnTo>
                  <a:lnTo>
                    <a:pt x="26560" y="56350"/>
                  </a:lnTo>
                  <a:lnTo>
                    <a:pt x="7018" y="94135"/>
                  </a:lnTo>
                  <a:lnTo>
                    <a:pt x="0" y="137642"/>
                  </a:lnTo>
                  <a:lnTo>
                    <a:pt x="7018" y="181151"/>
                  </a:lnTo>
                  <a:lnTo>
                    <a:pt x="26560" y="218938"/>
                  </a:lnTo>
                  <a:lnTo>
                    <a:pt x="56359" y="248737"/>
                  </a:lnTo>
                  <a:lnTo>
                    <a:pt x="94146" y="268279"/>
                  </a:lnTo>
                  <a:lnTo>
                    <a:pt x="137655" y="275297"/>
                  </a:lnTo>
                  <a:lnTo>
                    <a:pt x="181163" y="268279"/>
                  </a:lnTo>
                  <a:lnTo>
                    <a:pt x="218951" y="248737"/>
                  </a:lnTo>
                  <a:lnTo>
                    <a:pt x="248750" y="218938"/>
                  </a:lnTo>
                  <a:lnTo>
                    <a:pt x="268292" y="181151"/>
                  </a:lnTo>
                  <a:lnTo>
                    <a:pt x="275310" y="137642"/>
                  </a:lnTo>
                  <a:lnTo>
                    <a:pt x="268292" y="94135"/>
                  </a:lnTo>
                  <a:lnTo>
                    <a:pt x="248750" y="56350"/>
                  </a:lnTo>
                  <a:lnTo>
                    <a:pt x="218951" y="26555"/>
                  </a:lnTo>
                  <a:lnTo>
                    <a:pt x="181163" y="7016"/>
                  </a:lnTo>
                  <a:lnTo>
                    <a:pt x="137655" y="0"/>
                  </a:lnTo>
                  <a:close/>
                </a:path>
              </a:pathLst>
            </a:custGeom>
            <a:solidFill>
              <a:srgbClr val="FFFFFF"/>
            </a:solidFill>
          </p:spPr>
          <p:txBody>
            <a:bodyPr wrap="square" lIns="0" tIns="0" rIns="0" bIns="0" rtlCol="0"/>
            <a:lstStyle/>
            <a:p>
              <a:endParaRPr sz="649"/>
            </a:p>
          </p:txBody>
        </p:sp>
        <p:sp>
          <p:nvSpPr>
            <p:cNvPr id="56" name="object 56"/>
            <p:cNvSpPr/>
            <p:nvPr/>
          </p:nvSpPr>
          <p:spPr>
            <a:xfrm>
              <a:off x="2022344" y="5757354"/>
              <a:ext cx="275590" cy="275590"/>
            </a:xfrm>
            <a:custGeom>
              <a:avLst/>
              <a:gdLst/>
              <a:ahLst/>
              <a:cxnLst/>
              <a:rect l="l" t="t" r="r" b="b"/>
              <a:pathLst>
                <a:path w="275589" h="275589">
                  <a:moveTo>
                    <a:pt x="137655" y="275297"/>
                  </a:moveTo>
                  <a:lnTo>
                    <a:pt x="181163" y="268279"/>
                  </a:lnTo>
                  <a:lnTo>
                    <a:pt x="218951" y="248737"/>
                  </a:lnTo>
                  <a:lnTo>
                    <a:pt x="248750" y="218938"/>
                  </a:lnTo>
                  <a:lnTo>
                    <a:pt x="268292" y="181151"/>
                  </a:lnTo>
                  <a:lnTo>
                    <a:pt x="275310" y="137642"/>
                  </a:lnTo>
                  <a:lnTo>
                    <a:pt x="268292" y="94135"/>
                  </a:lnTo>
                  <a:lnTo>
                    <a:pt x="248750" y="56350"/>
                  </a:lnTo>
                  <a:lnTo>
                    <a:pt x="218951" y="26555"/>
                  </a:lnTo>
                  <a:lnTo>
                    <a:pt x="181163" y="7016"/>
                  </a:lnTo>
                  <a:lnTo>
                    <a:pt x="137655" y="0"/>
                  </a:lnTo>
                  <a:lnTo>
                    <a:pt x="94146" y="7016"/>
                  </a:lnTo>
                  <a:lnTo>
                    <a:pt x="56359" y="26555"/>
                  </a:lnTo>
                  <a:lnTo>
                    <a:pt x="26560" y="56350"/>
                  </a:lnTo>
                  <a:lnTo>
                    <a:pt x="7018" y="94135"/>
                  </a:lnTo>
                  <a:lnTo>
                    <a:pt x="0" y="137642"/>
                  </a:lnTo>
                  <a:lnTo>
                    <a:pt x="7018" y="181151"/>
                  </a:lnTo>
                  <a:lnTo>
                    <a:pt x="26560" y="218938"/>
                  </a:lnTo>
                  <a:lnTo>
                    <a:pt x="56359" y="248737"/>
                  </a:lnTo>
                  <a:lnTo>
                    <a:pt x="94146" y="268279"/>
                  </a:lnTo>
                  <a:lnTo>
                    <a:pt x="137655" y="275297"/>
                  </a:lnTo>
                  <a:close/>
                </a:path>
              </a:pathLst>
            </a:custGeom>
            <a:ln w="12700">
              <a:solidFill>
                <a:srgbClr val="231F20"/>
              </a:solidFill>
            </a:ln>
          </p:spPr>
          <p:txBody>
            <a:bodyPr wrap="square" lIns="0" tIns="0" rIns="0" bIns="0" rtlCol="0"/>
            <a:lstStyle/>
            <a:p>
              <a:endParaRPr sz="649"/>
            </a:p>
          </p:txBody>
        </p:sp>
      </p:grpSp>
      <p:sp>
        <p:nvSpPr>
          <p:cNvPr id="57" name="object 57"/>
          <p:cNvSpPr txBox="1"/>
          <p:nvPr/>
        </p:nvSpPr>
        <p:spPr>
          <a:xfrm>
            <a:off x="3755379" y="2760197"/>
            <a:ext cx="76076" cy="139412"/>
          </a:xfrm>
          <a:prstGeom prst="rect">
            <a:avLst/>
          </a:prstGeom>
        </p:spPr>
        <p:txBody>
          <a:bodyPr vert="horz" wrap="square" lIns="0" tIns="6111" rIns="0" bIns="0" rtlCol="0">
            <a:spAutoFit/>
          </a:bodyPr>
          <a:lstStyle/>
          <a:p>
            <a:pPr marL="6110">
              <a:spcBef>
                <a:spcPts val="48"/>
              </a:spcBef>
            </a:pPr>
            <a:r>
              <a:rPr sz="866" b="1" spc="-51" dirty="0">
                <a:solidFill>
                  <a:srgbClr val="231F20"/>
                </a:solidFill>
                <a:latin typeface="Tahoma"/>
                <a:cs typeface="Tahoma"/>
              </a:rPr>
              <a:t>1</a:t>
            </a:r>
            <a:endParaRPr sz="866">
              <a:latin typeface="Tahoma"/>
              <a:cs typeface="Tahoma"/>
            </a:endParaRPr>
          </a:p>
        </p:txBody>
      </p:sp>
      <p:grpSp>
        <p:nvGrpSpPr>
          <p:cNvPr id="58" name="object 58"/>
          <p:cNvGrpSpPr/>
          <p:nvPr/>
        </p:nvGrpSpPr>
        <p:grpSpPr>
          <a:xfrm>
            <a:off x="3096867" y="422835"/>
            <a:ext cx="2949565" cy="1468672"/>
            <a:chOff x="712376" y="878808"/>
            <a:chExt cx="6130290" cy="3052445"/>
          </a:xfrm>
        </p:grpSpPr>
        <p:pic>
          <p:nvPicPr>
            <p:cNvPr id="59" name="object 59"/>
            <p:cNvPicPr/>
            <p:nvPr/>
          </p:nvPicPr>
          <p:blipFill>
            <a:blip r:embed="rId11" cstate="print"/>
            <a:stretch>
              <a:fillRect/>
            </a:stretch>
          </p:blipFill>
          <p:spPr>
            <a:xfrm>
              <a:off x="712376" y="1711619"/>
              <a:ext cx="2085290" cy="1632762"/>
            </a:xfrm>
            <a:prstGeom prst="rect">
              <a:avLst/>
            </a:prstGeom>
          </p:spPr>
        </p:pic>
        <p:pic>
          <p:nvPicPr>
            <p:cNvPr id="60" name="object 60"/>
            <p:cNvPicPr/>
            <p:nvPr/>
          </p:nvPicPr>
          <p:blipFill>
            <a:blip r:embed="rId12" cstate="print"/>
            <a:stretch>
              <a:fillRect/>
            </a:stretch>
          </p:blipFill>
          <p:spPr>
            <a:xfrm>
              <a:off x="1296923" y="1883294"/>
              <a:ext cx="154813" cy="191350"/>
            </a:xfrm>
            <a:prstGeom prst="rect">
              <a:avLst/>
            </a:prstGeom>
          </p:spPr>
        </p:pic>
        <p:pic>
          <p:nvPicPr>
            <p:cNvPr id="61" name="object 61"/>
            <p:cNvPicPr/>
            <p:nvPr/>
          </p:nvPicPr>
          <p:blipFill>
            <a:blip r:embed="rId13" cstate="print"/>
            <a:stretch>
              <a:fillRect/>
            </a:stretch>
          </p:blipFill>
          <p:spPr>
            <a:xfrm>
              <a:off x="1293111" y="1879494"/>
              <a:ext cx="162432" cy="198945"/>
            </a:xfrm>
            <a:prstGeom prst="rect">
              <a:avLst/>
            </a:prstGeom>
          </p:spPr>
        </p:pic>
        <p:pic>
          <p:nvPicPr>
            <p:cNvPr id="62" name="object 62"/>
            <p:cNvPicPr/>
            <p:nvPr/>
          </p:nvPicPr>
          <p:blipFill>
            <a:blip r:embed="rId14" cstate="print"/>
            <a:stretch>
              <a:fillRect/>
            </a:stretch>
          </p:blipFill>
          <p:spPr>
            <a:xfrm>
              <a:off x="1038009" y="1692428"/>
              <a:ext cx="154813" cy="191350"/>
            </a:xfrm>
            <a:prstGeom prst="rect">
              <a:avLst/>
            </a:prstGeom>
          </p:spPr>
        </p:pic>
        <p:pic>
          <p:nvPicPr>
            <p:cNvPr id="63" name="object 63"/>
            <p:cNvPicPr/>
            <p:nvPr/>
          </p:nvPicPr>
          <p:blipFill>
            <a:blip r:embed="rId15" cstate="print"/>
            <a:stretch>
              <a:fillRect/>
            </a:stretch>
          </p:blipFill>
          <p:spPr>
            <a:xfrm>
              <a:off x="1034194" y="1688635"/>
              <a:ext cx="162432" cy="198958"/>
            </a:xfrm>
            <a:prstGeom prst="rect">
              <a:avLst/>
            </a:prstGeom>
          </p:spPr>
        </p:pic>
        <p:pic>
          <p:nvPicPr>
            <p:cNvPr id="64" name="object 64"/>
            <p:cNvPicPr/>
            <p:nvPr/>
          </p:nvPicPr>
          <p:blipFill>
            <a:blip r:embed="rId16" cstate="print"/>
            <a:stretch>
              <a:fillRect/>
            </a:stretch>
          </p:blipFill>
          <p:spPr>
            <a:xfrm>
              <a:off x="2366982" y="878808"/>
              <a:ext cx="3336956" cy="3038710"/>
            </a:xfrm>
            <a:prstGeom prst="rect">
              <a:avLst/>
            </a:prstGeom>
          </p:spPr>
        </p:pic>
        <p:pic>
          <p:nvPicPr>
            <p:cNvPr id="65" name="object 65"/>
            <p:cNvPicPr/>
            <p:nvPr/>
          </p:nvPicPr>
          <p:blipFill>
            <a:blip r:embed="rId17" cstate="print"/>
            <a:stretch>
              <a:fillRect/>
            </a:stretch>
          </p:blipFill>
          <p:spPr>
            <a:xfrm>
              <a:off x="4163377" y="2620619"/>
              <a:ext cx="1656003" cy="463486"/>
            </a:xfrm>
            <a:prstGeom prst="rect">
              <a:avLst/>
            </a:prstGeom>
          </p:spPr>
        </p:pic>
        <p:sp>
          <p:nvSpPr>
            <p:cNvPr id="66" name="object 66"/>
            <p:cNvSpPr/>
            <p:nvPr/>
          </p:nvSpPr>
          <p:spPr>
            <a:xfrm>
              <a:off x="4163376" y="2620792"/>
              <a:ext cx="1656080" cy="463550"/>
            </a:xfrm>
            <a:custGeom>
              <a:avLst/>
              <a:gdLst/>
              <a:ahLst/>
              <a:cxnLst/>
              <a:rect l="l" t="t" r="r" b="b"/>
              <a:pathLst>
                <a:path w="1656079" h="463550">
                  <a:moveTo>
                    <a:pt x="1486090" y="463302"/>
                  </a:moveTo>
                  <a:lnTo>
                    <a:pt x="1204531" y="272802"/>
                  </a:lnTo>
                  <a:lnTo>
                    <a:pt x="1144272" y="233033"/>
                  </a:lnTo>
                  <a:lnTo>
                    <a:pt x="1085233" y="197014"/>
                  </a:lnTo>
                  <a:lnTo>
                    <a:pt x="1027425" y="164615"/>
                  </a:lnTo>
                  <a:lnTo>
                    <a:pt x="970860" y="135703"/>
                  </a:lnTo>
                  <a:lnTo>
                    <a:pt x="915548" y="110144"/>
                  </a:lnTo>
                  <a:lnTo>
                    <a:pt x="861501" y="87808"/>
                  </a:lnTo>
                  <a:lnTo>
                    <a:pt x="808728" y="68561"/>
                  </a:lnTo>
                  <a:lnTo>
                    <a:pt x="757242" y="52272"/>
                  </a:lnTo>
                  <a:lnTo>
                    <a:pt x="707054" y="38807"/>
                  </a:lnTo>
                  <a:lnTo>
                    <a:pt x="658174" y="28035"/>
                  </a:lnTo>
                  <a:lnTo>
                    <a:pt x="610613" y="19824"/>
                  </a:lnTo>
                  <a:lnTo>
                    <a:pt x="564383" y="14041"/>
                  </a:lnTo>
                  <a:lnTo>
                    <a:pt x="519494" y="10553"/>
                  </a:lnTo>
                  <a:lnTo>
                    <a:pt x="475958" y="9229"/>
                  </a:lnTo>
                  <a:lnTo>
                    <a:pt x="433786" y="9937"/>
                  </a:lnTo>
                  <a:lnTo>
                    <a:pt x="392988" y="12542"/>
                  </a:lnTo>
                  <a:lnTo>
                    <a:pt x="353576" y="16915"/>
                  </a:lnTo>
                  <a:lnTo>
                    <a:pt x="315560" y="22922"/>
                  </a:lnTo>
                  <a:lnTo>
                    <a:pt x="243763" y="39308"/>
                  </a:lnTo>
                  <a:lnTo>
                    <a:pt x="177685" y="60644"/>
                  </a:lnTo>
                  <a:lnTo>
                    <a:pt x="117414" y="85871"/>
                  </a:lnTo>
                  <a:lnTo>
                    <a:pt x="89484" y="99612"/>
                  </a:lnTo>
                  <a:lnTo>
                    <a:pt x="20815" y="47428"/>
                  </a:lnTo>
                  <a:lnTo>
                    <a:pt x="0" y="229520"/>
                  </a:lnTo>
                  <a:lnTo>
                    <a:pt x="234137" y="203511"/>
                  </a:lnTo>
                  <a:lnTo>
                    <a:pt x="159867" y="151644"/>
                  </a:lnTo>
                  <a:lnTo>
                    <a:pt x="182501" y="135764"/>
                  </a:lnTo>
                  <a:lnTo>
                    <a:pt x="232690" y="104695"/>
                  </a:lnTo>
                  <a:lnTo>
                    <a:pt x="289356" y="75541"/>
                  </a:lnTo>
                  <a:lnTo>
                    <a:pt x="352400" y="49493"/>
                  </a:lnTo>
                  <a:lnTo>
                    <a:pt x="421723" y="27744"/>
                  </a:lnTo>
                  <a:lnTo>
                    <a:pt x="497225" y="11485"/>
                  </a:lnTo>
                  <a:lnTo>
                    <a:pt x="537262" y="5787"/>
                  </a:lnTo>
                  <a:lnTo>
                    <a:pt x="578807" y="1909"/>
                  </a:lnTo>
                  <a:lnTo>
                    <a:pt x="621847" y="0"/>
                  </a:lnTo>
                  <a:lnTo>
                    <a:pt x="666370" y="208"/>
                  </a:lnTo>
                  <a:lnTo>
                    <a:pt x="712363" y="2682"/>
                  </a:lnTo>
                  <a:lnTo>
                    <a:pt x="759814" y="7573"/>
                  </a:lnTo>
                  <a:lnTo>
                    <a:pt x="808710" y="15028"/>
                  </a:lnTo>
                  <a:lnTo>
                    <a:pt x="859039" y="25196"/>
                  </a:lnTo>
                  <a:lnTo>
                    <a:pt x="910790" y="38228"/>
                  </a:lnTo>
                  <a:lnTo>
                    <a:pt x="963948" y="54271"/>
                  </a:lnTo>
                  <a:lnTo>
                    <a:pt x="1018502" y="73475"/>
                  </a:lnTo>
                  <a:lnTo>
                    <a:pt x="1074440" y="95988"/>
                  </a:lnTo>
                  <a:lnTo>
                    <a:pt x="1131748" y="121961"/>
                  </a:lnTo>
                  <a:lnTo>
                    <a:pt x="1190416" y="151540"/>
                  </a:lnTo>
                  <a:lnTo>
                    <a:pt x="1250429" y="184877"/>
                  </a:lnTo>
                  <a:lnTo>
                    <a:pt x="1311776" y="222119"/>
                  </a:lnTo>
                  <a:lnTo>
                    <a:pt x="1374444" y="263417"/>
                  </a:lnTo>
                  <a:lnTo>
                    <a:pt x="1656003" y="453917"/>
                  </a:lnTo>
                </a:path>
              </a:pathLst>
            </a:custGeom>
            <a:ln w="7620">
              <a:solidFill>
                <a:srgbClr val="E3873E"/>
              </a:solidFill>
            </a:ln>
          </p:spPr>
          <p:txBody>
            <a:bodyPr wrap="square" lIns="0" tIns="0" rIns="0" bIns="0" rtlCol="0"/>
            <a:lstStyle/>
            <a:p>
              <a:endParaRPr sz="649"/>
            </a:p>
          </p:txBody>
        </p:sp>
        <p:pic>
          <p:nvPicPr>
            <p:cNvPr id="67" name="object 67"/>
            <p:cNvPicPr/>
            <p:nvPr/>
          </p:nvPicPr>
          <p:blipFill>
            <a:blip r:embed="rId18" cstate="print"/>
            <a:stretch>
              <a:fillRect/>
            </a:stretch>
          </p:blipFill>
          <p:spPr>
            <a:xfrm>
              <a:off x="5696211" y="3801804"/>
              <a:ext cx="98684" cy="128870"/>
            </a:xfrm>
            <a:prstGeom prst="rect">
              <a:avLst/>
            </a:prstGeom>
          </p:spPr>
        </p:pic>
        <p:sp>
          <p:nvSpPr>
            <p:cNvPr id="68" name="object 68"/>
            <p:cNvSpPr/>
            <p:nvPr/>
          </p:nvSpPr>
          <p:spPr>
            <a:xfrm>
              <a:off x="5297863" y="3638394"/>
              <a:ext cx="186055" cy="286385"/>
            </a:xfrm>
            <a:custGeom>
              <a:avLst/>
              <a:gdLst/>
              <a:ahLst/>
              <a:cxnLst/>
              <a:rect l="l" t="t" r="r" b="b"/>
              <a:pathLst>
                <a:path w="186054" h="286385">
                  <a:moveTo>
                    <a:pt x="154089" y="0"/>
                  </a:moveTo>
                  <a:lnTo>
                    <a:pt x="97256" y="70370"/>
                  </a:lnTo>
                  <a:lnTo>
                    <a:pt x="0" y="285927"/>
                  </a:lnTo>
                  <a:lnTo>
                    <a:pt x="88544" y="285927"/>
                  </a:lnTo>
                  <a:lnTo>
                    <a:pt x="170853" y="103581"/>
                  </a:lnTo>
                  <a:lnTo>
                    <a:pt x="186016" y="14414"/>
                  </a:lnTo>
                  <a:lnTo>
                    <a:pt x="154089" y="0"/>
                  </a:lnTo>
                  <a:close/>
                </a:path>
              </a:pathLst>
            </a:custGeom>
            <a:solidFill>
              <a:srgbClr val="FFFFFF"/>
            </a:solidFill>
          </p:spPr>
          <p:txBody>
            <a:bodyPr wrap="square" lIns="0" tIns="0" rIns="0" bIns="0" rtlCol="0"/>
            <a:lstStyle/>
            <a:p>
              <a:endParaRPr sz="649"/>
            </a:p>
          </p:txBody>
        </p:sp>
        <p:sp>
          <p:nvSpPr>
            <p:cNvPr id="69" name="object 69"/>
            <p:cNvSpPr/>
            <p:nvPr/>
          </p:nvSpPr>
          <p:spPr>
            <a:xfrm>
              <a:off x="5297850" y="3638388"/>
              <a:ext cx="186055" cy="286385"/>
            </a:xfrm>
            <a:custGeom>
              <a:avLst/>
              <a:gdLst/>
              <a:ahLst/>
              <a:cxnLst/>
              <a:rect l="l" t="t" r="r" b="b"/>
              <a:pathLst>
                <a:path w="186054" h="286385">
                  <a:moveTo>
                    <a:pt x="0" y="285936"/>
                  </a:moveTo>
                  <a:lnTo>
                    <a:pt x="97266" y="70370"/>
                  </a:lnTo>
                  <a:lnTo>
                    <a:pt x="154098" y="0"/>
                  </a:lnTo>
                  <a:lnTo>
                    <a:pt x="186039" y="14414"/>
                  </a:lnTo>
                  <a:lnTo>
                    <a:pt x="170862" y="103593"/>
                  </a:lnTo>
                  <a:lnTo>
                    <a:pt x="88566" y="285936"/>
                  </a:lnTo>
                </a:path>
              </a:pathLst>
            </a:custGeom>
            <a:ln w="12700">
              <a:solidFill>
                <a:srgbClr val="231F20"/>
              </a:solidFill>
            </a:ln>
          </p:spPr>
          <p:txBody>
            <a:bodyPr wrap="square" lIns="0" tIns="0" rIns="0" bIns="0" rtlCol="0"/>
            <a:lstStyle/>
            <a:p>
              <a:endParaRPr sz="649"/>
            </a:p>
          </p:txBody>
        </p:sp>
        <p:pic>
          <p:nvPicPr>
            <p:cNvPr id="70" name="object 70"/>
            <p:cNvPicPr/>
            <p:nvPr/>
          </p:nvPicPr>
          <p:blipFill>
            <a:blip r:embed="rId19" cstate="print"/>
            <a:stretch>
              <a:fillRect/>
            </a:stretch>
          </p:blipFill>
          <p:spPr>
            <a:xfrm>
              <a:off x="5392827" y="3644822"/>
              <a:ext cx="90295" cy="99548"/>
            </a:xfrm>
            <a:prstGeom prst="rect">
              <a:avLst/>
            </a:prstGeom>
          </p:spPr>
        </p:pic>
        <p:sp>
          <p:nvSpPr>
            <p:cNvPr id="71" name="object 71"/>
            <p:cNvSpPr/>
            <p:nvPr/>
          </p:nvSpPr>
          <p:spPr>
            <a:xfrm>
              <a:off x="5308319" y="3867016"/>
              <a:ext cx="24765" cy="57785"/>
            </a:xfrm>
            <a:custGeom>
              <a:avLst/>
              <a:gdLst/>
              <a:ahLst/>
              <a:cxnLst/>
              <a:rect l="l" t="t" r="r" b="b"/>
              <a:pathLst>
                <a:path w="24764" h="57785">
                  <a:moveTo>
                    <a:pt x="0" y="57308"/>
                  </a:moveTo>
                  <a:lnTo>
                    <a:pt x="24540" y="2946"/>
                  </a:lnTo>
                  <a:lnTo>
                    <a:pt x="18025" y="0"/>
                  </a:lnTo>
                </a:path>
              </a:pathLst>
            </a:custGeom>
            <a:ln w="7620">
              <a:solidFill>
                <a:srgbClr val="231F20"/>
              </a:solidFill>
            </a:ln>
          </p:spPr>
          <p:txBody>
            <a:bodyPr wrap="square" lIns="0" tIns="0" rIns="0" bIns="0" rtlCol="0"/>
            <a:lstStyle/>
            <a:p>
              <a:endParaRPr sz="649"/>
            </a:p>
          </p:txBody>
        </p:sp>
        <p:sp>
          <p:nvSpPr>
            <p:cNvPr id="72" name="object 72"/>
            <p:cNvSpPr/>
            <p:nvPr/>
          </p:nvSpPr>
          <p:spPr>
            <a:xfrm>
              <a:off x="5725562" y="3399759"/>
              <a:ext cx="13970" cy="412115"/>
            </a:xfrm>
            <a:custGeom>
              <a:avLst/>
              <a:gdLst/>
              <a:ahLst/>
              <a:cxnLst/>
              <a:rect l="l" t="t" r="r" b="b"/>
              <a:pathLst>
                <a:path w="13970" h="412114">
                  <a:moveTo>
                    <a:pt x="13709" y="0"/>
                  </a:moveTo>
                  <a:lnTo>
                    <a:pt x="3388" y="89618"/>
                  </a:lnTo>
                  <a:lnTo>
                    <a:pt x="0" y="228384"/>
                  </a:lnTo>
                  <a:lnTo>
                    <a:pt x="325" y="355919"/>
                  </a:lnTo>
                  <a:lnTo>
                    <a:pt x="1149" y="411848"/>
                  </a:lnTo>
                </a:path>
              </a:pathLst>
            </a:custGeom>
            <a:ln w="38100">
              <a:solidFill>
                <a:srgbClr val="231F20"/>
              </a:solidFill>
            </a:ln>
          </p:spPr>
          <p:txBody>
            <a:bodyPr wrap="square" lIns="0" tIns="0" rIns="0" bIns="0" rtlCol="0"/>
            <a:lstStyle/>
            <a:p>
              <a:endParaRPr sz="649"/>
            </a:p>
          </p:txBody>
        </p:sp>
        <p:sp>
          <p:nvSpPr>
            <p:cNvPr id="73" name="object 73"/>
            <p:cNvSpPr/>
            <p:nvPr/>
          </p:nvSpPr>
          <p:spPr>
            <a:xfrm>
              <a:off x="5470363" y="3303815"/>
              <a:ext cx="142875" cy="333375"/>
            </a:xfrm>
            <a:custGeom>
              <a:avLst/>
              <a:gdLst/>
              <a:ahLst/>
              <a:cxnLst/>
              <a:rect l="l" t="t" r="r" b="b"/>
              <a:pathLst>
                <a:path w="142875" h="333375">
                  <a:moveTo>
                    <a:pt x="142379" y="0"/>
                  </a:moveTo>
                  <a:lnTo>
                    <a:pt x="0" y="333133"/>
                  </a:lnTo>
                </a:path>
              </a:pathLst>
            </a:custGeom>
            <a:ln w="38100">
              <a:solidFill>
                <a:srgbClr val="231F20"/>
              </a:solidFill>
            </a:ln>
          </p:spPr>
          <p:txBody>
            <a:bodyPr wrap="square" lIns="0" tIns="0" rIns="0" bIns="0" rtlCol="0"/>
            <a:lstStyle/>
            <a:p>
              <a:endParaRPr sz="649"/>
            </a:p>
          </p:txBody>
        </p:sp>
        <p:sp>
          <p:nvSpPr>
            <p:cNvPr id="74" name="object 74"/>
            <p:cNvSpPr/>
            <p:nvPr/>
          </p:nvSpPr>
          <p:spPr>
            <a:xfrm>
              <a:off x="5550572" y="3006684"/>
              <a:ext cx="1278890" cy="828675"/>
            </a:xfrm>
            <a:custGeom>
              <a:avLst/>
              <a:gdLst/>
              <a:ahLst/>
              <a:cxnLst/>
              <a:rect l="l" t="t" r="r" b="b"/>
              <a:pathLst>
                <a:path w="1278890" h="828675">
                  <a:moveTo>
                    <a:pt x="445693" y="0"/>
                  </a:moveTo>
                  <a:lnTo>
                    <a:pt x="379053" y="3572"/>
                  </a:lnTo>
                  <a:lnTo>
                    <a:pt x="322606" y="7449"/>
                  </a:lnTo>
                  <a:lnTo>
                    <a:pt x="258779" y="12387"/>
                  </a:lnTo>
                  <a:lnTo>
                    <a:pt x="193602" y="18136"/>
                  </a:lnTo>
                  <a:lnTo>
                    <a:pt x="133102" y="24447"/>
                  </a:lnTo>
                  <a:lnTo>
                    <a:pt x="83310" y="31071"/>
                  </a:lnTo>
                  <a:lnTo>
                    <a:pt x="33532" y="45599"/>
                  </a:lnTo>
                  <a:lnTo>
                    <a:pt x="10833" y="92278"/>
                  </a:lnTo>
                  <a:lnTo>
                    <a:pt x="3554" y="161109"/>
                  </a:lnTo>
                  <a:lnTo>
                    <a:pt x="0" y="220891"/>
                  </a:lnTo>
                  <a:lnTo>
                    <a:pt x="120" y="230934"/>
                  </a:lnTo>
                  <a:lnTo>
                    <a:pt x="678599" y="809828"/>
                  </a:lnTo>
                  <a:lnTo>
                    <a:pt x="711503" y="828198"/>
                  </a:lnTo>
                  <a:lnTo>
                    <a:pt x="724788" y="827532"/>
                  </a:lnTo>
                  <a:lnTo>
                    <a:pt x="1001064" y="778465"/>
                  </a:lnTo>
                  <a:lnTo>
                    <a:pt x="1135168" y="754119"/>
                  </a:lnTo>
                  <a:lnTo>
                    <a:pt x="1179119" y="745692"/>
                  </a:lnTo>
                  <a:lnTo>
                    <a:pt x="1217139" y="733051"/>
                  </a:lnTo>
                  <a:lnTo>
                    <a:pt x="1246715" y="696388"/>
                  </a:lnTo>
                  <a:lnTo>
                    <a:pt x="1259936" y="649008"/>
                  </a:lnTo>
                  <a:lnTo>
                    <a:pt x="1270779" y="595436"/>
                  </a:lnTo>
                  <a:lnTo>
                    <a:pt x="1277467" y="550087"/>
                  </a:lnTo>
                  <a:lnTo>
                    <a:pt x="1278790" y="536903"/>
                  </a:lnTo>
                  <a:lnTo>
                    <a:pt x="1276623" y="523368"/>
                  </a:lnTo>
                  <a:lnTo>
                    <a:pt x="1242707" y="490296"/>
                  </a:lnTo>
                  <a:lnTo>
                    <a:pt x="494804" y="11455"/>
                  </a:lnTo>
                  <a:lnTo>
                    <a:pt x="456883" y="530"/>
                  </a:lnTo>
                  <a:lnTo>
                    <a:pt x="445693" y="0"/>
                  </a:lnTo>
                  <a:close/>
                </a:path>
              </a:pathLst>
            </a:custGeom>
            <a:solidFill>
              <a:srgbClr val="EDEDEE"/>
            </a:solidFill>
          </p:spPr>
          <p:txBody>
            <a:bodyPr wrap="square" lIns="0" tIns="0" rIns="0" bIns="0" rtlCol="0"/>
            <a:lstStyle/>
            <a:p>
              <a:endParaRPr sz="649"/>
            </a:p>
          </p:txBody>
        </p:sp>
        <p:sp>
          <p:nvSpPr>
            <p:cNvPr id="75" name="object 75"/>
            <p:cNvSpPr/>
            <p:nvPr/>
          </p:nvSpPr>
          <p:spPr>
            <a:xfrm>
              <a:off x="5550572" y="3006684"/>
              <a:ext cx="1278890" cy="828675"/>
            </a:xfrm>
            <a:custGeom>
              <a:avLst/>
              <a:gdLst/>
              <a:ahLst/>
              <a:cxnLst/>
              <a:rect l="l" t="t" r="r" b="b"/>
              <a:pathLst>
                <a:path w="1278890" h="828675">
                  <a:moveTo>
                    <a:pt x="1232890" y="723163"/>
                  </a:moveTo>
                  <a:lnTo>
                    <a:pt x="1198283" y="741349"/>
                  </a:lnTo>
                  <a:lnTo>
                    <a:pt x="1135168" y="754119"/>
                  </a:lnTo>
                  <a:lnTo>
                    <a:pt x="1073470" y="765440"/>
                  </a:lnTo>
                  <a:lnTo>
                    <a:pt x="1001064" y="778465"/>
                  </a:lnTo>
                  <a:lnTo>
                    <a:pt x="924989" y="792006"/>
                  </a:lnTo>
                  <a:lnTo>
                    <a:pt x="852285" y="804872"/>
                  </a:lnTo>
                  <a:lnTo>
                    <a:pt x="789990" y="815875"/>
                  </a:lnTo>
                  <a:lnTo>
                    <a:pt x="745145" y="823824"/>
                  </a:lnTo>
                  <a:lnTo>
                    <a:pt x="724788" y="827532"/>
                  </a:lnTo>
                  <a:lnTo>
                    <a:pt x="711503" y="828198"/>
                  </a:lnTo>
                  <a:lnTo>
                    <a:pt x="700008" y="824852"/>
                  </a:lnTo>
                  <a:lnTo>
                    <a:pt x="689355" y="818420"/>
                  </a:lnTo>
                  <a:lnTo>
                    <a:pt x="678599" y="809828"/>
                  </a:lnTo>
                  <a:lnTo>
                    <a:pt x="669863" y="802481"/>
                  </a:lnTo>
                  <a:lnTo>
                    <a:pt x="649884" y="785686"/>
                  </a:lnTo>
                  <a:lnTo>
                    <a:pt x="620155" y="760700"/>
                  </a:lnTo>
                  <a:lnTo>
                    <a:pt x="582172" y="728778"/>
                  </a:lnTo>
                  <a:lnTo>
                    <a:pt x="537428" y="691178"/>
                  </a:lnTo>
                  <a:lnTo>
                    <a:pt x="487419" y="649156"/>
                  </a:lnTo>
                  <a:lnTo>
                    <a:pt x="433638" y="603970"/>
                  </a:lnTo>
                  <a:lnTo>
                    <a:pt x="377581" y="556876"/>
                  </a:lnTo>
                  <a:lnTo>
                    <a:pt x="320741" y="509130"/>
                  </a:lnTo>
                  <a:lnTo>
                    <a:pt x="264614" y="461991"/>
                  </a:lnTo>
                  <a:lnTo>
                    <a:pt x="210694" y="416714"/>
                  </a:lnTo>
                  <a:lnTo>
                    <a:pt x="160475" y="374556"/>
                  </a:lnTo>
                  <a:lnTo>
                    <a:pt x="115452" y="336775"/>
                  </a:lnTo>
                  <a:lnTo>
                    <a:pt x="77119" y="304626"/>
                  </a:lnTo>
                  <a:lnTo>
                    <a:pt x="46971" y="279367"/>
                  </a:lnTo>
                  <a:lnTo>
                    <a:pt x="17208" y="254546"/>
                  </a:lnTo>
                  <a:lnTo>
                    <a:pt x="6843" y="245381"/>
                  </a:lnTo>
                  <a:lnTo>
                    <a:pt x="1774" y="238304"/>
                  </a:lnTo>
                  <a:lnTo>
                    <a:pt x="120" y="230934"/>
                  </a:lnTo>
                  <a:lnTo>
                    <a:pt x="0" y="220891"/>
                  </a:lnTo>
                  <a:lnTo>
                    <a:pt x="997" y="197927"/>
                  </a:lnTo>
                  <a:lnTo>
                    <a:pt x="7041" y="122028"/>
                  </a:lnTo>
                  <a:lnTo>
                    <a:pt x="15338" y="72927"/>
                  </a:lnTo>
                  <a:lnTo>
                    <a:pt x="50253" y="37757"/>
                  </a:lnTo>
                  <a:lnTo>
                    <a:pt x="133102" y="24447"/>
                  </a:lnTo>
                  <a:lnTo>
                    <a:pt x="193602" y="18136"/>
                  </a:lnTo>
                  <a:lnTo>
                    <a:pt x="258779" y="12387"/>
                  </a:lnTo>
                  <a:lnTo>
                    <a:pt x="322606" y="7449"/>
                  </a:lnTo>
                  <a:lnTo>
                    <a:pt x="379053" y="3572"/>
                  </a:lnTo>
                  <a:lnTo>
                    <a:pt x="422092" y="1006"/>
                  </a:lnTo>
                  <a:lnTo>
                    <a:pt x="445693" y="0"/>
                  </a:lnTo>
                  <a:lnTo>
                    <a:pt x="456883" y="530"/>
                  </a:lnTo>
                  <a:lnTo>
                    <a:pt x="470234" y="2493"/>
                  </a:lnTo>
                  <a:lnTo>
                    <a:pt x="483593" y="6073"/>
                  </a:lnTo>
                  <a:lnTo>
                    <a:pt x="494804" y="11455"/>
                  </a:lnTo>
                  <a:lnTo>
                    <a:pt x="505088" y="18153"/>
                  </a:lnTo>
                  <a:lnTo>
                    <a:pt x="527569" y="32644"/>
                  </a:lnTo>
                  <a:lnTo>
                    <a:pt x="560650" y="53906"/>
                  </a:lnTo>
                  <a:lnTo>
                    <a:pt x="602734" y="80918"/>
                  </a:lnTo>
                  <a:lnTo>
                    <a:pt x="652226" y="112657"/>
                  </a:lnTo>
                  <a:lnTo>
                    <a:pt x="707528" y="148101"/>
                  </a:lnTo>
                  <a:lnTo>
                    <a:pt x="767044" y="186229"/>
                  </a:lnTo>
                  <a:lnTo>
                    <a:pt x="829177" y="226019"/>
                  </a:lnTo>
                  <a:lnTo>
                    <a:pt x="892331" y="266449"/>
                  </a:lnTo>
                  <a:lnTo>
                    <a:pt x="954908" y="306496"/>
                  </a:lnTo>
                  <a:lnTo>
                    <a:pt x="1015313" y="345140"/>
                  </a:lnTo>
                  <a:lnTo>
                    <a:pt x="1071949" y="381358"/>
                  </a:lnTo>
                  <a:lnTo>
                    <a:pt x="1123219" y="414128"/>
                  </a:lnTo>
                  <a:lnTo>
                    <a:pt x="1167526" y="442429"/>
                  </a:lnTo>
                  <a:lnTo>
                    <a:pt x="1203275" y="465239"/>
                  </a:lnTo>
                  <a:lnTo>
                    <a:pt x="1242707" y="490296"/>
                  </a:lnTo>
                  <a:lnTo>
                    <a:pt x="1266187" y="508245"/>
                  </a:lnTo>
                  <a:lnTo>
                    <a:pt x="1276623" y="523368"/>
                  </a:lnTo>
                  <a:lnTo>
                    <a:pt x="1278790" y="536903"/>
                  </a:lnTo>
                  <a:lnTo>
                    <a:pt x="1277467" y="550087"/>
                  </a:lnTo>
                  <a:lnTo>
                    <a:pt x="1270779" y="595436"/>
                  </a:lnTo>
                  <a:lnTo>
                    <a:pt x="1259936" y="649008"/>
                  </a:lnTo>
                  <a:lnTo>
                    <a:pt x="1246715" y="696388"/>
                  </a:lnTo>
                  <a:lnTo>
                    <a:pt x="1232890" y="723163"/>
                  </a:lnTo>
                  <a:close/>
                </a:path>
              </a:pathLst>
            </a:custGeom>
            <a:ln w="25400">
              <a:solidFill>
                <a:srgbClr val="231F20"/>
              </a:solidFill>
            </a:ln>
          </p:spPr>
          <p:txBody>
            <a:bodyPr wrap="square" lIns="0" tIns="0" rIns="0" bIns="0" rtlCol="0"/>
            <a:lstStyle/>
            <a:p>
              <a:endParaRPr sz="649"/>
            </a:p>
          </p:txBody>
        </p:sp>
        <p:sp>
          <p:nvSpPr>
            <p:cNvPr id="76" name="object 76"/>
            <p:cNvSpPr/>
            <p:nvPr/>
          </p:nvSpPr>
          <p:spPr>
            <a:xfrm>
              <a:off x="6257579" y="3516503"/>
              <a:ext cx="572770" cy="316230"/>
            </a:xfrm>
            <a:custGeom>
              <a:avLst/>
              <a:gdLst/>
              <a:ahLst/>
              <a:cxnLst/>
              <a:rect l="l" t="t" r="r" b="b"/>
              <a:pathLst>
                <a:path w="572770" h="316229">
                  <a:moveTo>
                    <a:pt x="572541" y="21678"/>
                  </a:moveTo>
                  <a:lnTo>
                    <a:pt x="568585" y="8768"/>
                  </a:lnTo>
                  <a:lnTo>
                    <a:pt x="558226" y="2285"/>
                  </a:lnTo>
                  <a:lnTo>
                    <a:pt x="543789" y="79"/>
                  </a:lnTo>
                  <a:lnTo>
                    <a:pt x="527596" y="0"/>
                  </a:lnTo>
                  <a:lnTo>
                    <a:pt x="484466" y="2694"/>
                  </a:lnTo>
                  <a:lnTo>
                    <a:pt x="430885" y="8947"/>
                  </a:lnTo>
                  <a:lnTo>
                    <a:pt x="370631" y="17802"/>
                  </a:lnTo>
                  <a:lnTo>
                    <a:pt x="307483" y="28301"/>
                  </a:lnTo>
                  <a:lnTo>
                    <a:pt x="245219" y="39489"/>
                  </a:lnTo>
                  <a:lnTo>
                    <a:pt x="187618" y="50409"/>
                  </a:lnTo>
                  <a:lnTo>
                    <a:pt x="138458" y="60105"/>
                  </a:lnTo>
                  <a:lnTo>
                    <a:pt x="80581" y="71996"/>
                  </a:lnTo>
                  <a:lnTo>
                    <a:pt x="41356" y="99619"/>
                  </a:lnTo>
                  <a:lnTo>
                    <a:pt x="28562" y="155084"/>
                  </a:lnTo>
                  <a:lnTo>
                    <a:pt x="16203" y="223227"/>
                  </a:lnTo>
                  <a:lnTo>
                    <a:pt x="4928" y="287284"/>
                  </a:lnTo>
                  <a:lnTo>
                    <a:pt x="0" y="315658"/>
                  </a:lnTo>
                </a:path>
              </a:pathLst>
            </a:custGeom>
            <a:ln w="7620">
              <a:solidFill>
                <a:srgbClr val="231F20"/>
              </a:solidFill>
            </a:ln>
          </p:spPr>
          <p:txBody>
            <a:bodyPr wrap="square" lIns="0" tIns="0" rIns="0" bIns="0" rtlCol="0"/>
            <a:lstStyle/>
            <a:p>
              <a:endParaRPr sz="649"/>
            </a:p>
          </p:txBody>
        </p:sp>
        <p:pic>
          <p:nvPicPr>
            <p:cNvPr id="77" name="object 77"/>
            <p:cNvPicPr/>
            <p:nvPr/>
          </p:nvPicPr>
          <p:blipFill>
            <a:blip r:embed="rId20" cstate="print"/>
            <a:stretch>
              <a:fillRect/>
            </a:stretch>
          </p:blipFill>
          <p:spPr>
            <a:xfrm>
              <a:off x="5827682" y="3056966"/>
              <a:ext cx="125175" cy="79082"/>
            </a:xfrm>
            <a:prstGeom prst="rect">
              <a:avLst/>
            </a:prstGeom>
          </p:spPr>
        </p:pic>
        <p:sp>
          <p:nvSpPr>
            <p:cNvPr id="78" name="object 78"/>
            <p:cNvSpPr/>
            <p:nvPr/>
          </p:nvSpPr>
          <p:spPr>
            <a:xfrm>
              <a:off x="3925444" y="3382424"/>
              <a:ext cx="182880" cy="40640"/>
            </a:xfrm>
            <a:custGeom>
              <a:avLst/>
              <a:gdLst/>
              <a:ahLst/>
              <a:cxnLst/>
              <a:rect l="l" t="t" r="r" b="b"/>
              <a:pathLst>
                <a:path w="182879" h="40639">
                  <a:moveTo>
                    <a:pt x="5033" y="4238"/>
                  </a:moveTo>
                  <a:lnTo>
                    <a:pt x="33241" y="816"/>
                  </a:lnTo>
                  <a:lnTo>
                    <a:pt x="90816" y="0"/>
                  </a:lnTo>
                  <a:lnTo>
                    <a:pt x="148191" y="1302"/>
                  </a:lnTo>
                  <a:lnTo>
                    <a:pt x="175798" y="4238"/>
                  </a:lnTo>
                  <a:lnTo>
                    <a:pt x="178960" y="10387"/>
                  </a:lnTo>
                  <a:lnTo>
                    <a:pt x="181673" y="19592"/>
                  </a:lnTo>
                  <a:lnTo>
                    <a:pt x="182407" y="28798"/>
                  </a:lnTo>
                  <a:lnTo>
                    <a:pt x="179633" y="34947"/>
                  </a:lnTo>
                  <a:lnTo>
                    <a:pt x="150602" y="37990"/>
                  </a:lnTo>
                  <a:lnTo>
                    <a:pt x="92695" y="39862"/>
                  </a:lnTo>
                  <a:lnTo>
                    <a:pt x="34608" y="40476"/>
                  </a:lnTo>
                  <a:lnTo>
                    <a:pt x="5033" y="39747"/>
                  </a:lnTo>
                  <a:lnTo>
                    <a:pt x="988" y="34469"/>
                  </a:lnTo>
                  <a:lnTo>
                    <a:pt x="0" y="24150"/>
                  </a:lnTo>
                  <a:lnTo>
                    <a:pt x="1528" y="12753"/>
                  </a:lnTo>
                  <a:lnTo>
                    <a:pt x="5033" y="4238"/>
                  </a:lnTo>
                  <a:close/>
                </a:path>
              </a:pathLst>
            </a:custGeom>
            <a:ln w="7619">
              <a:solidFill>
                <a:srgbClr val="231F20"/>
              </a:solidFill>
            </a:ln>
          </p:spPr>
          <p:txBody>
            <a:bodyPr wrap="square" lIns="0" tIns="0" rIns="0" bIns="0" rtlCol="0"/>
            <a:lstStyle/>
            <a:p>
              <a:endParaRPr sz="649"/>
            </a:p>
          </p:txBody>
        </p:sp>
        <p:sp>
          <p:nvSpPr>
            <p:cNvPr id="79" name="object 79"/>
            <p:cNvSpPr/>
            <p:nvPr/>
          </p:nvSpPr>
          <p:spPr>
            <a:xfrm>
              <a:off x="3019668" y="3483625"/>
              <a:ext cx="177800" cy="50800"/>
            </a:xfrm>
            <a:custGeom>
              <a:avLst/>
              <a:gdLst/>
              <a:ahLst/>
              <a:cxnLst/>
              <a:rect l="l" t="t" r="r" b="b"/>
              <a:pathLst>
                <a:path w="177800" h="50800">
                  <a:moveTo>
                    <a:pt x="177787" y="16878"/>
                  </a:moveTo>
                  <a:lnTo>
                    <a:pt x="166853" y="12874"/>
                  </a:lnTo>
                  <a:lnTo>
                    <a:pt x="137858" y="7472"/>
                  </a:lnTo>
                  <a:lnTo>
                    <a:pt x="107224" y="2553"/>
                  </a:lnTo>
                  <a:lnTo>
                    <a:pt x="91376" y="0"/>
                  </a:lnTo>
                  <a:lnTo>
                    <a:pt x="75561" y="3384"/>
                  </a:lnTo>
                  <a:lnTo>
                    <a:pt x="44569" y="12166"/>
                  </a:lnTo>
                  <a:lnTo>
                    <a:pt x="14136" y="22063"/>
                  </a:lnTo>
                  <a:lnTo>
                    <a:pt x="0" y="28790"/>
                  </a:lnTo>
                  <a:lnTo>
                    <a:pt x="10570" y="34306"/>
                  </a:lnTo>
                  <a:lnTo>
                    <a:pt x="35386" y="41586"/>
                  </a:lnTo>
                  <a:lnTo>
                    <a:pt x="61877" y="47932"/>
                  </a:lnTo>
                  <a:lnTo>
                    <a:pt x="77469" y="50647"/>
                  </a:lnTo>
                  <a:lnTo>
                    <a:pt x="95939" y="45790"/>
                  </a:lnTo>
                  <a:lnTo>
                    <a:pt x="129119" y="34882"/>
                  </a:lnTo>
                  <a:lnTo>
                    <a:pt x="161553" y="23413"/>
                  </a:lnTo>
                  <a:lnTo>
                    <a:pt x="177787" y="16878"/>
                  </a:lnTo>
                  <a:close/>
                </a:path>
              </a:pathLst>
            </a:custGeom>
            <a:ln w="7620">
              <a:solidFill>
                <a:srgbClr val="231F20"/>
              </a:solidFill>
            </a:ln>
          </p:spPr>
          <p:txBody>
            <a:bodyPr wrap="square" lIns="0" tIns="0" rIns="0" bIns="0" rtlCol="0"/>
            <a:lstStyle/>
            <a:p>
              <a:endParaRPr sz="649"/>
            </a:p>
          </p:txBody>
        </p:sp>
        <p:sp>
          <p:nvSpPr>
            <p:cNvPr id="80" name="object 80"/>
            <p:cNvSpPr/>
            <p:nvPr/>
          </p:nvSpPr>
          <p:spPr>
            <a:xfrm>
              <a:off x="2839896" y="3679040"/>
              <a:ext cx="117475" cy="39370"/>
            </a:xfrm>
            <a:custGeom>
              <a:avLst/>
              <a:gdLst/>
              <a:ahLst/>
              <a:cxnLst/>
              <a:rect l="l" t="t" r="r" b="b"/>
              <a:pathLst>
                <a:path w="117475" h="39370">
                  <a:moveTo>
                    <a:pt x="0" y="7200"/>
                  </a:moveTo>
                  <a:lnTo>
                    <a:pt x="16917" y="3117"/>
                  </a:lnTo>
                  <a:lnTo>
                    <a:pt x="48118" y="673"/>
                  </a:lnTo>
                  <a:lnTo>
                    <a:pt x="78850" y="0"/>
                  </a:lnTo>
                  <a:lnTo>
                    <a:pt x="94361" y="1231"/>
                  </a:lnTo>
                  <a:lnTo>
                    <a:pt x="100166" y="7354"/>
                  </a:lnTo>
                  <a:lnTo>
                    <a:pt x="108765" y="18126"/>
                  </a:lnTo>
                  <a:lnTo>
                    <a:pt x="115874" y="28892"/>
                  </a:lnTo>
                  <a:lnTo>
                    <a:pt x="117208" y="35001"/>
                  </a:lnTo>
                  <a:lnTo>
                    <a:pt x="102416" y="36888"/>
                  </a:lnTo>
                  <a:lnTo>
                    <a:pt x="73377" y="38119"/>
                  </a:lnTo>
                  <a:lnTo>
                    <a:pt x="44152" y="38787"/>
                  </a:lnTo>
                  <a:lnTo>
                    <a:pt x="28803" y="38989"/>
                  </a:lnTo>
                  <a:lnTo>
                    <a:pt x="21650" y="34579"/>
                  </a:lnTo>
                  <a:lnTo>
                    <a:pt x="11053" y="24580"/>
                  </a:lnTo>
                  <a:lnTo>
                    <a:pt x="2130" y="13839"/>
                  </a:lnTo>
                  <a:lnTo>
                    <a:pt x="0" y="7200"/>
                  </a:lnTo>
                  <a:close/>
                </a:path>
              </a:pathLst>
            </a:custGeom>
            <a:ln w="7620">
              <a:solidFill>
                <a:srgbClr val="231F20"/>
              </a:solidFill>
            </a:ln>
          </p:spPr>
          <p:txBody>
            <a:bodyPr wrap="square" lIns="0" tIns="0" rIns="0" bIns="0" rtlCol="0"/>
            <a:lstStyle/>
            <a:p>
              <a:endParaRPr sz="649"/>
            </a:p>
          </p:txBody>
        </p:sp>
        <p:sp>
          <p:nvSpPr>
            <p:cNvPr id="81" name="object 81"/>
            <p:cNvSpPr/>
            <p:nvPr/>
          </p:nvSpPr>
          <p:spPr>
            <a:xfrm>
              <a:off x="3295778" y="3832241"/>
              <a:ext cx="131445" cy="33020"/>
            </a:xfrm>
            <a:custGeom>
              <a:avLst/>
              <a:gdLst/>
              <a:ahLst/>
              <a:cxnLst/>
              <a:rect l="l" t="t" r="r" b="b"/>
              <a:pathLst>
                <a:path w="131445" h="33020">
                  <a:moveTo>
                    <a:pt x="22847" y="0"/>
                  </a:moveTo>
                  <a:lnTo>
                    <a:pt x="43635" y="386"/>
                  </a:lnTo>
                  <a:lnTo>
                    <a:pt x="79922" y="4729"/>
                  </a:lnTo>
                  <a:lnTo>
                    <a:pt x="114735" y="10431"/>
                  </a:lnTo>
                  <a:lnTo>
                    <a:pt x="131102" y="14897"/>
                  </a:lnTo>
                  <a:lnTo>
                    <a:pt x="128777" y="19228"/>
                  </a:lnTo>
                  <a:lnTo>
                    <a:pt x="121421" y="24957"/>
                  </a:lnTo>
                  <a:lnTo>
                    <a:pt x="112946" y="30125"/>
                  </a:lnTo>
                  <a:lnTo>
                    <a:pt x="107264" y="32778"/>
                  </a:lnTo>
                  <a:lnTo>
                    <a:pt x="88553" y="31861"/>
                  </a:lnTo>
                  <a:lnTo>
                    <a:pt x="51403" y="28430"/>
                  </a:lnTo>
                  <a:lnTo>
                    <a:pt x="15366" y="23697"/>
                  </a:lnTo>
                  <a:lnTo>
                    <a:pt x="0" y="18872"/>
                  </a:lnTo>
                  <a:lnTo>
                    <a:pt x="3153" y="13828"/>
                  </a:lnTo>
                  <a:lnTo>
                    <a:pt x="8818" y="8316"/>
                  </a:lnTo>
                  <a:lnTo>
                    <a:pt x="15785" y="3364"/>
                  </a:lnTo>
                  <a:lnTo>
                    <a:pt x="22847" y="0"/>
                  </a:lnTo>
                  <a:close/>
                </a:path>
              </a:pathLst>
            </a:custGeom>
            <a:ln w="7619">
              <a:solidFill>
                <a:srgbClr val="231F20"/>
              </a:solidFill>
            </a:ln>
          </p:spPr>
          <p:txBody>
            <a:bodyPr wrap="square" lIns="0" tIns="0" rIns="0" bIns="0" rtlCol="0"/>
            <a:lstStyle/>
            <a:p>
              <a:endParaRPr sz="649"/>
            </a:p>
          </p:txBody>
        </p:sp>
        <p:sp>
          <p:nvSpPr>
            <p:cNvPr id="82" name="object 82"/>
            <p:cNvSpPr/>
            <p:nvPr/>
          </p:nvSpPr>
          <p:spPr>
            <a:xfrm>
              <a:off x="4040703" y="3881511"/>
              <a:ext cx="135255" cy="24130"/>
            </a:xfrm>
            <a:custGeom>
              <a:avLst/>
              <a:gdLst/>
              <a:ahLst/>
              <a:cxnLst/>
              <a:rect l="l" t="t" r="r" b="b"/>
              <a:pathLst>
                <a:path w="135254" h="24129">
                  <a:moveTo>
                    <a:pt x="2971" y="23234"/>
                  </a:moveTo>
                  <a:lnTo>
                    <a:pt x="2971" y="18268"/>
                  </a:lnTo>
                  <a:lnTo>
                    <a:pt x="0" y="4374"/>
                  </a:lnTo>
                  <a:lnTo>
                    <a:pt x="3962" y="2368"/>
                  </a:lnTo>
                  <a:lnTo>
                    <a:pt x="24773" y="959"/>
                  </a:lnTo>
                  <a:lnTo>
                    <a:pt x="66908" y="15"/>
                  </a:lnTo>
                  <a:lnTo>
                    <a:pt x="108859" y="0"/>
                  </a:lnTo>
                  <a:lnTo>
                    <a:pt x="129120" y="1377"/>
                  </a:lnTo>
                  <a:lnTo>
                    <a:pt x="132092" y="4374"/>
                  </a:lnTo>
                  <a:lnTo>
                    <a:pt x="135064" y="19271"/>
                  </a:lnTo>
                  <a:lnTo>
                    <a:pt x="131102" y="21253"/>
                  </a:lnTo>
                  <a:lnTo>
                    <a:pt x="109399" y="22537"/>
                  </a:lnTo>
                  <a:lnTo>
                    <a:pt x="65541" y="23358"/>
                  </a:lnTo>
                  <a:lnTo>
                    <a:pt x="22431" y="23621"/>
                  </a:lnTo>
                  <a:lnTo>
                    <a:pt x="2971" y="23234"/>
                  </a:lnTo>
                  <a:close/>
                </a:path>
              </a:pathLst>
            </a:custGeom>
            <a:ln w="7620">
              <a:solidFill>
                <a:srgbClr val="231F20"/>
              </a:solidFill>
            </a:ln>
          </p:spPr>
          <p:txBody>
            <a:bodyPr wrap="square" lIns="0" tIns="0" rIns="0" bIns="0" rtlCol="0"/>
            <a:lstStyle/>
            <a:p>
              <a:endParaRPr sz="649"/>
            </a:p>
          </p:txBody>
        </p:sp>
        <p:sp>
          <p:nvSpPr>
            <p:cNvPr id="83" name="object 83"/>
            <p:cNvSpPr/>
            <p:nvPr/>
          </p:nvSpPr>
          <p:spPr>
            <a:xfrm>
              <a:off x="4765816" y="3813373"/>
              <a:ext cx="115570" cy="43815"/>
            </a:xfrm>
            <a:custGeom>
              <a:avLst/>
              <a:gdLst/>
              <a:ahLst/>
              <a:cxnLst/>
              <a:rect l="l" t="t" r="r" b="b"/>
              <a:pathLst>
                <a:path w="115570" h="43814">
                  <a:moveTo>
                    <a:pt x="1905" y="20853"/>
                  </a:moveTo>
                  <a:lnTo>
                    <a:pt x="19604" y="15455"/>
                  </a:lnTo>
                  <a:lnTo>
                    <a:pt x="53341" y="7778"/>
                  </a:lnTo>
                  <a:lnTo>
                    <a:pt x="86939" y="1425"/>
                  </a:lnTo>
                  <a:lnTo>
                    <a:pt x="104216" y="0"/>
                  </a:lnTo>
                  <a:lnTo>
                    <a:pt x="108540" y="4099"/>
                  </a:lnTo>
                  <a:lnTo>
                    <a:pt x="112777" y="10431"/>
                  </a:lnTo>
                  <a:lnTo>
                    <a:pt x="114969" y="16761"/>
                  </a:lnTo>
                  <a:lnTo>
                    <a:pt x="113157" y="20853"/>
                  </a:lnTo>
                  <a:lnTo>
                    <a:pt x="95956" y="25682"/>
                  </a:lnTo>
                  <a:lnTo>
                    <a:pt x="63487" y="33396"/>
                  </a:lnTo>
                  <a:lnTo>
                    <a:pt x="31018" y="40550"/>
                  </a:lnTo>
                  <a:lnTo>
                    <a:pt x="13817" y="43700"/>
                  </a:lnTo>
                  <a:lnTo>
                    <a:pt x="8472" y="40830"/>
                  </a:lnTo>
                  <a:lnTo>
                    <a:pt x="3027" y="34143"/>
                  </a:lnTo>
                  <a:lnTo>
                    <a:pt x="0" y="26523"/>
                  </a:lnTo>
                  <a:lnTo>
                    <a:pt x="1905" y="20853"/>
                  </a:lnTo>
                  <a:close/>
                </a:path>
              </a:pathLst>
            </a:custGeom>
            <a:ln w="7620">
              <a:solidFill>
                <a:srgbClr val="231F20"/>
              </a:solidFill>
            </a:ln>
          </p:spPr>
          <p:txBody>
            <a:bodyPr wrap="square" lIns="0" tIns="0" rIns="0" bIns="0" rtlCol="0"/>
            <a:lstStyle/>
            <a:p>
              <a:endParaRPr sz="649"/>
            </a:p>
          </p:txBody>
        </p:sp>
        <p:sp>
          <p:nvSpPr>
            <p:cNvPr id="84" name="object 84"/>
            <p:cNvSpPr/>
            <p:nvPr/>
          </p:nvSpPr>
          <p:spPr>
            <a:xfrm>
              <a:off x="5181634" y="3653390"/>
              <a:ext cx="107950" cy="43180"/>
            </a:xfrm>
            <a:custGeom>
              <a:avLst/>
              <a:gdLst/>
              <a:ahLst/>
              <a:cxnLst/>
              <a:rect l="l" t="t" r="r" b="b"/>
              <a:pathLst>
                <a:path w="107950" h="43179">
                  <a:moveTo>
                    <a:pt x="10199" y="5045"/>
                  </a:moveTo>
                  <a:lnTo>
                    <a:pt x="29088" y="1575"/>
                  </a:lnTo>
                  <a:lnTo>
                    <a:pt x="61394" y="0"/>
                  </a:lnTo>
                  <a:lnTo>
                    <a:pt x="92436" y="448"/>
                  </a:lnTo>
                  <a:lnTo>
                    <a:pt x="107532" y="3051"/>
                  </a:lnTo>
                  <a:lnTo>
                    <a:pt x="106241" y="10778"/>
                  </a:lnTo>
                  <a:lnTo>
                    <a:pt x="100205" y="23163"/>
                  </a:lnTo>
                  <a:lnTo>
                    <a:pt x="92867" y="35178"/>
                  </a:lnTo>
                  <a:lnTo>
                    <a:pt x="87669" y="41798"/>
                  </a:lnTo>
                  <a:lnTo>
                    <a:pt x="73779" y="43160"/>
                  </a:lnTo>
                  <a:lnTo>
                    <a:pt x="46573" y="43035"/>
                  </a:lnTo>
                  <a:lnTo>
                    <a:pt x="18809" y="41793"/>
                  </a:lnTo>
                  <a:lnTo>
                    <a:pt x="3239" y="39804"/>
                  </a:lnTo>
                  <a:lnTo>
                    <a:pt x="0" y="33952"/>
                  </a:lnTo>
                  <a:lnTo>
                    <a:pt x="390" y="23539"/>
                  </a:lnTo>
                  <a:lnTo>
                    <a:pt x="3945" y="12569"/>
                  </a:lnTo>
                  <a:lnTo>
                    <a:pt x="10199" y="5045"/>
                  </a:lnTo>
                  <a:close/>
                </a:path>
              </a:pathLst>
            </a:custGeom>
            <a:ln w="7620">
              <a:solidFill>
                <a:srgbClr val="231F20"/>
              </a:solidFill>
            </a:ln>
          </p:spPr>
          <p:txBody>
            <a:bodyPr wrap="square" lIns="0" tIns="0" rIns="0" bIns="0" rtlCol="0"/>
            <a:lstStyle/>
            <a:p>
              <a:endParaRPr sz="649"/>
            </a:p>
          </p:txBody>
        </p:sp>
        <p:sp>
          <p:nvSpPr>
            <p:cNvPr id="85" name="object 85"/>
            <p:cNvSpPr/>
            <p:nvPr/>
          </p:nvSpPr>
          <p:spPr>
            <a:xfrm>
              <a:off x="4865069" y="3462761"/>
              <a:ext cx="179070" cy="53975"/>
            </a:xfrm>
            <a:custGeom>
              <a:avLst/>
              <a:gdLst/>
              <a:ahLst/>
              <a:cxnLst/>
              <a:rect l="l" t="t" r="r" b="b"/>
              <a:pathLst>
                <a:path w="179070" h="53975">
                  <a:moveTo>
                    <a:pt x="0" y="22847"/>
                  </a:moveTo>
                  <a:lnTo>
                    <a:pt x="11731" y="15392"/>
                  </a:lnTo>
                  <a:lnTo>
                    <a:pt x="37987" y="7723"/>
                  </a:lnTo>
                  <a:lnTo>
                    <a:pt x="65359" y="1903"/>
                  </a:lnTo>
                  <a:lnTo>
                    <a:pt x="80441" y="0"/>
                  </a:lnTo>
                  <a:lnTo>
                    <a:pt x="98464" y="3910"/>
                  </a:lnTo>
                  <a:lnTo>
                    <a:pt x="132218" y="11920"/>
                  </a:lnTo>
                  <a:lnTo>
                    <a:pt x="164664" y="20675"/>
                  </a:lnTo>
                  <a:lnTo>
                    <a:pt x="178765" y="26822"/>
                  </a:lnTo>
                  <a:lnTo>
                    <a:pt x="167095" y="32829"/>
                  </a:lnTo>
                  <a:lnTo>
                    <a:pt x="142017" y="41352"/>
                  </a:lnTo>
                  <a:lnTo>
                    <a:pt x="116196" y="49316"/>
                  </a:lnTo>
                  <a:lnTo>
                    <a:pt x="102298" y="53644"/>
                  </a:lnTo>
                  <a:lnTo>
                    <a:pt x="84219" y="50647"/>
                  </a:lnTo>
                  <a:lnTo>
                    <a:pt x="49287" y="41598"/>
                  </a:lnTo>
                  <a:lnTo>
                    <a:pt x="15285" y="30874"/>
                  </a:lnTo>
                  <a:lnTo>
                    <a:pt x="0" y="22847"/>
                  </a:lnTo>
                  <a:close/>
                </a:path>
              </a:pathLst>
            </a:custGeom>
            <a:ln w="7620">
              <a:solidFill>
                <a:srgbClr val="231F20"/>
              </a:solidFill>
            </a:ln>
          </p:spPr>
          <p:txBody>
            <a:bodyPr wrap="square" lIns="0" tIns="0" rIns="0" bIns="0" rtlCol="0"/>
            <a:lstStyle/>
            <a:p>
              <a:endParaRPr sz="649"/>
            </a:p>
          </p:txBody>
        </p:sp>
      </p:grpSp>
      <p:grpSp>
        <p:nvGrpSpPr>
          <p:cNvPr id="86" name="object 86"/>
          <p:cNvGrpSpPr/>
          <p:nvPr/>
        </p:nvGrpSpPr>
        <p:grpSpPr>
          <a:xfrm>
            <a:off x="5052060" y="3677883"/>
            <a:ext cx="138710" cy="138710"/>
            <a:chOff x="4775994" y="7644005"/>
            <a:chExt cx="288290" cy="288290"/>
          </a:xfrm>
        </p:grpSpPr>
        <p:sp>
          <p:nvSpPr>
            <p:cNvPr id="87" name="object 87"/>
            <p:cNvSpPr/>
            <p:nvPr/>
          </p:nvSpPr>
          <p:spPr>
            <a:xfrm>
              <a:off x="4782344" y="7650355"/>
              <a:ext cx="275590" cy="275590"/>
            </a:xfrm>
            <a:custGeom>
              <a:avLst/>
              <a:gdLst/>
              <a:ahLst/>
              <a:cxnLst/>
              <a:rect l="l" t="t" r="r" b="b"/>
              <a:pathLst>
                <a:path w="275589" h="275590">
                  <a:moveTo>
                    <a:pt x="137655" y="0"/>
                  </a:moveTo>
                  <a:lnTo>
                    <a:pt x="94146" y="7016"/>
                  </a:lnTo>
                  <a:lnTo>
                    <a:pt x="56359" y="26555"/>
                  </a:lnTo>
                  <a:lnTo>
                    <a:pt x="26560" y="56350"/>
                  </a:lnTo>
                  <a:lnTo>
                    <a:pt x="7018" y="94135"/>
                  </a:lnTo>
                  <a:lnTo>
                    <a:pt x="0" y="137642"/>
                  </a:lnTo>
                  <a:lnTo>
                    <a:pt x="7018" y="181151"/>
                  </a:lnTo>
                  <a:lnTo>
                    <a:pt x="26560" y="218938"/>
                  </a:lnTo>
                  <a:lnTo>
                    <a:pt x="56359" y="248737"/>
                  </a:lnTo>
                  <a:lnTo>
                    <a:pt x="94146" y="268279"/>
                  </a:lnTo>
                  <a:lnTo>
                    <a:pt x="137655" y="275297"/>
                  </a:lnTo>
                  <a:lnTo>
                    <a:pt x="181163" y="268279"/>
                  </a:lnTo>
                  <a:lnTo>
                    <a:pt x="218951" y="248737"/>
                  </a:lnTo>
                  <a:lnTo>
                    <a:pt x="248750" y="218938"/>
                  </a:lnTo>
                  <a:lnTo>
                    <a:pt x="268292" y="181151"/>
                  </a:lnTo>
                  <a:lnTo>
                    <a:pt x="275310" y="137642"/>
                  </a:lnTo>
                  <a:lnTo>
                    <a:pt x="268292" y="94135"/>
                  </a:lnTo>
                  <a:lnTo>
                    <a:pt x="248750" y="56350"/>
                  </a:lnTo>
                  <a:lnTo>
                    <a:pt x="218951" y="26555"/>
                  </a:lnTo>
                  <a:lnTo>
                    <a:pt x="181163" y="7016"/>
                  </a:lnTo>
                  <a:lnTo>
                    <a:pt x="137655" y="0"/>
                  </a:lnTo>
                  <a:close/>
                </a:path>
              </a:pathLst>
            </a:custGeom>
            <a:solidFill>
              <a:srgbClr val="FFFFFF"/>
            </a:solidFill>
          </p:spPr>
          <p:txBody>
            <a:bodyPr wrap="square" lIns="0" tIns="0" rIns="0" bIns="0" rtlCol="0"/>
            <a:lstStyle/>
            <a:p>
              <a:endParaRPr sz="649"/>
            </a:p>
          </p:txBody>
        </p:sp>
        <p:sp>
          <p:nvSpPr>
            <p:cNvPr id="88" name="object 88"/>
            <p:cNvSpPr/>
            <p:nvPr/>
          </p:nvSpPr>
          <p:spPr>
            <a:xfrm>
              <a:off x="4782344" y="7650355"/>
              <a:ext cx="275590" cy="275590"/>
            </a:xfrm>
            <a:custGeom>
              <a:avLst/>
              <a:gdLst/>
              <a:ahLst/>
              <a:cxnLst/>
              <a:rect l="l" t="t" r="r" b="b"/>
              <a:pathLst>
                <a:path w="275589" h="275590">
                  <a:moveTo>
                    <a:pt x="137655" y="275297"/>
                  </a:moveTo>
                  <a:lnTo>
                    <a:pt x="181163" y="268279"/>
                  </a:lnTo>
                  <a:lnTo>
                    <a:pt x="218951" y="248737"/>
                  </a:lnTo>
                  <a:lnTo>
                    <a:pt x="248750" y="218938"/>
                  </a:lnTo>
                  <a:lnTo>
                    <a:pt x="268292" y="181151"/>
                  </a:lnTo>
                  <a:lnTo>
                    <a:pt x="275310" y="137642"/>
                  </a:lnTo>
                  <a:lnTo>
                    <a:pt x="268292" y="94135"/>
                  </a:lnTo>
                  <a:lnTo>
                    <a:pt x="248750" y="56350"/>
                  </a:lnTo>
                  <a:lnTo>
                    <a:pt x="218951" y="26555"/>
                  </a:lnTo>
                  <a:lnTo>
                    <a:pt x="181163" y="7016"/>
                  </a:lnTo>
                  <a:lnTo>
                    <a:pt x="137655" y="0"/>
                  </a:lnTo>
                  <a:lnTo>
                    <a:pt x="94146" y="7016"/>
                  </a:lnTo>
                  <a:lnTo>
                    <a:pt x="56359" y="26555"/>
                  </a:lnTo>
                  <a:lnTo>
                    <a:pt x="26560" y="56350"/>
                  </a:lnTo>
                  <a:lnTo>
                    <a:pt x="7018" y="94135"/>
                  </a:lnTo>
                  <a:lnTo>
                    <a:pt x="0" y="137642"/>
                  </a:lnTo>
                  <a:lnTo>
                    <a:pt x="7018" y="181151"/>
                  </a:lnTo>
                  <a:lnTo>
                    <a:pt x="26560" y="218938"/>
                  </a:lnTo>
                  <a:lnTo>
                    <a:pt x="56359" y="248737"/>
                  </a:lnTo>
                  <a:lnTo>
                    <a:pt x="94146" y="268279"/>
                  </a:lnTo>
                  <a:lnTo>
                    <a:pt x="137655" y="275297"/>
                  </a:lnTo>
                  <a:close/>
                </a:path>
              </a:pathLst>
            </a:custGeom>
            <a:ln w="12700">
              <a:solidFill>
                <a:srgbClr val="231F20"/>
              </a:solidFill>
            </a:ln>
          </p:spPr>
          <p:txBody>
            <a:bodyPr wrap="square" lIns="0" tIns="0" rIns="0" bIns="0" rtlCol="0"/>
            <a:lstStyle/>
            <a:p>
              <a:endParaRPr sz="649"/>
            </a:p>
          </p:txBody>
        </p:sp>
      </p:grpSp>
      <p:sp>
        <p:nvSpPr>
          <p:cNvPr id="89" name="object 89"/>
          <p:cNvSpPr txBox="1"/>
          <p:nvPr/>
        </p:nvSpPr>
        <p:spPr>
          <a:xfrm>
            <a:off x="5083342" y="3671007"/>
            <a:ext cx="76076" cy="139412"/>
          </a:xfrm>
          <a:prstGeom prst="rect">
            <a:avLst/>
          </a:prstGeom>
        </p:spPr>
        <p:txBody>
          <a:bodyPr vert="horz" wrap="square" lIns="0" tIns="6111" rIns="0" bIns="0" rtlCol="0">
            <a:spAutoFit/>
          </a:bodyPr>
          <a:lstStyle/>
          <a:p>
            <a:pPr marL="6110">
              <a:spcBef>
                <a:spcPts val="48"/>
              </a:spcBef>
            </a:pPr>
            <a:r>
              <a:rPr sz="866" b="1" spc="-51" dirty="0">
                <a:solidFill>
                  <a:srgbClr val="231F20"/>
                </a:solidFill>
                <a:latin typeface="Tahoma"/>
                <a:cs typeface="Tahoma"/>
              </a:rPr>
              <a:t>3</a:t>
            </a:r>
            <a:endParaRPr sz="866">
              <a:latin typeface="Tahoma"/>
              <a:cs typeface="Tahoma"/>
            </a:endParaRPr>
          </a:p>
        </p:txBody>
      </p:sp>
      <p:grpSp>
        <p:nvGrpSpPr>
          <p:cNvPr id="90" name="object 90"/>
          <p:cNvGrpSpPr/>
          <p:nvPr/>
        </p:nvGrpSpPr>
        <p:grpSpPr>
          <a:xfrm>
            <a:off x="5306779" y="4095916"/>
            <a:ext cx="455542" cy="443321"/>
            <a:chOff x="5305393" y="8512832"/>
            <a:chExt cx="946785" cy="921385"/>
          </a:xfrm>
        </p:grpSpPr>
        <p:sp>
          <p:nvSpPr>
            <p:cNvPr id="91" name="object 91"/>
            <p:cNvSpPr/>
            <p:nvPr/>
          </p:nvSpPr>
          <p:spPr>
            <a:xfrm>
              <a:off x="5305393" y="8512832"/>
              <a:ext cx="946785" cy="827405"/>
            </a:xfrm>
            <a:custGeom>
              <a:avLst/>
              <a:gdLst/>
              <a:ahLst/>
              <a:cxnLst/>
              <a:rect l="l" t="t" r="r" b="b"/>
              <a:pathLst>
                <a:path w="946785" h="827404">
                  <a:moveTo>
                    <a:pt x="473394" y="0"/>
                  </a:moveTo>
                  <a:lnTo>
                    <a:pt x="4181" y="780348"/>
                  </a:lnTo>
                  <a:lnTo>
                    <a:pt x="0" y="795953"/>
                  </a:lnTo>
                  <a:lnTo>
                    <a:pt x="1045" y="803958"/>
                  </a:lnTo>
                  <a:lnTo>
                    <a:pt x="31207" y="827147"/>
                  </a:lnTo>
                  <a:lnTo>
                    <a:pt x="915546" y="827147"/>
                  </a:lnTo>
                  <a:lnTo>
                    <a:pt x="946753" y="795953"/>
                  </a:lnTo>
                  <a:lnTo>
                    <a:pt x="945707" y="787943"/>
                  </a:lnTo>
                  <a:lnTo>
                    <a:pt x="942571" y="780348"/>
                  </a:lnTo>
                  <a:lnTo>
                    <a:pt x="500408" y="14487"/>
                  </a:lnTo>
                  <a:lnTo>
                    <a:pt x="488834" y="3621"/>
                  </a:lnTo>
                  <a:lnTo>
                    <a:pt x="473394" y="0"/>
                  </a:lnTo>
                  <a:close/>
                </a:path>
              </a:pathLst>
            </a:custGeom>
            <a:solidFill>
              <a:srgbClr val="E3873E"/>
            </a:solidFill>
          </p:spPr>
          <p:txBody>
            <a:bodyPr wrap="square" lIns="0" tIns="0" rIns="0" bIns="0" rtlCol="0"/>
            <a:lstStyle/>
            <a:p>
              <a:endParaRPr sz="649"/>
            </a:p>
          </p:txBody>
        </p:sp>
        <p:sp>
          <p:nvSpPr>
            <p:cNvPr id="92" name="object 92"/>
            <p:cNvSpPr/>
            <p:nvPr/>
          </p:nvSpPr>
          <p:spPr>
            <a:xfrm>
              <a:off x="5390647" y="8605310"/>
              <a:ext cx="776605" cy="672465"/>
            </a:xfrm>
            <a:custGeom>
              <a:avLst/>
              <a:gdLst/>
              <a:ahLst/>
              <a:cxnLst/>
              <a:rect l="l" t="t" r="r" b="b"/>
              <a:pathLst>
                <a:path w="776604" h="672465">
                  <a:moveTo>
                    <a:pt x="388137" y="0"/>
                  </a:moveTo>
                  <a:lnTo>
                    <a:pt x="0" y="672274"/>
                  </a:lnTo>
                  <a:lnTo>
                    <a:pt x="776262" y="672274"/>
                  </a:lnTo>
                  <a:lnTo>
                    <a:pt x="388137" y="0"/>
                  </a:lnTo>
                  <a:close/>
                </a:path>
              </a:pathLst>
            </a:custGeom>
            <a:solidFill>
              <a:srgbClr val="FFFFFF"/>
            </a:solidFill>
          </p:spPr>
          <p:txBody>
            <a:bodyPr wrap="square" lIns="0" tIns="0" rIns="0" bIns="0" rtlCol="0"/>
            <a:lstStyle/>
            <a:p>
              <a:endParaRPr sz="649"/>
            </a:p>
          </p:txBody>
        </p:sp>
        <p:pic>
          <p:nvPicPr>
            <p:cNvPr id="93" name="object 93"/>
            <p:cNvPicPr/>
            <p:nvPr/>
          </p:nvPicPr>
          <p:blipFill>
            <a:blip r:embed="rId21" cstate="print"/>
            <a:stretch>
              <a:fillRect/>
            </a:stretch>
          </p:blipFill>
          <p:spPr>
            <a:xfrm>
              <a:off x="5635066" y="8769578"/>
              <a:ext cx="234467" cy="472808"/>
            </a:xfrm>
            <a:prstGeom prst="rect">
              <a:avLst/>
            </a:prstGeom>
          </p:spPr>
        </p:pic>
        <p:sp>
          <p:nvSpPr>
            <p:cNvPr id="94" name="object 94"/>
            <p:cNvSpPr/>
            <p:nvPr/>
          </p:nvSpPr>
          <p:spPr>
            <a:xfrm>
              <a:off x="5635065" y="8769578"/>
              <a:ext cx="234950" cy="473075"/>
            </a:xfrm>
            <a:custGeom>
              <a:avLst/>
              <a:gdLst/>
              <a:ahLst/>
              <a:cxnLst/>
              <a:rect l="l" t="t" r="r" b="b"/>
              <a:pathLst>
                <a:path w="234950" h="473075">
                  <a:moveTo>
                    <a:pt x="234480" y="166954"/>
                  </a:moveTo>
                  <a:lnTo>
                    <a:pt x="65544" y="235953"/>
                  </a:lnTo>
                  <a:lnTo>
                    <a:pt x="180670" y="51054"/>
                  </a:lnTo>
                  <a:lnTo>
                    <a:pt x="113055" y="0"/>
                  </a:lnTo>
                  <a:lnTo>
                    <a:pt x="0" y="323850"/>
                  </a:lnTo>
                  <a:lnTo>
                    <a:pt x="159435" y="249364"/>
                  </a:lnTo>
                  <a:lnTo>
                    <a:pt x="149974" y="384162"/>
                  </a:lnTo>
                  <a:lnTo>
                    <a:pt x="108788" y="377482"/>
                  </a:lnTo>
                  <a:lnTo>
                    <a:pt x="149009" y="472821"/>
                  </a:lnTo>
                  <a:lnTo>
                    <a:pt x="219024" y="395351"/>
                  </a:lnTo>
                  <a:lnTo>
                    <a:pt x="178092" y="388721"/>
                  </a:lnTo>
                  <a:lnTo>
                    <a:pt x="234480" y="166954"/>
                  </a:lnTo>
                  <a:close/>
                </a:path>
              </a:pathLst>
            </a:custGeom>
            <a:ln w="7620">
              <a:solidFill>
                <a:srgbClr val="E3873E"/>
              </a:solidFill>
            </a:ln>
          </p:spPr>
          <p:txBody>
            <a:bodyPr wrap="square" lIns="0" tIns="0" rIns="0" bIns="0" rtlCol="0"/>
            <a:lstStyle/>
            <a:p>
              <a:endParaRPr sz="649"/>
            </a:p>
          </p:txBody>
        </p:sp>
        <p:sp>
          <p:nvSpPr>
            <p:cNvPr id="95" name="object 95"/>
            <p:cNvSpPr/>
            <p:nvPr/>
          </p:nvSpPr>
          <p:spPr>
            <a:xfrm>
              <a:off x="5418161" y="8704347"/>
              <a:ext cx="721360" cy="704850"/>
            </a:xfrm>
            <a:custGeom>
              <a:avLst/>
              <a:gdLst/>
              <a:ahLst/>
              <a:cxnLst/>
              <a:rect l="l" t="t" r="r" b="b"/>
              <a:pathLst>
                <a:path w="721360" h="704850">
                  <a:moveTo>
                    <a:pt x="721220" y="0"/>
                  </a:moveTo>
                  <a:lnTo>
                    <a:pt x="0" y="704240"/>
                  </a:lnTo>
                </a:path>
              </a:pathLst>
            </a:custGeom>
            <a:ln w="50800">
              <a:solidFill>
                <a:srgbClr val="231F20"/>
              </a:solidFill>
            </a:ln>
          </p:spPr>
          <p:txBody>
            <a:bodyPr wrap="square" lIns="0" tIns="0" rIns="0" bIns="0" rtlCol="0"/>
            <a:lstStyle/>
            <a:p>
              <a:endParaRPr sz="649"/>
            </a:p>
          </p:txBody>
        </p:sp>
        <p:sp>
          <p:nvSpPr>
            <p:cNvPr id="96" name="object 96"/>
            <p:cNvSpPr/>
            <p:nvPr/>
          </p:nvSpPr>
          <p:spPr>
            <a:xfrm>
              <a:off x="5418161" y="8704350"/>
              <a:ext cx="721360" cy="704850"/>
            </a:xfrm>
            <a:custGeom>
              <a:avLst/>
              <a:gdLst/>
              <a:ahLst/>
              <a:cxnLst/>
              <a:rect l="l" t="t" r="r" b="b"/>
              <a:pathLst>
                <a:path w="721360" h="704850">
                  <a:moveTo>
                    <a:pt x="721220" y="704240"/>
                  </a:moveTo>
                  <a:lnTo>
                    <a:pt x="0" y="0"/>
                  </a:lnTo>
                </a:path>
              </a:pathLst>
            </a:custGeom>
            <a:ln w="50800">
              <a:solidFill>
                <a:srgbClr val="231F20"/>
              </a:solidFill>
            </a:ln>
          </p:spPr>
          <p:txBody>
            <a:bodyPr wrap="square" lIns="0" tIns="0" rIns="0" bIns="0" rtlCol="0"/>
            <a:lstStyle/>
            <a:p>
              <a:endParaRPr sz="649"/>
            </a:p>
          </p:txBody>
        </p:sp>
      </p:grpSp>
      <p:sp>
        <p:nvSpPr>
          <p:cNvPr id="97" name="object 97"/>
          <p:cNvSpPr txBox="1">
            <a:spLocks noGrp="1"/>
          </p:cNvSpPr>
          <p:nvPr>
            <p:ph type="ftr" sz="quarter" idx="5"/>
          </p:nvPr>
        </p:nvSpPr>
        <p:spPr>
          <a:xfrm>
            <a:off x="3127618" y="2350430"/>
            <a:ext cx="2236362" cy="82189"/>
          </a:xfrm>
          <a:prstGeom prst="rect">
            <a:avLst/>
          </a:prstGeom>
        </p:spPr>
        <p:txBody>
          <a:bodyPr vert="horz" wrap="square" lIns="0" tIns="5194" rIns="0" bIns="0" rtlCol="0" anchor="ctr">
            <a:spAutoFit/>
          </a:bodyPr>
          <a:lstStyle/>
          <a:p>
            <a:pPr marL="6110">
              <a:spcBef>
                <a:spcPts val="41"/>
              </a:spcBef>
            </a:pPr>
            <a:r>
              <a:rPr spc="-19" dirty="0"/>
              <a:t>S</a:t>
            </a:r>
            <a:r>
              <a:rPr spc="2" dirty="0"/>
              <a:t>t</a:t>
            </a:r>
            <a:r>
              <a:rPr spc="-7" dirty="0"/>
              <a:t>r</a:t>
            </a:r>
            <a:r>
              <a:rPr spc="-5" dirty="0"/>
              <a:t>essless</a:t>
            </a:r>
            <a:r>
              <a:rPr sz="397" spc="-21" baseline="35353" dirty="0"/>
              <a:t>®</a:t>
            </a:r>
            <a:r>
              <a:rPr sz="397" spc="58" baseline="35353" dirty="0"/>
              <a:t> </a:t>
            </a:r>
            <a:r>
              <a:rPr sz="481" spc="70" dirty="0"/>
              <a:t>M</a:t>
            </a:r>
            <a:r>
              <a:rPr sz="481" spc="2" dirty="0"/>
              <a:t>i</a:t>
            </a:r>
            <a:r>
              <a:rPr sz="481" spc="-10" dirty="0"/>
              <a:t>k</a:t>
            </a:r>
            <a:r>
              <a:rPr sz="481" dirty="0"/>
              <a:t>e</a:t>
            </a:r>
            <a:r>
              <a:rPr sz="481" spc="-29" dirty="0"/>
              <a:t> </a:t>
            </a:r>
            <a:r>
              <a:rPr sz="481" spc="-5" dirty="0"/>
              <a:t>and</a:t>
            </a:r>
            <a:r>
              <a:rPr sz="481" spc="-29" dirty="0"/>
              <a:t> </a:t>
            </a:r>
            <a:r>
              <a:rPr sz="481" spc="67" dirty="0"/>
              <a:t>M</a:t>
            </a:r>
            <a:r>
              <a:rPr sz="481" spc="-7" dirty="0"/>
              <a:t>ax</a:t>
            </a:r>
            <a:endParaRPr sz="481"/>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3043069" y="285791"/>
            <a:ext cx="2894264" cy="4569473"/>
            <a:chOff x="600563" y="593979"/>
            <a:chExt cx="6015355" cy="9497060"/>
          </a:xfrm>
        </p:grpSpPr>
        <p:pic>
          <p:nvPicPr>
            <p:cNvPr id="3" name="object 3"/>
            <p:cNvPicPr/>
            <p:nvPr/>
          </p:nvPicPr>
          <p:blipFill>
            <a:blip r:embed="rId2" cstate="print"/>
            <a:stretch>
              <a:fillRect/>
            </a:stretch>
          </p:blipFill>
          <p:spPr>
            <a:xfrm>
              <a:off x="600563" y="593979"/>
              <a:ext cx="2446012" cy="2753826"/>
            </a:xfrm>
            <a:prstGeom prst="rect">
              <a:avLst/>
            </a:prstGeom>
          </p:spPr>
        </p:pic>
        <p:pic>
          <p:nvPicPr>
            <p:cNvPr id="4" name="object 4"/>
            <p:cNvPicPr/>
            <p:nvPr/>
          </p:nvPicPr>
          <p:blipFill>
            <a:blip r:embed="rId3" cstate="print"/>
            <a:stretch>
              <a:fillRect/>
            </a:stretch>
          </p:blipFill>
          <p:spPr>
            <a:xfrm>
              <a:off x="1021691" y="2395245"/>
              <a:ext cx="257795" cy="344525"/>
            </a:xfrm>
            <a:prstGeom prst="rect">
              <a:avLst/>
            </a:prstGeom>
          </p:spPr>
        </p:pic>
        <p:sp>
          <p:nvSpPr>
            <p:cNvPr id="5" name="object 5"/>
            <p:cNvSpPr/>
            <p:nvPr/>
          </p:nvSpPr>
          <p:spPr>
            <a:xfrm>
              <a:off x="1021693" y="2395237"/>
              <a:ext cx="257810" cy="344805"/>
            </a:xfrm>
            <a:custGeom>
              <a:avLst/>
              <a:gdLst/>
              <a:ahLst/>
              <a:cxnLst/>
              <a:rect l="l" t="t" r="r" b="b"/>
              <a:pathLst>
                <a:path w="257809" h="344805">
                  <a:moveTo>
                    <a:pt x="88352" y="344538"/>
                  </a:moveTo>
                  <a:lnTo>
                    <a:pt x="78467" y="244056"/>
                  </a:lnTo>
                  <a:lnTo>
                    <a:pt x="114534" y="164801"/>
                  </a:lnTo>
                  <a:lnTo>
                    <a:pt x="161720" y="112816"/>
                  </a:lnTo>
                  <a:lnTo>
                    <a:pt x="185189" y="94145"/>
                  </a:lnTo>
                  <a:lnTo>
                    <a:pt x="257795" y="124256"/>
                  </a:lnTo>
                  <a:lnTo>
                    <a:pt x="232383" y="0"/>
                  </a:lnTo>
                  <a:lnTo>
                    <a:pt x="59104" y="35306"/>
                  </a:lnTo>
                  <a:lnTo>
                    <a:pt x="124255" y="64731"/>
                  </a:lnTo>
                  <a:lnTo>
                    <a:pt x="37619" y="143516"/>
                  </a:lnTo>
                  <a:lnTo>
                    <a:pt x="0" y="196422"/>
                  </a:lnTo>
                  <a:lnTo>
                    <a:pt x="3531" y="247431"/>
                  </a:lnTo>
                  <a:lnTo>
                    <a:pt x="40346" y="320522"/>
                  </a:lnTo>
                  <a:lnTo>
                    <a:pt x="88352" y="344538"/>
                  </a:lnTo>
                  <a:close/>
                </a:path>
              </a:pathLst>
            </a:custGeom>
            <a:ln w="7619">
              <a:solidFill>
                <a:srgbClr val="E3873E"/>
              </a:solidFill>
            </a:ln>
          </p:spPr>
          <p:txBody>
            <a:bodyPr wrap="square" lIns="0" tIns="0" rIns="0" bIns="0" rtlCol="0"/>
            <a:lstStyle/>
            <a:p>
              <a:endParaRPr sz="649"/>
            </a:p>
          </p:txBody>
        </p:sp>
        <p:sp>
          <p:nvSpPr>
            <p:cNvPr id="6" name="object 6"/>
            <p:cNvSpPr/>
            <p:nvPr/>
          </p:nvSpPr>
          <p:spPr>
            <a:xfrm>
              <a:off x="1200481" y="2568242"/>
              <a:ext cx="681990" cy="681355"/>
            </a:xfrm>
            <a:custGeom>
              <a:avLst/>
              <a:gdLst/>
              <a:ahLst/>
              <a:cxnLst/>
              <a:rect l="l" t="t" r="r" b="b"/>
              <a:pathLst>
                <a:path w="681989" h="681355">
                  <a:moveTo>
                    <a:pt x="681367" y="340677"/>
                  </a:moveTo>
                  <a:lnTo>
                    <a:pt x="678257" y="386905"/>
                  </a:lnTo>
                  <a:lnTo>
                    <a:pt x="669198" y="431242"/>
                  </a:lnTo>
                  <a:lnTo>
                    <a:pt x="654595" y="473284"/>
                  </a:lnTo>
                  <a:lnTo>
                    <a:pt x="634854" y="512623"/>
                  </a:lnTo>
                  <a:lnTo>
                    <a:pt x="610382" y="548855"/>
                  </a:lnTo>
                  <a:lnTo>
                    <a:pt x="581583" y="581572"/>
                  </a:lnTo>
                  <a:lnTo>
                    <a:pt x="548865" y="610370"/>
                  </a:lnTo>
                  <a:lnTo>
                    <a:pt x="512632" y="634842"/>
                  </a:lnTo>
                  <a:lnTo>
                    <a:pt x="473291" y="654582"/>
                  </a:lnTo>
                  <a:lnTo>
                    <a:pt x="431248" y="669185"/>
                  </a:lnTo>
                  <a:lnTo>
                    <a:pt x="386908" y="678245"/>
                  </a:lnTo>
                  <a:lnTo>
                    <a:pt x="340677" y="681355"/>
                  </a:lnTo>
                  <a:lnTo>
                    <a:pt x="294449" y="678245"/>
                  </a:lnTo>
                  <a:lnTo>
                    <a:pt x="250112" y="669185"/>
                  </a:lnTo>
                  <a:lnTo>
                    <a:pt x="208070" y="654582"/>
                  </a:lnTo>
                  <a:lnTo>
                    <a:pt x="168731" y="634842"/>
                  </a:lnTo>
                  <a:lnTo>
                    <a:pt x="132499" y="610370"/>
                  </a:lnTo>
                  <a:lnTo>
                    <a:pt x="99782" y="581572"/>
                  </a:lnTo>
                  <a:lnTo>
                    <a:pt x="70984" y="548855"/>
                  </a:lnTo>
                  <a:lnTo>
                    <a:pt x="46512" y="512623"/>
                  </a:lnTo>
                  <a:lnTo>
                    <a:pt x="26772" y="473284"/>
                  </a:lnTo>
                  <a:lnTo>
                    <a:pt x="12169" y="431242"/>
                  </a:lnTo>
                  <a:lnTo>
                    <a:pt x="3109" y="386905"/>
                  </a:lnTo>
                  <a:lnTo>
                    <a:pt x="0" y="340677"/>
                  </a:lnTo>
                  <a:lnTo>
                    <a:pt x="3109" y="294449"/>
                  </a:lnTo>
                  <a:lnTo>
                    <a:pt x="12169" y="250112"/>
                  </a:lnTo>
                  <a:lnTo>
                    <a:pt x="26772" y="208070"/>
                  </a:lnTo>
                  <a:lnTo>
                    <a:pt x="46512" y="168731"/>
                  </a:lnTo>
                  <a:lnTo>
                    <a:pt x="70984" y="132499"/>
                  </a:lnTo>
                  <a:lnTo>
                    <a:pt x="99782" y="99782"/>
                  </a:lnTo>
                  <a:lnTo>
                    <a:pt x="132499" y="70984"/>
                  </a:lnTo>
                  <a:lnTo>
                    <a:pt x="168731" y="46512"/>
                  </a:lnTo>
                  <a:lnTo>
                    <a:pt x="208070" y="26772"/>
                  </a:lnTo>
                  <a:lnTo>
                    <a:pt x="250112" y="12169"/>
                  </a:lnTo>
                  <a:lnTo>
                    <a:pt x="294449" y="3109"/>
                  </a:lnTo>
                  <a:lnTo>
                    <a:pt x="340677" y="0"/>
                  </a:lnTo>
                  <a:lnTo>
                    <a:pt x="386908" y="3109"/>
                  </a:lnTo>
                  <a:lnTo>
                    <a:pt x="431248" y="12169"/>
                  </a:lnTo>
                  <a:lnTo>
                    <a:pt x="473291" y="26772"/>
                  </a:lnTo>
                  <a:lnTo>
                    <a:pt x="512632" y="46512"/>
                  </a:lnTo>
                  <a:lnTo>
                    <a:pt x="548865" y="70984"/>
                  </a:lnTo>
                  <a:lnTo>
                    <a:pt x="581583" y="99782"/>
                  </a:lnTo>
                  <a:lnTo>
                    <a:pt x="610382" y="132499"/>
                  </a:lnTo>
                  <a:lnTo>
                    <a:pt x="634854" y="168731"/>
                  </a:lnTo>
                  <a:lnTo>
                    <a:pt x="654595" y="208070"/>
                  </a:lnTo>
                  <a:lnTo>
                    <a:pt x="669198" y="250112"/>
                  </a:lnTo>
                  <a:lnTo>
                    <a:pt x="678257" y="294449"/>
                  </a:lnTo>
                  <a:lnTo>
                    <a:pt x="681367" y="340677"/>
                  </a:lnTo>
                  <a:close/>
                </a:path>
              </a:pathLst>
            </a:custGeom>
            <a:ln w="25400">
              <a:solidFill>
                <a:srgbClr val="E3873E"/>
              </a:solidFill>
            </a:ln>
          </p:spPr>
          <p:txBody>
            <a:bodyPr wrap="square" lIns="0" tIns="0" rIns="0" bIns="0" rtlCol="0"/>
            <a:lstStyle/>
            <a:p>
              <a:endParaRPr sz="649"/>
            </a:p>
          </p:txBody>
        </p:sp>
        <p:sp>
          <p:nvSpPr>
            <p:cNvPr id="7" name="object 7"/>
            <p:cNvSpPr/>
            <p:nvPr/>
          </p:nvSpPr>
          <p:spPr>
            <a:xfrm>
              <a:off x="1595062" y="3507906"/>
              <a:ext cx="1800225" cy="1800225"/>
            </a:xfrm>
            <a:custGeom>
              <a:avLst/>
              <a:gdLst/>
              <a:ahLst/>
              <a:cxnLst/>
              <a:rect l="l" t="t" r="r" b="b"/>
              <a:pathLst>
                <a:path w="1800225" h="1800225">
                  <a:moveTo>
                    <a:pt x="899998" y="0"/>
                  </a:moveTo>
                  <a:lnTo>
                    <a:pt x="852200" y="1247"/>
                  </a:lnTo>
                  <a:lnTo>
                    <a:pt x="805052" y="4948"/>
                  </a:lnTo>
                  <a:lnTo>
                    <a:pt x="758616" y="11041"/>
                  </a:lnTo>
                  <a:lnTo>
                    <a:pt x="712954" y="19462"/>
                  </a:lnTo>
                  <a:lnTo>
                    <a:pt x="668129" y="30151"/>
                  </a:lnTo>
                  <a:lnTo>
                    <a:pt x="624202" y="43044"/>
                  </a:lnTo>
                  <a:lnTo>
                    <a:pt x="581236" y="58081"/>
                  </a:lnTo>
                  <a:lnTo>
                    <a:pt x="539292" y="75197"/>
                  </a:lnTo>
                  <a:lnTo>
                    <a:pt x="498434" y="94332"/>
                  </a:lnTo>
                  <a:lnTo>
                    <a:pt x="458724" y="115422"/>
                  </a:lnTo>
                  <a:lnTo>
                    <a:pt x="420223" y="138406"/>
                  </a:lnTo>
                  <a:lnTo>
                    <a:pt x="382993" y="163222"/>
                  </a:lnTo>
                  <a:lnTo>
                    <a:pt x="347098" y="189808"/>
                  </a:lnTo>
                  <a:lnTo>
                    <a:pt x="312599" y="218100"/>
                  </a:lnTo>
                  <a:lnTo>
                    <a:pt x="279558" y="248038"/>
                  </a:lnTo>
                  <a:lnTo>
                    <a:pt x="248038" y="279558"/>
                  </a:lnTo>
                  <a:lnTo>
                    <a:pt x="218100" y="312599"/>
                  </a:lnTo>
                  <a:lnTo>
                    <a:pt x="189808" y="347098"/>
                  </a:lnTo>
                  <a:lnTo>
                    <a:pt x="163222" y="382993"/>
                  </a:lnTo>
                  <a:lnTo>
                    <a:pt x="138406" y="420223"/>
                  </a:lnTo>
                  <a:lnTo>
                    <a:pt x="115422" y="458724"/>
                  </a:lnTo>
                  <a:lnTo>
                    <a:pt x="94332" y="498434"/>
                  </a:lnTo>
                  <a:lnTo>
                    <a:pt x="75197" y="539292"/>
                  </a:lnTo>
                  <a:lnTo>
                    <a:pt x="58081" y="581236"/>
                  </a:lnTo>
                  <a:lnTo>
                    <a:pt x="43044" y="624202"/>
                  </a:lnTo>
                  <a:lnTo>
                    <a:pt x="30151" y="668129"/>
                  </a:lnTo>
                  <a:lnTo>
                    <a:pt x="19462" y="712954"/>
                  </a:lnTo>
                  <a:lnTo>
                    <a:pt x="11041" y="758616"/>
                  </a:lnTo>
                  <a:lnTo>
                    <a:pt x="4948" y="805052"/>
                  </a:lnTo>
                  <a:lnTo>
                    <a:pt x="1247" y="852200"/>
                  </a:lnTo>
                  <a:lnTo>
                    <a:pt x="0" y="899998"/>
                  </a:lnTo>
                  <a:lnTo>
                    <a:pt x="1247" y="947797"/>
                  </a:lnTo>
                  <a:lnTo>
                    <a:pt x="4948" y="994946"/>
                  </a:lnTo>
                  <a:lnTo>
                    <a:pt x="11041" y="1041382"/>
                  </a:lnTo>
                  <a:lnTo>
                    <a:pt x="19462" y="1087045"/>
                  </a:lnTo>
                  <a:lnTo>
                    <a:pt x="30151" y="1131871"/>
                  </a:lnTo>
                  <a:lnTo>
                    <a:pt x="43044" y="1175798"/>
                  </a:lnTo>
                  <a:lnTo>
                    <a:pt x="58081" y="1218765"/>
                  </a:lnTo>
                  <a:lnTo>
                    <a:pt x="75197" y="1260708"/>
                  </a:lnTo>
                  <a:lnTo>
                    <a:pt x="94332" y="1301567"/>
                  </a:lnTo>
                  <a:lnTo>
                    <a:pt x="115422" y="1341277"/>
                  </a:lnTo>
                  <a:lnTo>
                    <a:pt x="138406" y="1379778"/>
                  </a:lnTo>
                  <a:lnTo>
                    <a:pt x="163222" y="1417008"/>
                  </a:lnTo>
                  <a:lnTo>
                    <a:pt x="189808" y="1452903"/>
                  </a:lnTo>
                  <a:lnTo>
                    <a:pt x="218100" y="1487402"/>
                  </a:lnTo>
                  <a:lnTo>
                    <a:pt x="248038" y="1520442"/>
                  </a:lnTo>
                  <a:lnTo>
                    <a:pt x="279558" y="1551962"/>
                  </a:lnTo>
                  <a:lnTo>
                    <a:pt x="312599" y="1581899"/>
                  </a:lnTo>
                  <a:lnTo>
                    <a:pt x="347098" y="1610192"/>
                  </a:lnTo>
                  <a:lnTo>
                    <a:pt x="382993" y="1636776"/>
                  </a:lnTo>
                  <a:lnTo>
                    <a:pt x="420223" y="1661592"/>
                  </a:lnTo>
                  <a:lnTo>
                    <a:pt x="458724" y="1684576"/>
                  </a:lnTo>
                  <a:lnTo>
                    <a:pt x="498434" y="1705666"/>
                  </a:lnTo>
                  <a:lnTo>
                    <a:pt x="539292" y="1724800"/>
                  </a:lnTo>
                  <a:lnTo>
                    <a:pt x="581236" y="1741916"/>
                  </a:lnTo>
                  <a:lnTo>
                    <a:pt x="624202" y="1756952"/>
                  </a:lnTo>
                  <a:lnTo>
                    <a:pt x="668129" y="1769845"/>
                  </a:lnTo>
                  <a:lnTo>
                    <a:pt x="712954" y="1780534"/>
                  </a:lnTo>
                  <a:lnTo>
                    <a:pt x="758616" y="1788955"/>
                  </a:lnTo>
                  <a:lnTo>
                    <a:pt x="805052" y="1795047"/>
                  </a:lnTo>
                  <a:lnTo>
                    <a:pt x="852200" y="1798748"/>
                  </a:lnTo>
                  <a:lnTo>
                    <a:pt x="899998" y="1799996"/>
                  </a:lnTo>
                  <a:lnTo>
                    <a:pt x="947795" y="1798748"/>
                  </a:lnTo>
                  <a:lnTo>
                    <a:pt x="994943" y="1795047"/>
                  </a:lnTo>
                  <a:lnTo>
                    <a:pt x="1041379" y="1788955"/>
                  </a:lnTo>
                  <a:lnTo>
                    <a:pt x="1087041" y="1780534"/>
                  </a:lnTo>
                  <a:lnTo>
                    <a:pt x="1131867" y="1769845"/>
                  </a:lnTo>
                  <a:lnTo>
                    <a:pt x="1175794" y="1756952"/>
                  </a:lnTo>
                  <a:lnTo>
                    <a:pt x="1218760" y="1741916"/>
                  </a:lnTo>
                  <a:lnTo>
                    <a:pt x="1260703" y="1724800"/>
                  </a:lnTo>
                  <a:lnTo>
                    <a:pt x="1301561" y="1705666"/>
                  </a:lnTo>
                  <a:lnTo>
                    <a:pt x="1341272" y="1684576"/>
                  </a:lnTo>
                  <a:lnTo>
                    <a:pt x="1379773" y="1661592"/>
                  </a:lnTo>
                  <a:lnTo>
                    <a:pt x="1417002" y="1636776"/>
                  </a:lnTo>
                  <a:lnTo>
                    <a:pt x="1452897" y="1610192"/>
                  </a:lnTo>
                  <a:lnTo>
                    <a:pt x="1487397" y="1581899"/>
                  </a:lnTo>
                  <a:lnTo>
                    <a:pt x="1520437" y="1551962"/>
                  </a:lnTo>
                  <a:lnTo>
                    <a:pt x="1551958" y="1520442"/>
                  </a:lnTo>
                  <a:lnTo>
                    <a:pt x="1581895" y="1487402"/>
                  </a:lnTo>
                  <a:lnTo>
                    <a:pt x="1610188" y="1452903"/>
                  </a:lnTo>
                  <a:lnTo>
                    <a:pt x="1636773" y="1417008"/>
                  </a:lnTo>
                  <a:lnTo>
                    <a:pt x="1661589" y="1379778"/>
                  </a:lnTo>
                  <a:lnTo>
                    <a:pt x="1684573" y="1341277"/>
                  </a:lnTo>
                  <a:lnTo>
                    <a:pt x="1705664" y="1301567"/>
                  </a:lnTo>
                  <a:lnTo>
                    <a:pt x="1724798" y="1260708"/>
                  </a:lnTo>
                  <a:lnTo>
                    <a:pt x="1741915" y="1218765"/>
                  </a:lnTo>
                  <a:lnTo>
                    <a:pt x="1756951" y="1175798"/>
                  </a:lnTo>
                  <a:lnTo>
                    <a:pt x="1769844" y="1131871"/>
                  </a:lnTo>
                  <a:lnTo>
                    <a:pt x="1780533" y="1087045"/>
                  </a:lnTo>
                  <a:lnTo>
                    <a:pt x="1788955" y="1041382"/>
                  </a:lnTo>
                  <a:lnTo>
                    <a:pt x="1795047" y="994946"/>
                  </a:lnTo>
                  <a:lnTo>
                    <a:pt x="1798748" y="947797"/>
                  </a:lnTo>
                  <a:lnTo>
                    <a:pt x="1799996" y="899998"/>
                  </a:lnTo>
                  <a:lnTo>
                    <a:pt x="1798748" y="852200"/>
                  </a:lnTo>
                  <a:lnTo>
                    <a:pt x="1795047" y="805052"/>
                  </a:lnTo>
                  <a:lnTo>
                    <a:pt x="1788955" y="758616"/>
                  </a:lnTo>
                  <a:lnTo>
                    <a:pt x="1780533" y="712954"/>
                  </a:lnTo>
                  <a:lnTo>
                    <a:pt x="1769844" y="668129"/>
                  </a:lnTo>
                  <a:lnTo>
                    <a:pt x="1756951" y="624202"/>
                  </a:lnTo>
                  <a:lnTo>
                    <a:pt x="1741915" y="581236"/>
                  </a:lnTo>
                  <a:lnTo>
                    <a:pt x="1724798" y="539292"/>
                  </a:lnTo>
                  <a:lnTo>
                    <a:pt x="1705664" y="498434"/>
                  </a:lnTo>
                  <a:lnTo>
                    <a:pt x="1684573" y="458724"/>
                  </a:lnTo>
                  <a:lnTo>
                    <a:pt x="1661589" y="420223"/>
                  </a:lnTo>
                  <a:lnTo>
                    <a:pt x="1636773" y="382993"/>
                  </a:lnTo>
                  <a:lnTo>
                    <a:pt x="1610188" y="347098"/>
                  </a:lnTo>
                  <a:lnTo>
                    <a:pt x="1581895" y="312599"/>
                  </a:lnTo>
                  <a:lnTo>
                    <a:pt x="1551958" y="279558"/>
                  </a:lnTo>
                  <a:lnTo>
                    <a:pt x="1520437" y="248038"/>
                  </a:lnTo>
                  <a:lnTo>
                    <a:pt x="1487397" y="218100"/>
                  </a:lnTo>
                  <a:lnTo>
                    <a:pt x="1452897" y="189808"/>
                  </a:lnTo>
                  <a:lnTo>
                    <a:pt x="1417002" y="163222"/>
                  </a:lnTo>
                  <a:lnTo>
                    <a:pt x="1379773" y="138406"/>
                  </a:lnTo>
                  <a:lnTo>
                    <a:pt x="1341272" y="115422"/>
                  </a:lnTo>
                  <a:lnTo>
                    <a:pt x="1301561" y="94332"/>
                  </a:lnTo>
                  <a:lnTo>
                    <a:pt x="1260703" y="75197"/>
                  </a:lnTo>
                  <a:lnTo>
                    <a:pt x="1218760" y="58081"/>
                  </a:lnTo>
                  <a:lnTo>
                    <a:pt x="1175794" y="43044"/>
                  </a:lnTo>
                  <a:lnTo>
                    <a:pt x="1131867" y="30151"/>
                  </a:lnTo>
                  <a:lnTo>
                    <a:pt x="1087041" y="19462"/>
                  </a:lnTo>
                  <a:lnTo>
                    <a:pt x="1041379" y="11041"/>
                  </a:lnTo>
                  <a:lnTo>
                    <a:pt x="994943" y="4948"/>
                  </a:lnTo>
                  <a:lnTo>
                    <a:pt x="947795" y="1247"/>
                  </a:lnTo>
                  <a:lnTo>
                    <a:pt x="899998" y="0"/>
                  </a:lnTo>
                  <a:close/>
                </a:path>
              </a:pathLst>
            </a:custGeom>
            <a:solidFill>
              <a:srgbClr val="D1D3D4"/>
            </a:solidFill>
          </p:spPr>
          <p:txBody>
            <a:bodyPr wrap="square" lIns="0" tIns="0" rIns="0" bIns="0" rtlCol="0"/>
            <a:lstStyle/>
            <a:p>
              <a:endParaRPr sz="649"/>
            </a:p>
          </p:txBody>
        </p:sp>
        <p:pic>
          <p:nvPicPr>
            <p:cNvPr id="8" name="object 8"/>
            <p:cNvPicPr/>
            <p:nvPr/>
          </p:nvPicPr>
          <p:blipFill>
            <a:blip r:embed="rId4" cstate="print"/>
            <a:stretch>
              <a:fillRect/>
            </a:stretch>
          </p:blipFill>
          <p:spPr>
            <a:xfrm>
              <a:off x="1931390" y="4009631"/>
              <a:ext cx="553567" cy="311530"/>
            </a:xfrm>
            <a:prstGeom prst="rect">
              <a:avLst/>
            </a:prstGeom>
          </p:spPr>
        </p:pic>
        <p:sp>
          <p:nvSpPr>
            <p:cNvPr id="9" name="object 9"/>
            <p:cNvSpPr/>
            <p:nvPr/>
          </p:nvSpPr>
          <p:spPr>
            <a:xfrm>
              <a:off x="1931384" y="4009634"/>
              <a:ext cx="553720" cy="311785"/>
            </a:xfrm>
            <a:custGeom>
              <a:avLst/>
              <a:gdLst/>
              <a:ahLst/>
              <a:cxnLst/>
              <a:rect l="l" t="t" r="r" b="b"/>
              <a:pathLst>
                <a:path w="553719" h="311785">
                  <a:moveTo>
                    <a:pt x="152400" y="110324"/>
                  </a:moveTo>
                  <a:lnTo>
                    <a:pt x="553567" y="110324"/>
                  </a:lnTo>
                  <a:lnTo>
                    <a:pt x="553567" y="204216"/>
                  </a:lnTo>
                  <a:lnTo>
                    <a:pt x="150152" y="204216"/>
                  </a:lnTo>
                  <a:lnTo>
                    <a:pt x="147916" y="311531"/>
                  </a:lnTo>
                  <a:lnTo>
                    <a:pt x="0" y="154292"/>
                  </a:lnTo>
                  <a:lnTo>
                    <a:pt x="147916" y="0"/>
                  </a:lnTo>
                  <a:lnTo>
                    <a:pt x="152400" y="110324"/>
                  </a:lnTo>
                  <a:close/>
                </a:path>
              </a:pathLst>
            </a:custGeom>
            <a:ln w="7620">
              <a:solidFill>
                <a:srgbClr val="E3873E"/>
              </a:solidFill>
            </a:ln>
          </p:spPr>
          <p:txBody>
            <a:bodyPr wrap="square" lIns="0" tIns="0" rIns="0" bIns="0" rtlCol="0"/>
            <a:lstStyle/>
            <a:p>
              <a:endParaRPr sz="649"/>
            </a:p>
          </p:txBody>
        </p:sp>
        <p:pic>
          <p:nvPicPr>
            <p:cNvPr id="10" name="object 10"/>
            <p:cNvPicPr/>
            <p:nvPr/>
          </p:nvPicPr>
          <p:blipFill>
            <a:blip r:embed="rId5" cstate="print"/>
            <a:stretch>
              <a:fillRect/>
            </a:stretch>
          </p:blipFill>
          <p:spPr>
            <a:xfrm>
              <a:off x="2598521" y="4009631"/>
              <a:ext cx="553580" cy="311530"/>
            </a:xfrm>
            <a:prstGeom prst="rect">
              <a:avLst/>
            </a:prstGeom>
          </p:spPr>
        </p:pic>
        <p:pic>
          <p:nvPicPr>
            <p:cNvPr id="11" name="object 11"/>
            <p:cNvPicPr/>
            <p:nvPr/>
          </p:nvPicPr>
          <p:blipFill>
            <a:blip r:embed="rId6" cstate="print"/>
            <a:stretch>
              <a:fillRect/>
            </a:stretch>
          </p:blipFill>
          <p:spPr>
            <a:xfrm>
              <a:off x="1582362" y="1443853"/>
              <a:ext cx="4572304" cy="3876749"/>
            </a:xfrm>
            <a:prstGeom prst="rect">
              <a:avLst/>
            </a:prstGeom>
          </p:spPr>
        </p:pic>
        <p:sp>
          <p:nvSpPr>
            <p:cNvPr id="12" name="object 12"/>
            <p:cNvSpPr/>
            <p:nvPr/>
          </p:nvSpPr>
          <p:spPr>
            <a:xfrm>
              <a:off x="5268437" y="7065326"/>
              <a:ext cx="104139" cy="53340"/>
            </a:xfrm>
            <a:custGeom>
              <a:avLst/>
              <a:gdLst/>
              <a:ahLst/>
              <a:cxnLst/>
              <a:rect l="l" t="t" r="r" b="b"/>
              <a:pathLst>
                <a:path w="104139" h="53340">
                  <a:moveTo>
                    <a:pt x="0" y="0"/>
                  </a:moveTo>
                  <a:lnTo>
                    <a:pt x="104076" y="53124"/>
                  </a:lnTo>
                </a:path>
              </a:pathLst>
            </a:custGeom>
            <a:ln w="25400">
              <a:solidFill>
                <a:srgbClr val="231F20"/>
              </a:solidFill>
            </a:ln>
          </p:spPr>
          <p:txBody>
            <a:bodyPr wrap="square" lIns="0" tIns="0" rIns="0" bIns="0" rtlCol="0"/>
            <a:lstStyle/>
            <a:p>
              <a:endParaRPr sz="649"/>
            </a:p>
          </p:txBody>
        </p:sp>
        <p:sp>
          <p:nvSpPr>
            <p:cNvPr id="13" name="object 13"/>
            <p:cNvSpPr/>
            <p:nvPr/>
          </p:nvSpPr>
          <p:spPr>
            <a:xfrm>
              <a:off x="3454077" y="8277906"/>
              <a:ext cx="1800225" cy="1800225"/>
            </a:xfrm>
            <a:custGeom>
              <a:avLst/>
              <a:gdLst/>
              <a:ahLst/>
              <a:cxnLst/>
              <a:rect l="l" t="t" r="r" b="b"/>
              <a:pathLst>
                <a:path w="1800225" h="1800225">
                  <a:moveTo>
                    <a:pt x="899998" y="0"/>
                  </a:moveTo>
                  <a:lnTo>
                    <a:pt x="852200" y="1247"/>
                  </a:lnTo>
                  <a:lnTo>
                    <a:pt x="805052" y="4948"/>
                  </a:lnTo>
                  <a:lnTo>
                    <a:pt x="758616" y="11040"/>
                  </a:lnTo>
                  <a:lnTo>
                    <a:pt x="712954" y="19462"/>
                  </a:lnTo>
                  <a:lnTo>
                    <a:pt x="668129" y="30150"/>
                  </a:lnTo>
                  <a:lnTo>
                    <a:pt x="624202" y="43043"/>
                  </a:lnTo>
                  <a:lnTo>
                    <a:pt x="581236" y="58079"/>
                  </a:lnTo>
                  <a:lnTo>
                    <a:pt x="539292" y="75195"/>
                  </a:lnTo>
                  <a:lnTo>
                    <a:pt x="498434" y="94329"/>
                  </a:lnTo>
                  <a:lnTo>
                    <a:pt x="458724" y="115419"/>
                  </a:lnTo>
                  <a:lnTo>
                    <a:pt x="420223" y="138403"/>
                  </a:lnTo>
                  <a:lnTo>
                    <a:pt x="382993" y="163219"/>
                  </a:lnTo>
                  <a:lnTo>
                    <a:pt x="347098" y="189804"/>
                  </a:lnTo>
                  <a:lnTo>
                    <a:pt x="312599" y="218096"/>
                  </a:lnTo>
                  <a:lnTo>
                    <a:pt x="279558" y="248033"/>
                  </a:lnTo>
                  <a:lnTo>
                    <a:pt x="248038" y="279553"/>
                  </a:lnTo>
                  <a:lnTo>
                    <a:pt x="218100" y="312594"/>
                  </a:lnTo>
                  <a:lnTo>
                    <a:pt x="189808" y="347093"/>
                  </a:lnTo>
                  <a:lnTo>
                    <a:pt x="163222" y="382988"/>
                  </a:lnTo>
                  <a:lnTo>
                    <a:pt x="138406" y="420217"/>
                  </a:lnTo>
                  <a:lnTo>
                    <a:pt x="115422" y="458718"/>
                  </a:lnTo>
                  <a:lnTo>
                    <a:pt x="94332" y="498429"/>
                  </a:lnTo>
                  <a:lnTo>
                    <a:pt x="75197" y="539287"/>
                  </a:lnTo>
                  <a:lnTo>
                    <a:pt x="58081" y="581230"/>
                  </a:lnTo>
                  <a:lnTo>
                    <a:pt x="43044" y="624197"/>
                  </a:lnTo>
                  <a:lnTo>
                    <a:pt x="30151" y="668124"/>
                  </a:lnTo>
                  <a:lnTo>
                    <a:pt x="19462" y="712950"/>
                  </a:lnTo>
                  <a:lnTo>
                    <a:pt x="11041" y="758613"/>
                  </a:lnTo>
                  <a:lnTo>
                    <a:pt x="4948" y="805050"/>
                  </a:lnTo>
                  <a:lnTo>
                    <a:pt x="1247" y="852199"/>
                  </a:lnTo>
                  <a:lnTo>
                    <a:pt x="0" y="899998"/>
                  </a:lnTo>
                  <a:lnTo>
                    <a:pt x="1247" y="947795"/>
                  </a:lnTo>
                  <a:lnTo>
                    <a:pt x="4948" y="994943"/>
                  </a:lnTo>
                  <a:lnTo>
                    <a:pt x="11041" y="1041379"/>
                  </a:lnTo>
                  <a:lnTo>
                    <a:pt x="19462" y="1087041"/>
                  </a:lnTo>
                  <a:lnTo>
                    <a:pt x="30151" y="1131867"/>
                  </a:lnTo>
                  <a:lnTo>
                    <a:pt x="43044" y="1175794"/>
                  </a:lnTo>
                  <a:lnTo>
                    <a:pt x="58081" y="1218760"/>
                  </a:lnTo>
                  <a:lnTo>
                    <a:pt x="75197" y="1260703"/>
                  </a:lnTo>
                  <a:lnTo>
                    <a:pt x="94332" y="1301561"/>
                  </a:lnTo>
                  <a:lnTo>
                    <a:pt x="115422" y="1341272"/>
                  </a:lnTo>
                  <a:lnTo>
                    <a:pt x="138406" y="1379773"/>
                  </a:lnTo>
                  <a:lnTo>
                    <a:pt x="163222" y="1417002"/>
                  </a:lnTo>
                  <a:lnTo>
                    <a:pt x="189808" y="1452897"/>
                  </a:lnTo>
                  <a:lnTo>
                    <a:pt x="218100" y="1487397"/>
                  </a:lnTo>
                  <a:lnTo>
                    <a:pt x="248038" y="1520437"/>
                  </a:lnTo>
                  <a:lnTo>
                    <a:pt x="279558" y="1551958"/>
                  </a:lnTo>
                  <a:lnTo>
                    <a:pt x="312599" y="1581895"/>
                  </a:lnTo>
                  <a:lnTo>
                    <a:pt x="347098" y="1610188"/>
                  </a:lnTo>
                  <a:lnTo>
                    <a:pt x="382993" y="1636773"/>
                  </a:lnTo>
                  <a:lnTo>
                    <a:pt x="420223" y="1661589"/>
                  </a:lnTo>
                  <a:lnTo>
                    <a:pt x="458724" y="1684573"/>
                  </a:lnTo>
                  <a:lnTo>
                    <a:pt x="498434" y="1705664"/>
                  </a:lnTo>
                  <a:lnTo>
                    <a:pt x="539292" y="1724798"/>
                  </a:lnTo>
                  <a:lnTo>
                    <a:pt x="581236" y="1741915"/>
                  </a:lnTo>
                  <a:lnTo>
                    <a:pt x="624202" y="1756951"/>
                  </a:lnTo>
                  <a:lnTo>
                    <a:pt x="668129" y="1769844"/>
                  </a:lnTo>
                  <a:lnTo>
                    <a:pt x="712954" y="1780533"/>
                  </a:lnTo>
                  <a:lnTo>
                    <a:pt x="758616" y="1788955"/>
                  </a:lnTo>
                  <a:lnTo>
                    <a:pt x="805052" y="1795047"/>
                  </a:lnTo>
                  <a:lnTo>
                    <a:pt x="852200" y="1798748"/>
                  </a:lnTo>
                  <a:lnTo>
                    <a:pt x="899998" y="1799996"/>
                  </a:lnTo>
                  <a:lnTo>
                    <a:pt x="947795" y="1798748"/>
                  </a:lnTo>
                  <a:lnTo>
                    <a:pt x="994943" y="1795047"/>
                  </a:lnTo>
                  <a:lnTo>
                    <a:pt x="1041379" y="1788955"/>
                  </a:lnTo>
                  <a:lnTo>
                    <a:pt x="1087041" y="1780533"/>
                  </a:lnTo>
                  <a:lnTo>
                    <a:pt x="1131867" y="1769844"/>
                  </a:lnTo>
                  <a:lnTo>
                    <a:pt x="1175794" y="1756951"/>
                  </a:lnTo>
                  <a:lnTo>
                    <a:pt x="1218760" y="1741915"/>
                  </a:lnTo>
                  <a:lnTo>
                    <a:pt x="1260703" y="1724798"/>
                  </a:lnTo>
                  <a:lnTo>
                    <a:pt x="1301561" y="1705664"/>
                  </a:lnTo>
                  <a:lnTo>
                    <a:pt x="1341272" y="1684573"/>
                  </a:lnTo>
                  <a:lnTo>
                    <a:pt x="1379773" y="1661589"/>
                  </a:lnTo>
                  <a:lnTo>
                    <a:pt x="1417002" y="1636773"/>
                  </a:lnTo>
                  <a:lnTo>
                    <a:pt x="1452897" y="1610188"/>
                  </a:lnTo>
                  <a:lnTo>
                    <a:pt x="1487397" y="1581895"/>
                  </a:lnTo>
                  <a:lnTo>
                    <a:pt x="1520437" y="1551958"/>
                  </a:lnTo>
                  <a:lnTo>
                    <a:pt x="1551958" y="1520437"/>
                  </a:lnTo>
                  <a:lnTo>
                    <a:pt x="1581895" y="1487397"/>
                  </a:lnTo>
                  <a:lnTo>
                    <a:pt x="1610188" y="1452897"/>
                  </a:lnTo>
                  <a:lnTo>
                    <a:pt x="1636773" y="1417002"/>
                  </a:lnTo>
                  <a:lnTo>
                    <a:pt x="1661589" y="1379773"/>
                  </a:lnTo>
                  <a:lnTo>
                    <a:pt x="1684573" y="1341272"/>
                  </a:lnTo>
                  <a:lnTo>
                    <a:pt x="1705664" y="1301561"/>
                  </a:lnTo>
                  <a:lnTo>
                    <a:pt x="1724798" y="1260703"/>
                  </a:lnTo>
                  <a:lnTo>
                    <a:pt x="1741915" y="1218760"/>
                  </a:lnTo>
                  <a:lnTo>
                    <a:pt x="1756951" y="1175794"/>
                  </a:lnTo>
                  <a:lnTo>
                    <a:pt x="1769844" y="1131867"/>
                  </a:lnTo>
                  <a:lnTo>
                    <a:pt x="1780533" y="1087041"/>
                  </a:lnTo>
                  <a:lnTo>
                    <a:pt x="1788955" y="1041379"/>
                  </a:lnTo>
                  <a:lnTo>
                    <a:pt x="1795047" y="994943"/>
                  </a:lnTo>
                  <a:lnTo>
                    <a:pt x="1798748" y="947795"/>
                  </a:lnTo>
                  <a:lnTo>
                    <a:pt x="1799996" y="899998"/>
                  </a:lnTo>
                  <a:lnTo>
                    <a:pt x="1798748" y="852199"/>
                  </a:lnTo>
                  <a:lnTo>
                    <a:pt x="1795047" y="805050"/>
                  </a:lnTo>
                  <a:lnTo>
                    <a:pt x="1788955" y="758613"/>
                  </a:lnTo>
                  <a:lnTo>
                    <a:pt x="1780533" y="712950"/>
                  </a:lnTo>
                  <a:lnTo>
                    <a:pt x="1769844" y="668124"/>
                  </a:lnTo>
                  <a:lnTo>
                    <a:pt x="1756951" y="624197"/>
                  </a:lnTo>
                  <a:lnTo>
                    <a:pt x="1741915" y="581230"/>
                  </a:lnTo>
                  <a:lnTo>
                    <a:pt x="1724798" y="539287"/>
                  </a:lnTo>
                  <a:lnTo>
                    <a:pt x="1705664" y="498429"/>
                  </a:lnTo>
                  <a:lnTo>
                    <a:pt x="1684573" y="458718"/>
                  </a:lnTo>
                  <a:lnTo>
                    <a:pt x="1661589" y="420217"/>
                  </a:lnTo>
                  <a:lnTo>
                    <a:pt x="1636773" y="382988"/>
                  </a:lnTo>
                  <a:lnTo>
                    <a:pt x="1610188" y="347093"/>
                  </a:lnTo>
                  <a:lnTo>
                    <a:pt x="1581895" y="312594"/>
                  </a:lnTo>
                  <a:lnTo>
                    <a:pt x="1551958" y="279553"/>
                  </a:lnTo>
                  <a:lnTo>
                    <a:pt x="1520437" y="248033"/>
                  </a:lnTo>
                  <a:lnTo>
                    <a:pt x="1487397" y="218096"/>
                  </a:lnTo>
                  <a:lnTo>
                    <a:pt x="1452897" y="189804"/>
                  </a:lnTo>
                  <a:lnTo>
                    <a:pt x="1417002" y="163219"/>
                  </a:lnTo>
                  <a:lnTo>
                    <a:pt x="1379773" y="138403"/>
                  </a:lnTo>
                  <a:lnTo>
                    <a:pt x="1341272" y="115419"/>
                  </a:lnTo>
                  <a:lnTo>
                    <a:pt x="1301561" y="94329"/>
                  </a:lnTo>
                  <a:lnTo>
                    <a:pt x="1260703" y="75195"/>
                  </a:lnTo>
                  <a:lnTo>
                    <a:pt x="1218760" y="58079"/>
                  </a:lnTo>
                  <a:lnTo>
                    <a:pt x="1175794" y="43043"/>
                  </a:lnTo>
                  <a:lnTo>
                    <a:pt x="1131867" y="30150"/>
                  </a:lnTo>
                  <a:lnTo>
                    <a:pt x="1087041" y="19462"/>
                  </a:lnTo>
                  <a:lnTo>
                    <a:pt x="1041379" y="11040"/>
                  </a:lnTo>
                  <a:lnTo>
                    <a:pt x="994943" y="4948"/>
                  </a:lnTo>
                  <a:lnTo>
                    <a:pt x="947795" y="1247"/>
                  </a:lnTo>
                  <a:lnTo>
                    <a:pt x="899998" y="0"/>
                  </a:lnTo>
                  <a:close/>
                </a:path>
              </a:pathLst>
            </a:custGeom>
            <a:solidFill>
              <a:srgbClr val="D1D3D4"/>
            </a:solidFill>
          </p:spPr>
          <p:txBody>
            <a:bodyPr wrap="square" lIns="0" tIns="0" rIns="0" bIns="0" rtlCol="0"/>
            <a:lstStyle/>
            <a:p>
              <a:endParaRPr sz="649"/>
            </a:p>
          </p:txBody>
        </p:sp>
        <p:pic>
          <p:nvPicPr>
            <p:cNvPr id="14" name="object 14"/>
            <p:cNvPicPr/>
            <p:nvPr/>
          </p:nvPicPr>
          <p:blipFill>
            <a:blip r:embed="rId7" cstate="print"/>
            <a:stretch>
              <a:fillRect/>
            </a:stretch>
          </p:blipFill>
          <p:spPr>
            <a:xfrm>
              <a:off x="3790403" y="8779624"/>
              <a:ext cx="553580" cy="311543"/>
            </a:xfrm>
            <a:prstGeom prst="rect">
              <a:avLst/>
            </a:prstGeom>
          </p:spPr>
        </p:pic>
        <p:sp>
          <p:nvSpPr>
            <p:cNvPr id="15" name="object 15"/>
            <p:cNvSpPr/>
            <p:nvPr/>
          </p:nvSpPr>
          <p:spPr>
            <a:xfrm>
              <a:off x="3790398" y="8779625"/>
              <a:ext cx="553720" cy="311785"/>
            </a:xfrm>
            <a:custGeom>
              <a:avLst/>
              <a:gdLst/>
              <a:ahLst/>
              <a:cxnLst/>
              <a:rect l="l" t="t" r="r" b="b"/>
              <a:pathLst>
                <a:path w="553720" h="311784">
                  <a:moveTo>
                    <a:pt x="401180" y="201218"/>
                  </a:moveTo>
                  <a:lnTo>
                    <a:pt x="0" y="201218"/>
                  </a:lnTo>
                  <a:lnTo>
                    <a:pt x="0" y="107314"/>
                  </a:lnTo>
                  <a:lnTo>
                    <a:pt x="403415" y="107314"/>
                  </a:lnTo>
                  <a:lnTo>
                    <a:pt x="405663" y="0"/>
                  </a:lnTo>
                  <a:lnTo>
                    <a:pt x="553580" y="157251"/>
                  </a:lnTo>
                  <a:lnTo>
                    <a:pt x="405663" y="311543"/>
                  </a:lnTo>
                  <a:lnTo>
                    <a:pt x="401180" y="201218"/>
                  </a:lnTo>
                  <a:close/>
                </a:path>
              </a:pathLst>
            </a:custGeom>
            <a:ln w="7620">
              <a:solidFill>
                <a:srgbClr val="E3873E"/>
              </a:solidFill>
            </a:ln>
          </p:spPr>
          <p:txBody>
            <a:bodyPr wrap="square" lIns="0" tIns="0" rIns="0" bIns="0" rtlCol="0"/>
            <a:lstStyle/>
            <a:p>
              <a:endParaRPr sz="649"/>
            </a:p>
          </p:txBody>
        </p:sp>
        <p:pic>
          <p:nvPicPr>
            <p:cNvPr id="16" name="object 16"/>
            <p:cNvPicPr/>
            <p:nvPr/>
          </p:nvPicPr>
          <p:blipFill>
            <a:blip r:embed="rId8" cstate="print"/>
            <a:stretch>
              <a:fillRect/>
            </a:stretch>
          </p:blipFill>
          <p:spPr>
            <a:xfrm>
              <a:off x="4457521" y="8779624"/>
              <a:ext cx="553580" cy="311543"/>
            </a:xfrm>
            <a:prstGeom prst="rect">
              <a:avLst/>
            </a:prstGeom>
          </p:spPr>
        </p:pic>
        <p:sp>
          <p:nvSpPr>
            <p:cNvPr id="17" name="object 17"/>
            <p:cNvSpPr/>
            <p:nvPr/>
          </p:nvSpPr>
          <p:spPr>
            <a:xfrm>
              <a:off x="4457534" y="8779622"/>
              <a:ext cx="553720" cy="311785"/>
            </a:xfrm>
            <a:custGeom>
              <a:avLst/>
              <a:gdLst/>
              <a:ahLst/>
              <a:cxnLst/>
              <a:rect l="l" t="t" r="r" b="b"/>
              <a:pathLst>
                <a:path w="553720" h="311784">
                  <a:moveTo>
                    <a:pt x="152400" y="110324"/>
                  </a:moveTo>
                  <a:lnTo>
                    <a:pt x="553580" y="110324"/>
                  </a:lnTo>
                  <a:lnTo>
                    <a:pt x="553580" y="204228"/>
                  </a:lnTo>
                  <a:lnTo>
                    <a:pt x="150164" y="204228"/>
                  </a:lnTo>
                  <a:lnTo>
                    <a:pt x="147916" y="311543"/>
                  </a:lnTo>
                  <a:lnTo>
                    <a:pt x="0" y="154292"/>
                  </a:lnTo>
                  <a:lnTo>
                    <a:pt x="147916" y="0"/>
                  </a:lnTo>
                  <a:lnTo>
                    <a:pt x="152400" y="110324"/>
                  </a:lnTo>
                  <a:close/>
                </a:path>
              </a:pathLst>
            </a:custGeom>
            <a:ln w="7620">
              <a:solidFill>
                <a:srgbClr val="E3873E"/>
              </a:solidFill>
            </a:ln>
          </p:spPr>
          <p:txBody>
            <a:bodyPr wrap="square" lIns="0" tIns="0" rIns="0" bIns="0" rtlCol="0"/>
            <a:lstStyle/>
            <a:p>
              <a:endParaRPr sz="649"/>
            </a:p>
          </p:txBody>
        </p:sp>
        <p:sp>
          <p:nvSpPr>
            <p:cNvPr id="18" name="object 18"/>
            <p:cNvSpPr/>
            <p:nvPr/>
          </p:nvSpPr>
          <p:spPr>
            <a:xfrm>
              <a:off x="3600575" y="9144735"/>
              <a:ext cx="711835" cy="173355"/>
            </a:xfrm>
            <a:custGeom>
              <a:avLst/>
              <a:gdLst/>
              <a:ahLst/>
              <a:cxnLst/>
              <a:rect l="l" t="t" r="r" b="b"/>
              <a:pathLst>
                <a:path w="711835" h="173354">
                  <a:moveTo>
                    <a:pt x="709650" y="0"/>
                  </a:moveTo>
                  <a:lnTo>
                    <a:pt x="187807" y="0"/>
                  </a:lnTo>
                  <a:lnTo>
                    <a:pt x="0" y="49047"/>
                  </a:lnTo>
                  <a:lnTo>
                    <a:pt x="0" y="124218"/>
                  </a:lnTo>
                  <a:lnTo>
                    <a:pt x="187807" y="173253"/>
                  </a:lnTo>
                  <a:lnTo>
                    <a:pt x="711466" y="173253"/>
                  </a:lnTo>
                  <a:lnTo>
                    <a:pt x="709650" y="0"/>
                  </a:lnTo>
                  <a:close/>
                </a:path>
              </a:pathLst>
            </a:custGeom>
            <a:solidFill>
              <a:srgbClr val="FFFFFF"/>
            </a:solidFill>
          </p:spPr>
          <p:txBody>
            <a:bodyPr wrap="square" lIns="0" tIns="0" rIns="0" bIns="0" rtlCol="0"/>
            <a:lstStyle/>
            <a:p>
              <a:endParaRPr sz="649"/>
            </a:p>
          </p:txBody>
        </p:sp>
        <p:sp>
          <p:nvSpPr>
            <p:cNvPr id="19" name="object 19"/>
            <p:cNvSpPr/>
            <p:nvPr/>
          </p:nvSpPr>
          <p:spPr>
            <a:xfrm>
              <a:off x="3600575" y="9144735"/>
              <a:ext cx="711835" cy="173355"/>
            </a:xfrm>
            <a:custGeom>
              <a:avLst/>
              <a:gdLst/>
              <a:ahLst/>
              <a:cxnLst/>
              <a:rect l="l" t="t" r="r" b="b"/>
              <a:pathLst>
                <a:path w="711835" h="173354">
                  <a:moveTo>
                    <a:pt x="711466" y="173253"/>
                  </a:moveTo>
                  <a:lnTo>
                    <a:pt x="187807" y="173253"/>
                  </a:lnTo>
                  <a:lnTo>
                    <a:pt x="0" y="124218"/>
                  </a:lnTo>
                  <a:lnTo>
                    <a:pt x="0" y="49047"/>
                  </a:lnTo>
                  <a:lnTo>
                    <a:pt x="187807" y="0"/>
                  </a:lnTo>
                  <a:lnTo>
                    <a:pt x="709650" y="0"/>
                  </a:lnTo>
                  <a:lnTo>
                    <a:pt x="711466" y="173253"/>
                  </a:lnTo>
                  <a:close/>
                </a:path>
              </a:pathLst>
            </a:custGeom>
            <a:ln w="25400">
              <a:solidFill>
                <a:srgbClr val="231F20"/>
              </a:solidFill>
            </a:ln>
          </p:spPr>
          <p:txBody>
            <a:bodyPr wrap="square" lIns="0" tIns="0" rIns="0" bIns="0" rtlCol="0"/>
            <a:lstStyle/>
            <a:p>
              <a:endParaRPr sz="649"/>
            </a:p>
          </p:txBody>
        </p:sp>
        <p:sp>
          <p:nvSpPr>
            <p:cNvPr id="20" name="object 20"/>
            <p:cNvSpPr/>
            <p:nvPr/>
          </p:nvSpPr>
          <p:spPr>
            <a:xfrm>
              <a:off x="3624765" y="9190617"/>
              <a:ext cx="0" cy="85725"/>
            </a:xfrm>
            <a:custGeom>
              <a:avLst/>
              <a:gdLst/>
              <a:ahLst/>
              <a:cxnLst/>
              <a:rect l="l" t="t" r="r" b="b"/>
              <a:pathLst>
                <a:path h="85725">
                  <a:moveTo>
                    <a:pt x="0" y="0"/>
                  </a:moveTo>
                  <a:lnTo>
                    <a:pt x="0" y="85128"/>
                  </a:lnTo>
                </a:path>
              </a:pathLst>
            </a:custGeom>
            <a:ln w="12700">
              <a:solidFill>
                <a:srgbClr val="231F20"/>
              </a:solidFill>
            </a:ln>
          </p:spPr>
          <p:txBody>
            <a:bodyPr wrap="square" lIns="0" tIns="0" rIns="0" bIns="0" rtlCol="0"/>
            <a:lstStyle/>
            <a:p>
              <a:endParaRPr sz="649"/>
            </a:p>
          </p:txBody>
        </p:sp>
        <p:sp>
          <p:nvSpPr>
            <p:cNvPr id="21" name="object 21"/>
            <p:cNvSpPr/>
            <p:nvPr/>
          </p:nvSpPr>
          <p:spPr>
            <a:xfrm>
              <a:off x="3645739" y="9190617"/>
              <a:ext cx="0" cy="85725"/>
            </a:xfrm>
            <a:custGeom>
              <a:avLst/>
              <a:gdLst/>
              <a:ahLst/>
              <a:cxnLst/>
              <a:rect l="l" t="t" r="r" b="b"/>
              <a:pathLst>
                <a:path h="85725">
                  <a:moveTo>
                    <a:pt x="0" y="0"/>
                  </a:moveTo>
                  <a:lnTo>
                    <a:pt x="0" y="85128"/>
                  </a:lnTo>
                </a:path>
              </a:pathLst>
            </a:custGeom>
            <a:ln w="12700">
              <a:solidFill>
                <a:srgbClr val="231F20"/>
              </a:solidFill>
            </a:ln>
          </p:spPr>
          <p:txBody>
            <a:bodyPr wrap="square" lIns="0" tIns="0" rIns="0" bIns="0" rtlCol="0"/>
            <a:lstStyle/>
            <a:p>
              <a:endParaRPr sz="649"/>
            </a:p>
          </p:txBody>
        </p:sp>
        <p:sp>
          <p:nvSpPr>
            <p:cNvPr id="22" name="object 22"/>
            <p:cNvSpPr/>
            <p:nvPr/>
          </p:nvSpPr>
          <p:spPr>
            <a:xfrm>
              <a:off x="3673223" y="9177309"/>
              <a:ext cx="0" cy="115570"/>
            </a:xfrm>
            <a:custGeom>
              <a:avLst/>
              <a:gdLst/>
              <a:ahLst/>
              <a:cxnLst/>
              <a:rect l="l" t="t" r="r" b="b"/>
              <a:pathLst>
                <a:path h="115570">
                  <a:moveTo>
                    <a:pt x="0" y="0"/>
                  </a:moveTo>
                  <a:lnTo>
                    <a:pt x="0" y="115036"/>
                  </a:lnTo>
                </a:path>
              </a:pathLst>
            </a:custGeom>
            <a:ln w="12700">
              <a:solidFill>
                <a:srgbClr val="231F20"/>
              </a:solidFill>
            </a:ln>
          </p:spPr>
          <p:txBody>
            <a:bodyPr wrap="square" lIns="0" tIns="0" rIns="0" bIns="0" rtlCol="0"/>
            <a:lstStyle/>
            <a:p>
              <a:endParaRPr sz="649"/>
            </a:p>
          </p:txBody>
        </p:sp>
        <p:sp>
          <p:nvSpPr>
            <p:cNvPr id="23" name="object 23"/>
            <p:cNvSpPr/>
            <p:nvPr/>
          </p:nvSpPr>
          <p:spPr>
            <a:xfrm>
              <a:off x="3692533" y="9173763"/>
              <a:ext cx="0" cy="121920"/>
            </a:xfrm>
            <a:custGeom>
              <a:avLst/>
              <a:gdLst/>
              <a:ahLst/>
              <a:cxnLst/>
              <a:rect l="l" t="t" r="r" b="b"/>
              <a:pathLst>
                <a:path h="121920">
                  <a:moveTo>
                    <a:pt x="0" y="121627"/>
                  </a:moveTo>
                  <a:lnTo>
                    <a:pt x="0" y="0"/>
                  </a:lnTo>
                </a:path>
              </a:pathLst>
            </a:custGeom>
            <a:ln w="12700">
              <a:solidFill>
                <a:srgbClr val="231F20"/>
              </a:solidFill>
            </a:ln>
          </p:spPr>
          <p:txBody>
            <a:bodyPr wrap="square" lIns="0" tIns="0" rIns="0" bIns="0" rtlCol="0"/>
            <a:lstStyle/>
            <a:p>
              <a:endParaRPr sz="649"/>
            </a:p>
          </p:txBody>
        </p:sp>
        <p:sp>
          <p:nvSpPr>
            <p:cNvPr id="24" name="object 24"/>
            <p:cNvSpPr/>
            <p:nvPr/>
          </p:nvSpPr>
          <p:spPr>
            <a:xfrm>
              <a:off x="3770147" y="9151748"/>
              <a:ext cx="0" cy="156210"/>
            </a:xfrm>
            <a:custGeom>
              <a:avLst/>
              <a:gdLst/>
              <a:ahLst/>
              <a:cxnLst/>
              <a:rect l="l" t="t" r="r" b="b"/>
              <a:pathLst>
                <a:path h="156209">
                  <a:moveTo>
                    <a:pt x="0" y="0"/>
                  </a:moveTo>
                  <a:lnTo>
                    <a:pt x="0" y="156032"/>
                  </a:lnTo>
                </a:path>
              </a:pathLst>
            </a:custGeom>
            <a:ln w="12700">
              <a:solidFill>
                <a:srgbClr val="231F20"/>
              </a:solidFill>
            </a:ln>
          </p:spPr>
          <p:txBody>
            <a:bodyPr wrap="square" lIns="0" tIns="0" rIns="0" bIns="0" rtlCol="0"/>
            <a:lstStyle/>
            <a:p>
              <a:endParaRPr sz="649"/>
            </a:p>
          </p:txBody>
        </p:sp>
        <p:sp>
          <p:nvSpPr>
            <p:cNvPr id="25" name="object 25"/>
            <p:cNvSpPr/>
            <p:nvPr/>
          </p:nvSpPr>
          <p:spPr>
            <a:xfrm>
              <a:off x="3789456" y="9147860"/>
              <a:ext cx="0" cy="169545"/>
            </a:xfrm>
            <a:custGeom>
              <a:avLst/>
              <a:gdLst/>
              <a:ahLst/>
              <a:cxnLst/>
              <a:rect l="l" t="t" r="r" b="b"/>
              <a:pathLst>
                <a:path h="169545">
                  <a:moveTo>
                    <a:pt x="0" y="169075"/>
                  </a:moveTo>
                  <a:lnTo>
                    <a:pt x="0" y="0"/>
                  </a:lnTo>
                </a:path>
              </a:pathLst>
            </a:custGeom>
            <a:ln w="12700">
              <a:solidFill>
                <a:srgbClr val="231F20"/>
              </a:solidFill>
            </a:ln>
          </p:spPr>
          <p:txBody>
            <a:bodyPr wrap="square" lIns="0" tIns="0" rIns="0" bIns="0" rtlCol="0"/>
            <a:lstStyle/>
            <a:p>
              <a:endParaRPr sz="649"/>
            </a:p>
          </p:txBody>
        </p:sp>
        <p:sp>
          <p:nvSpPr>
            <p:cNvPr id="26" name="object 26"/>
            <p:cNvSpPr/>
            <p:nvPr/>
          </p:nvSpPr>
          <p:spPr>
            <a:xfrm>
              <a:off x="3721691" y="9160367"/>
              <a:ext cx="0" cy="137160"/>
            </a:xfrm>
            <a:custGeom>
              <a:avLst/>
              <a:gdLst/>
              <a:ahLst/>
              <a:cxnLst/>
              <a:rect l="l" t="t" r="r" b="b"/>
              <a:pathLst>
                <a:path h="137159">
                  <a:moveTo>
                    <a:pt x="0" y="0"/>
                  </a:moveTo>
                  <a:lnTo>
                    <a:pt x="0" y="136931"/>
                  </a:lnTo>
                </a:path>
              </a:pathLst>
            </a:custGeom>
            <a:ln w="12700">
              <a:solidFill>
                <a:srgbClr val="231F20"/>
              </a:solidFill>
            </a:ln>
          </p:spPr>
          <p:txBody>
            <a:bodyPr wrap="square" lIns="0" tIns="0" rIns="0" bIns="0" rtlCol="0"/>
            <a:lstStyle/>
            <a:p>
              <a:endParaRPr sz="649"/>
            </a:p>
          </p:txBody>
        </p:sp>
        <p:sp>
          <p:nvSpPr>
            <p:cNvPr id="27" name="object 27"/>
            <p:cNvSpPr/>
            <p:nvPr/>
          </p:nvSpPr>
          <p:spPr>
            <a:xfrm>
              <a:off x="3740989" y="9161725"/>
              <a:ext cx="0" cy="144780"/>
            </a:xfrm>
            <a:custGeom>
              <a:avLst/>
              <a:gdLst/>
              <a:ahLst/>
              <a:cxnLst/>
              <a:rect l="l" t="t" r="r" b="b"/>
              <a:pathLst>
                <a:path h="144779">
                  <a:moveTo>
                    <a:pt x="0" y="144729"/>
                  </a:moveTo>
                  <a:lnTo>
                    <a:pt x="0" y="0"/>
                  </a:lnTo>
                </a:path>
              </a:pathLst>
            </a:custGeom>
            <a:ln w="12700">
              <a:solidFill>
                <a:srgbClr val="231F20"/>
              </a:solidFill>
            </a:ln>
          </p:spPr>
          <p:txBody>
            <a:bodyPr wrap="square" lIns="0" tIns="0" rIns="0" bIns="0" rtlCol="0"/>
            <a:lstStyle/>
            <a:p>
              <a:endParaRPr sz="649"/>
            </a:p>
          </p:txBody>
        </p:sp>
        <p:sp>
          <p:nvSpPr>
            <p:cNvPr id="28" name="object 28"/>
            <p:cNvSpPr/>
            <p:nvPr/>
          </p:nvSpPr>
          <p:spPr>
            <a:xfrm>
              <a:off x="4158611" y="9297499"/>
              <a:ext cx="151765" cy="15875"/>
            </a:xfrm>
            <a:custGeom>
              <a:avLst/>
              <a:gdLst/>
              <a:ahLst/>
              <a:cxnLst/>
              <a:rect l="l" t="t" r="r" b="b"/>
              <a:pathLst>
                <a:path w="151764" h="15875">
                  <a:moveTo>
                    <a:pt x="151434" y="0"/>
                  </a:moveTo>
                  <a:lnTo>
                    <a:pt x="0" y="0"/>
                  </a:lnTo>
                  <a:lnTo>
                    <a:pt x="0" y="15303"/>
                  </a:lnTo>
                </a:path>
              </a:pathLst>
            </a:custGeom>
            <a:ln w="7620">
              <a:solidFill>
                <a:srgbClr val="231F20"/>
              </a:solidFill>
            </a:ln>
          </p:spPr>
          <p:txBody>
            <a:bodyPr wrap="square" lIns="0" tIns="0" rIns="0" bIns="0" rtlCol="0"/>
            <a:lstStyle/>
            <a:p>
              <a:endParaRPr sz="649"/>
            </a:p>
          </p:txBody>
        </p:sp>
        <p:sp>
          <p:nvSpPr>
            <p:cNvPr id="29" name="object 29"/>
            <p:cNvSpPr/>
            <p:nvPr/>
          </p:nvSpPr>
          <p:spPr>
            <a:xfrm>
              <a:off x="3465163" y="9231160"/>
              <a:ext cx="136525" cy="0"/>
            </a:xfrm>
            <a:custGeom>
              <a:avLst/>
              <a:gdLst/>
              <a:ahLst/>
              <a:cxnLst/>
              <a:rect l="l" t="t" r="r" b="b"/>
              <a:pathLst>
                <a:path w="136525">
                  <a:moveTo>
                    <a:pt x="136436" y="0"/>
                  </a:moveTo>
                  <a:lnTo>
                    <a:pt x="0" y="0"/>
                  </a:lnTo>
                </a:path>
              </a:pathLst>
            </a:custGeom>
            <a:ln w="76200">
              <a:solidFill>
                <a:srgbClr val="231F20"/>
              </a:solidFill>
            </a:ln>
          </p:spPr>
          <p:txBody>
            <a:bodyPr wrap="square" lIns="0" tIns="0" rIns="0" bIns="0" rtlCol="0"/>
            <a:lstStyle/>
            <a:p>
              <a:endParaRPr sz="649"/>
            </a:p>
          </p:txBody>
        </p:sp>
        <p:sp>
          <p:nvSpPr>
            <p:cNvPr id="30" name="object 30"/>
            <p:cNvSpPr/>
            <p:nvPr/>
          </p:nvSpPr>
          <p:spPr>
            <a:xfrm>
              <a:off x="4441921" y="9300643"/>
              <a:ext cx="255270" cy="43180"/>
            </a:xfrm>
            <a:custGeom>
              <a:avLst/>
              <a:gdLst/>
              <a:ahLst/>
              <a:cxnLst/>
              <a:rect l="l" t="t" r="r" b="b"/>
              <a:pathLst>
                <a:path w="255270" h="43179">
                  <a:moveTo>
                    <a:pt x="18148" y="0"/>
                  </a:moveTo>
                  <a:lnTo>
                    <a:pt x="0" y="0"/>
                  </a:lnTo>
                  <a:lnTo>
                    <a:pt x="7099" y="42583"/>
                  </a:lnTo>
                  <a:lnTo>
                    <a:pt x="252641" y="42583"/>
                  </a:lnTo>
                  <a:lnTo>
                    <a:pt x="255015" y="19354"/>
                  </a:lnTo>
                  <a:lnTo>
                    <a:pt x="121958" y="17221"/>
                  </a:lnTo>
                  <a:lnTo>
                    <a:pt x="20866" y="17221"/>
                  </a:lnTo>
                  <a:lnTo>
                    <a:pt x="18148" y="0"/>
                  </a:lnTo>
                  <a:close/>
                </a:path>
              </a:pathLst>
            </a:custGeom>
            <a:solidFill>
              <a:srgbClr val="FFFFFF"/>
            </a:solidFill>
          </p:spPr>
          <p:txBody>
            <a:bodyPr wrap="square" lIns="0" tIns="0" rIns="0" bIns="0" rtlCol="0"/>
            <a:lstStyle/>
            <a:p>
              <a:endParaRPr sz="649"/>
            </a:p>
          </p:txBody>
        </p:sp>
        <p:sp>
          <p:nvSpPr>
            <p:cNvPr id="31" name="object 31"/>
            <p:cNvSpPr/>
            <p:nvPr/>
          </p:nvSpPr>
          <p:spPr>
            <a:xfrm>
              <a:off x="4441921" y="9300643"/>
              <a:ext cx="255270" cy="43180"/>
            </a:xfrm>
            <a:custGeom>
              <a:avLst/>
              <a:gdLst/>
              <a:ahLst/>
              <a:cxnLst/>
              <a:rect l="l" t="t" r="r" b="b"/>
              <a:pathLst>
                <a:path w="255270" h="43179">
                  <a:moveTo>
                    <a:pt x="255015" y="19354"/>
                  </a:moveTo>
                  <a:lnTo>
                    <a:pt x="252641" y="42583"/>
                  </a:lnTo>
                  <a:lnTo>
                    <a:pt x="7099" y="42583"/>
                  </a:lnTo>
                  <a:lnTo>
                    <a:pt x="0" y="0"/>
                  </a:lnTo>
                  <a:lnTo>
                    <a:pt x="18148" y="0"/>
                  </a:lnTo>
                  <a:lnTo>
                    <a:pt x="20866" y="17221"/>
                  </a:lnTo>
                  <a:lnTo>
                    <a:pt x="121958" y="17221"/>
                  </a:lnTo>
                </a:path>
              </a:pathLst>
            </a:custGeom>
            <a:ln w="25399">
              <a:solidFill>
                <a:srgbClr val="231F20"/>
              </a:solidFill>
            </a:ln>
          </p:spPr>
          <p:txBody>
            <a:bodyPr wrap="square" lIns="0" tIns="0" rIns="0" bIns="0" rtlCol="0"/>
            <a:lstStyle/>
            <a:p>
              <a:endParaRPr sz="649"/>
            </a:p>
          </p:txBody>
        </p:sp>
        <p:sp>
          <p:nvSpPr>
            <p:cNvPr id="32" name="object 32"/>
            <p:cNvSpPr/>
            <p:nvPr/>
          </p:nvSpPr>
          <p:spPr>
            <a:xfrm>
              <a:off x="4363213" y="9192316"/>
              <a:ext cx="198755" cy="64769"/>
            </a:xfrm>
            <a:custGeom>
              <a:avLst/>
              <a:gdLst/>
              <a:ahLst/>
              <a:cxnLst/>
              <a:rect l="l" t="t" r="r" b="b"/>
              <a:pathLst>
                <a:path w="198754" h="64770">
                  <a:moveTo>
                    <a:pt x="198513" y="0"/>
                  </a:moveTo>
                  <a:lnTo>
                    <a:pt x="0" y="0"/>
                  </a:lnTo>
                  <a:lnTo>
                    <a:pt x="0" y="64249"/>
                  </a:lnTo>
                  <a:lnTo>
                    <a:pt x="198513" y="64249"/>
                  </a:lnTo>
                  <a:lnTo>
                    <a:pt x="198513" y="0"/>
                  </a:lnTo>
                  <a:close/>
                </a:path>
              </a:pathLst>
            </a:custGeom>
            <a:solidFill>
              <a:srgbClr val="FFFFFF"/>
            </a:solidFill>
          </p:spPr>
          <p:txBody>
            <a:bodyPr wrap="square" lIns="0" tIns="0" rIns="0" bIns="0" rtlCol="0"/>
            <a:lstStyle/>
            <a:p>
              <a:endParaRPr sz="649"/>
            </a:p>
          </p:txBody>
        </p:sp>
        <p:sp>
          <p:nvSpPr>
            <p:cNvPr id="33" name="object 33"/>
            <p:cNvSpPr/>
            <p:nvPr/>
          </p:nvSpPr>
          <p:spPr>
            <a:xfrm>
              <a:off x="4363213" y="9192316"/>
              <a:ext cx="198755" cy="64769"/>
            </a:xfrm>
            <a:custGeom>
              <a:avLst/>
              <a:gdLst/>
              <a:ahLst/>
              <a:cxnLst/>
              <a:rect l="l" t="t" r="r" b="b"/>
              <a:pathLst>
                <a:path w="198754" h="64770">
                  <a:moveTo>
                    <a:pt x="198513" y="0"/>
                  </a:moveTo>
                  <a:lnTo>
                    <a:pt x="0" y="0"/>
                  </a:lnTo>
                  <a:lnTo>
                    <a:pt x="0" y="64249"/>
                  </a:lnTo>
                  <a:lnTo>
                    <a:pt x="198513" y="64249"/>
                  </a:lnTo>
                </a:path>
              </a:pathLst>
            </a:custGeom>
            <a:ln w="25399">
              <a:solidFill>
                <a:srgbClr val="231F20"/>
              </a:solidFill>
            </a:ln>
          </p:spPr>
          <p:txBody>
            <a:bodyPr wrap="square" lIns="0" tIns="0" rIns="0" bIns="0" rtlCol="0"/>
            <a:lstStyle/>
            <a:p>
              <a:endParaRPr sz="649"/>
            </a:p>
          </p:txBody>
        </p:sp>
        <p:sp>
          <p:nvSpPr>
            <p:cNvPr id="34" name="object 34"/>
            <p:cNvSpPr/>
            <p:nvPr/>
          </p:nvSpPr>
          <p:spPr>
            <a:xfrm>
              <a:off x="4562054" y="9144735"/>
              <a:ext cx="471170" cy="173355"/>
            </a:xfrm>
            <a:custGeom>
              <a:avLst/>
              <a:gdLst/>
              <a:ahLst/>
              <a:cxnLst/>
              <a:rect l="l" t="t" r="r" b="b"/>
              <a:pathLst>
                <a:path w="471170" h="173354">
                  <a:moveTo>
                    <a:pt x="282956" y="0"/>
                  </a:moveTo>
                  <a:lnTo>
                    <a:pt x="0" y="0"/>
                  </a:lnTo>
                  <a:lnTo>
                    <a:pt x="1828" y="173253"/>
                  </a:lnTo>
                  <a:lnTo>
                    <a:pt x="282956" y="173253"/>
                  </a:lnTo>
                  <a:lnTo>
                    <a:pt x="470750" y="124218"/>
                  </a:lnTo>
                  <a:lnTo>
                    <a:pt x="470750" y="49047"/>
                  </a:lnTo>
                  <a:lnTo>
                    <a:pt x="282956" y="0"/>
                  </a:lnTo>
                  <a:close/>
                </a:path>
              </a:pathLst>
            </a:custGeom>
            <a:solidFill>
              <a:srgbClr val="FFFFFF"/>
            </a:solidFill>
          </p:spPr>
          <p:txBody>
            <a:bodyPr wrap="square" lIns="0" tIns="0" rIns="0" bIns="0" rtlCol="0"/>
            <a:lstStyle/>
            <a:p>
              <a:endParaRPr sz="649"/>
            </a:p>
          </p:txBody>
        </p:sp>
        <p:sp>
          <p:nvSpPr>
            <p:cNvPr id="35" name="object 35"/>
            <p:cNvSpPr/>
            <p:nvPr/>
          </p:nvSpPr>
          <p:spPr>
            <a:xfrm>
              <a:off x="4562054" y="9144735"/>
              <a:ext cx="471170" cy="173355"/>
            </a:xfrm>
            <a:custGeom>
              <a:avLst/>
              <a:gdLst/>
              <a:ahLst/>
              <a:cxnLst/>
              <a:rect l="l" t="t" r="r" b="b"/>
              <a:pathLst>
                <a:path w="471170" h="173354">
                  <a:moveTo>
                    <a:pt x="1828" y="173253"/>
                  </a:moveTo>
                  <a:lnTo>
                    <a:pt x="282956" y="173253"/>
                  </a:lnTo>
                  <a:lnTo>
                    <a:pt x="470750" y="124218"/>
                  </a:lnTo>
                  <a:lnTo>
                    <a:pt x="470750" y="49047"/>
                  </a:lnTo>
                  <a:lnTo>
                    <a:pt x="282956" y="0"/>
                  </a:lnTo>
                  <a:lnTo>
                    <a:pt x="0" y="0"/>
                  </a:lnTo>
                  <a:lnTo>
                    <a:pt x="1828" y="173253"/>
                  </a:lnTo>
                  <a:close/>
                </a:path>
              </a:pathLst>
            </a:custGeom>
            <a:ln w="25399">
              <a:solidFill>
                <a:srgbClr val="231F20"/>
              </a:solidFill>
            </a:ln>
          </p:spPr>
          <p:txBody>
            <a:bodyPr wrap="square" lIns="0" tIns="0" rIns="0" bIns="0" rtlCol="0"/>
            <a:lstStyle/>
            <a:p>
              <a:endParaRPr sz="649"/>
            </a:p>
          </p:txBody>
        </p:sp>
        <p:sp>
          <p:nvSpPr>
            <p:cNvPr id="36" name="object 36"/>
            <p:cNvSpPr/>
            <p:nvPr/>
          </p:nvSpPr>
          <p:spPr>
            <a:xfrm>
              <a:off x="5012131" y="9189056"/>
              <a:ext cx="0" cy="85725"/>
            </a:xfrm>
            <a:custGeom>
              <a:avLst/>
              <a:gdLst/>
              <a:ahLst/>
              <a:cxnLst/>
              <a:rect l="l" t="t" r="r" b="b"/>
              <a:pathLst>
                <a:path h="85725">
                  <a:moveTo>
                    <a:pt x="0" y="85128"/>
                  </a:moveTo>
                  <a:lnTo>
                    <a:pt x="0" y="0"/>
                  </a:lnTo>
                </a:path>
              </a:pathLst>
            </a:custGeom>
            <a:ln w="12700">
              <a:solidFill>
                <a:srgbClr val="231F20"/>
              </a:solidFill>
            </a:ln>
          </p:spPr>
          <p:txBody>
            <a:bodyPr wrap="square" lIns="0" tIns="0" rIns="0" bIns="0" rtlCol="0"/>
            <a:lstStyle/>
            <a:p>
              <a:endParaRPr sz="649"/>
            </a:p>
          </p:txBody>
        </p:sp>
        <p:sp>
          <p:nvSpPr>
            <p:cNvPr id="37" name="object 37"/>
            <p:cNvSpPr/>
            <p:nvPr/>
          </p:nvSpPr>
          <p:spPr>
            <a:xfrm>
              <a:off x="4991157" y="9189056"/>
              <a:ext cx="0" cy="85725"/>
            </a:xfrm>
            <a:custGeom>
              <a:avLst/>
              <a:gdLst/>
              <a:ahLst/>
              <a:cxnLst/>
              <a:rect l="l" t="t" r="r" b="b"/>
              <a:pathLst>
                <a:path h="85725">
                  <a:moveTo>
                    <a:pt x="0" y="85128"/>
                  </a:moveTo>
                  <a:lnTo>
                    <a:pt x="0" y="0"/>
                  </a:lnTo>
                </a:path>
              </a:pathLst>
            </a:custGeom>
            <a:ln w="12700">
              <a:solidFill>
                <a:srgbClr val="231F20"/>
              </a:solidFill>
            </a:ln>
          </p:spPr>
          <p:txBody>
            <a:bodyPr wrap="square" lIns="0" tIns="0" rIns="0" bIns="0" rtlCol="0"/>
            <a:lstStyle/>
            <a:p>
              <a:endParaRPr sz="649"/>
            </a:p>
          </p:txBody>
        </p:sp>
        <p:sp>
          <p:nvSpPr>
            <p:cNvPr id="38" name="object 38"/>
            <p:cNvSpPr/>
            <p:nvPr/>
          </p:nvSpPr>
          <p:spPr>
            <a:xfrm>
              <a:off x="4963674" y="9172468"/>
              <a:ext cx="0" cy="115570"/>
            </a:xfrm>
            <a:custGeom>
              <a:avLst/>
              <a:gdLst/>
              <a:ahLst/>
              <a:cxnLst/>
              <a:rect l="l" t="t" r="r" b="b"/>
              <a:pathLst>
                <a:path h="115570">
                  <a:moveTo>
                    <a:pt x="0" y="115023"/>
                  </a:moveTo>
                  <a:lnTo>
                    <a:pt x="0" y="0"/>
                  </a:lnTo>
                </a:path>
              </a:pathLst>
            </a:custGeom>
            <a:ln w="12700">
              <a:solidFill>
                <a:srgbClr val="231F20"/>
              </a:solidFill>
            </a:ln>
          </p:spPr>
          <p:txBody>
            <a:bodyPr wrap="square" lIns="0" tIns="0" rIns="0" bIns="0" rtlCol="0"/>
            <a:lstStyle/>
            <a:p>
              <a:endParaRPr sz="649"/>
            </a:p>
          </p:txBody>
        </p:sp>
        <p:sp>
          <p:nvSpPr>
            <p:cNvPr id="39" name="object 39"/>
            <p:cNvSpPr/>
            <p:nvPr/>
          </p:nvSpPr>
          <p:spPr>
            <a:xfrm>
              <a:off x="4944363" y="9169409"/>
              <a:ext cx="0" cy="121920"/>
            </a:xfrm>
            <a:custGeom>
              <a:avLst/>
              <a:gdLst/>
              <a:ahLst/>
              <a:cxnLst/>
              <a:rect l="l" t="t" r="r" b="b"/>
              <a:pathLst>
                <a:path h="121920">
                  <a:moveTo>
                    <a:pt x="0" y="0"/>
                  </a:moveTo>
                  <a:lnTo>
                    <a:pt x="0" y="121627"/>
                  </a:lnTo>
                </a:path>
              </a:pathLst>
            </a:custGeom>
            <a:ln w="12700">
              <a:solidFill>
                <a:srgbClr val="231F20"/>
              </a:solidFill>
            </a:ln>
          </p:spPr>
          <p:txBody>
            <a:bodyPr wrap="square" lIns="0" tIns="0" rIns="0" bIns="0" rtlCol="0"/>
            <a:lstStyle/>
            <a:p>
              <a:endParaRPr sz="649"/>
            </a:p>
          </p:txBody>
        </p:sp>
        <p:sp>
          <p:nvSpPr>
            <p:cNvPr id="40" name="object 40"/>
            <p:cNvSpPr/>
            <p:nvPr/>
          </p:nvSpPr>
          <p:spPr>
            <a:xfrm>
              <a:off x="4866749" y="9157021"/>
              <a:ext cx="0" cy="156210"/>
            </a:xfrm>
            <a:custGeom>
              <a:avLst/>
              <a:gdLst/>
              <a:ahLst/>
              <a:cxnLst/>
              <a:rect l="l" t="t" r="r" b="b"/>
              <a:pathLst>
                <a:path h="156209">
                  <a:moveTo>
                    <a:pt x="0" y="156032"/>
                  </a:moveTo>
                  <a:lnTo>
                    <a:pt x="0" y="0"/>
                  </a:lnTo>
                </a:path>
              </a:pathLst>
            </a:custGeom>
            <a:ln w="12700">
              <a:solidFill>
                <a:srgbClr val="231F20"/>
              </a:solidFill>
            </a:ln>
          </p:spPr>
          <p:txBody>
            <a:bodyPr wrap="square" lIns="0" tIns="0" rIns="0" bIns="0" rtlCol="0"/>
            <a:lstStyle/>
            <a:p>
              <a:endParaRPr sz="649"/>
            </a:p>
          </p:txBody>
        </p:sp>
        <p:sp>
          <p:nvSpPr>
            <p:cNvPr id="41" name="object 41"/>
            <p:cNvSpPr/>
            <p:nvPr/>
          </p:nvSpPr>
          <p:spPr>
            <a:xfrm>
              <a:off x="4847438" y="9147866"/>
              <a:ext cx="0" cy="169545"/>
            </a:xfrm>
            <a:custGeom>
              <a:avLst/>
              <a:gdLst/>
              <a:ahLst/>
              <a:cxnLst/>
              <a:rect l="l" t="t" r="r" b="b"/>
              <a:pathLst>
                <a:path h="169545">
                  <a:moveTo>
                    <a:pt x="0" y="0"/>
                  </a:moveTo>
                  <a:lnTo>
                    <a:pt x="0" y="169075"/>
                  </a:lnTo>
                </a:path>
              </a:pathLst>
            </a:custGeom>
            <a:ln w="12700">
              <a:solidFill>
                <a:srgbClr val="231F20"/>
              </a:solidFill>
            </a:ln>
          </p:spPr>
          <p:txBody>
            <a:bodyPr wrap="square" lIns="0" tIns="0" rIns="0" bIns="0" rtlCol="0"/>
            <a:lstStyle/>
            <a:p>
              <a:endParaRPr sz="649"/>
            </a:p>
          </p:txBody>
        </p:sp>
        <p:sp>
          <p:nvSpPr>
            <p:cNvPr id="42" name="object 42"/>
            <p:cNvSpPr/>
            <p:nvPr/>
          </p:nvSpPr>
          <p:spPr>
            <a:xfrm>
              <a:off x="4915205" y="9167513"/>
              <a:ext cx="0" cy="137160"/>
            </a:xfrm>
            <a:custGeom>
              <a:avLst/>
              <a:gdLst/>
              <a:ahLst/>
              <a:cxnLst/>
              <a:rect l="l" t="t" r="r" b="b"/>
              <a:pathLst>
                <a:path h="137159">
                  <a:moveTo>
                    <a:pt x="0" y="136918"/>
                  </a:moveTo>
                  <a:lnTo>
                    <a:pt x="0" y="0"/>
                  </a:lnTo>
                </a:path>
              </a:pathLst>
            </a:custGeom>
            <a:ln w="12700">
              <a:solidFill>
                <a:srgbClr val="231F20"/>
              </a:solidFill>
            </a:ln>
          </p:spPr>
          <p:txBody>
            <a:bodyPr wrap="square" lIns="0" tIns="0" rIns="0" bIns="0" rtlCol="0"/>
            <a:lstStyle/>
            <a:p>
              <a:endParaRPr sz="649"/>
            </a:p>
          </p:txBody>
        </p:sp>
        <p:sp>
          <p:nvSpPr>
            <p:cNvPr id="43" name="object 43"/>
            <p:cNvSpPr/>
            <p:nvPr/>
          </p:nvSpPr>
          <p:spPr>
            <a:xfrm>
              <a:off x="4895907" y="9158358"/>
              <a:ext cx="0" cy="144780"/>
            </a:xfrm>
            <a:custGeom>
              <a:avLst/>
              <a:gdLst/>
              <a:ahLst/>
              <a:cxnLst/>
              <a:rect l="l" t="t" r="r" b="b"/>
              <a:pathLst>
                <a:path h="144779">
                  <a:moveTo>
                    <a:pt x="0" y="0"/>
                  </a:moveTo>
                  <a:lnTo>
                    <a:pt x="0" y="144729"/>
                  </a:lnTo>
                </a:path>
              </a:pathLst>
            </a:custGeom>
            <a:ln w="12700">
              <a:solidFill>
                <a:srgbClr val="231F20"/>
              </a:solidFill>
            </a:ln>
          </p:spPr>
          <p:txBody>
            <a:bodyPr wrap="square" lIns="0" tIns="0" rIns="0" bIns="0" rtlCol="0"/>
            <a:lstStyle/>
            <a:p>
              <a:endParaRPr sz="649"/>
            </a:p>
          </p:txBody>
        </p:sp>
        <p:sp>
          <p:nvSpPr>
            <p:cNvPr id="44" name="object 44"/>
            <p:cNvSpPr/>
            <p:nvPr/>
          </p:nvSpPr>
          <p:spPr>
            <a:xfrm>
              <a:off x="5035974" y="9231160"/>
              <a:ext cx="205104" cy="0"/>
            </a:xfrm>
            <a:custGeom>
              <a:avLst/>
              <a:gdLst/>
              <a:ahLst/>
              <a:cxnLst/>
              <a:rect l="l" t="t" r="r" b="b"/>
              <a:pathLst>
                <a:path w="205104">
                  <a:moveTo>
                    <a:pt x="204977" y="0"/>
                  </a:moveTo>
                  <a:lnTo>
                    <a:pt x="0" y="0"/>
                  </a:lnTo>
                </a:path>
              </a:pathLst>
            </a:custGeom>
            <a:ln w="76200">
              <a:solidFill>
                <a:srgbClr val="231F20"/>
              </a:solidFill>
            </a:ln>
          </p:spPr>
          <p:txBody>
            <a:bodyPr wrap="square" lIns="0" tIns="0" rIns="0" bIns="0" rtlCol="0"/>
            <a:lstStyle/>
            <a:p>
              <a:endParaRPr sz="649"/>
            </a:p>
          </p:txBody>
        </p:sp>
        <p:sp>
          <p:nvSpPr>
            <p:cNvPr id="45" name="object 45"/>
            <p:cNvSpPr/>
            <p:nvPr/>
          </p:nvSpPr>
          <p:spPr>
            <a:xfrm>
              <a:off x="3454077" y="8277906"/>
              <a:ext cx="1800225" cy="1800225"/>
            </a:xfrm>
            <a:custGeom>
              <a:avLst/>
              <a:gdLst/>
              <a:ahLst/>
              <a:cxnLst/>
              <a:rect l="l" t="t" r="r" b="b"/>
              <a:pathLst>
                <a:path w="1800225" h="1800225">
                  <a:moveTo>
                    <a:pt x="1799996" y="899998"/>
                  </a:moveTo>
                  <a:lnTo>
                    <a:pt x="1798748" y="947795"/>
                  </a:lnTo>
                  <a:lnTo>
                    <a:pt x="1795047" y="994943"/>
                  </a:lnTo>
                  <a:lnTo>
                    <a:pt x="1788955" y="1041379"/>
                  </a:lnTo>
                  <a:lnTo>
                    <a:pt x="1780533" y="1087041"/>
                  </a:lnTo>
                  <a:lnTo>
                    <a:pt x="1769844" y="1131867"/>
                  </a:lnTo>
                  <a:lnTo>
                    <a:pt x="1756951" y="1175794"/>
                  </a:lnTo>
                  <a:lnTo>
                    <a:pt x="1741915" y="1218760"/>
                  </a:lnTo>
                  <a:lnTo>
                    <a:pt x="1724798" y="1260703"/>
                  </a:lnTo>
                  <a:lnTo>
                    <a:pt x="1705664" y="1301561"/>
                  </a:lnTo>
                  <a:lnTo>
                    <a:pt x="1684573" y="1341272"/>
                  </a:lnTo>
                  <a:lnTo>
                    <a:pt x="1661589" y="1379773"/>
                  </a:lnTo>
                  <a:lnTo>
                    <a:pt x="1636773" y="1417002"/>
                  </a:lnTo>
                  <a:lnTo>
                    <a:pt x="1610188" y="1452897"/>
                  </a:lnTo>
                  <a:lnTo>
                    <a:pt x="1581895" y="1487397"/>
                  </a:lnTo>
                  <a:lnTo>
                    <a:pt x="1551958" y="1520437"/>
                  </a:lnTo>
                  <a:lnTo>
                    <a:pt x="1520437" y="1551958"/>
                  </a:lnTo>
                  <a:lnTo>
                    <a:pt x="1487397" y="1581895"/>
                  </a:lnTo>
                  <a:lnTo>
                    <a:pt x="1452897" y="1610188"/>
                  </a:lnTo>
                  <a:lnTo>
                    <a:pt x="1417002" y="1636773"/>
                  </a:lnTo>
                  <a:lnTo>
                    <a:pt x="1379773" y="1661589"/>
                  </a:lnTo>
                  <a:lnTo>
                    <a:pt x="1341272" y="1684573"/>
                  </a:lnTo>
                  <a:lnTo>
                    <a:pt x="1301561" y="1705664"/>
                  </a:lnTo>
                  <a:lnTo>
                    <a:pt x="1260703" y="1724798"/>
                  </a:lnTo>
                  <a:lnTo>
                    <a:pt x="1218760" y="1741915"/>
                  </a:lnTo>
                  <a:lnTo>
                    <a:pt x="1175794" y="1756951"/>
                  </a:lnTo>
                  <a:lnTo>
                    <a:pt x="1131867" y="1769844"/>
                  </a:lnTo>
                  <a:lnTo>
                    <a:pt x="1087041" y="1780533"/>
                  </a:lnTo>
                  <a:lnTo>
                    <a:pt x="1041379" y="1788955"/>
                  </a:lnTo>
                  <a:lnTo>
                    <a:pt x="994943" y="1795047"/>
                  </a:lnTo>
                  <a:lnTo>
                    <a:pt x="947795" y="1798748"/>
                  </a:lnTo>
                  <a:lnTo>
                    <a:pt x="899998" y="1799996"/>
                  </a:lnTo>
                  <a:lnTo>
                    <a:pt x="852200" y="1798748"/>
                  </a:lnTo>
                  <a:lnTo>
                    <a:pt x="805052" y="1795047"/>
                  </a:lnTo>
                  <a:lnTo>
                    <a:pt x="758616" y="1788955"/>
                  </a:lnTo>
                  <a:lnTo>
                    <a:pt x="712954" y="1780533"/>
                  </a:lnTo>
                  <a:lnTo>
                    <a:pt x="668129" y="1769844"/>
                  </a:lnTo>
                  <a:lnTo>
                    <a:pt x="624202" y="1756951"/>
                  </a:lnTo>
                  <a:lnTo>
                    <a:pt x="581236" y="1741915"/>
                  </a:lnTo>
                  <a:lnTo>
                    <a:pt x="539292" y="1724798"/>
                  </a:lnTo>
                  <a:lnTo>
                    <a:pt x="498434" y="1705664"/>
                  </a:lnTo>
                  <a:lnTo>
                    <a:pt x="458724" y="1684573"/>
                  </a:lnTo>
                  <a:lnTo>
                    <a:pt x="420223" y="1661589"/>
                  </a:lnTo>
                  <a:lnTo>
                    <a:pt x="382993" y="1636773"/>
                  </a:lnTo>
                  <a:lnTo>
                    <a:pt x="347098" y="1610188"/>
                  </a:lnTo>
                  <a:lnTo>
                    <a:pt x="312599" y="1581895"/>
                  </a:lnTo>
                  <a:lnTo>
                    <a:pt x="279558" y="1551958"/>
                  </a:lnTo>
                  <a:lnTo>
                    <a:pt x="248038" y="1520437"/>
                  </a:lnTo>
                  <a:lnTo>
                    <a:pt x="218100" y="1487397"/>
                  </a:lnTo>
                  <a:lnTo>
                    <a:pt x="189808" y="1452897"/>
                  </a:lnTo>
                  <a:lnTo>
                    <a:pt x="163222" y="1417002"/>
                  </a:lnTo>
                  <a:lnTo>
                    <a:pt x="138406" y="1379773"/>
                  </a:lnTo>
                  <a:lnTo>
                    <a:pt x="115422" y="1341272"/>
                  </a:lnTo>
                  <a:lnTo>
                    <a:pt x="94332" y="1301561"/>
                  </a:lnTo>
                  <a:lnTo>
                    <a:pt x="75197" y="1260703"/>
                  </a:lnTo>
                  <a:lnTo>
                    <a:pt x="58081" y="1218760"/>
                  </a:lnTo>
                  <a:lnTo>
                    <a:pt x="43044" y="1175794"/>
                  </a:lnTo>
                  <a:lnTo>
                    <a:pt x="30151" y="1131867"/>
                  </a:lnTo>
                  <a:lnTo>
                    <a:pt x="19462" y="1087041"/>
                  </a:lnTo>
                  <a:lnTo>
                    <a:pt x="11041" y="1041379"/>
                  </a:lnTo>
                  <a:lnTo>
                    <a:pt x="4948" y="994943"/>
                  </a:lnTo>
                  <a:lnTo>
                    <a:pt x="1247" y="947795"/>
                  </a:lnTo>
                  <a:lnTo>
                    <a:pt x="0" y="899998"/>
                  </a:lnTo>
                  <a:lnTo>
                    <a:pt x="1247" y="852199"/>
                  </a:lnTo>
                  <a:lnTo>
                    <a:pt x="4948" y="805050"/>
                  </a:lnTo>
                  <a:lnTo>
                    <a:pt x="11041" y="758613"/>
                  </a:lnTo>
                  <a:lnTo>
                    <a:pt x="19462" y="712950"/>
                  </a:lnTo>
                  <a:lnTo>
                    <a:pt x="30151" y="668124"/>
                  </a:lnTo>
                  <a:lnTo>
                    <a:pt x="43044" y="624197"/>
                  </a:lnTo>
                  <a:lnTo>
                    <a:pt x="58081" y="581230"/>
                  </a:lnTo>
                  <a:lnTo>
                    <a:pt x="75197" y="539287"/>
                  </a:lnTo>
                  <a:lnTo>
                    <a:pt x="94332" y="498429"/>
                  </a:lnTo>
                  <a:lnTo>
                    <a:pt x="115422" y="458718"/>
                  </a:lnTo>
                  <a:lnTo>
                    <a:pt x="138406" y="420217"/>
                  </a:lnTo>
                  <a:lnTo>
                    <a:pt x="163222" y="382988"/>
                  </a:lnTo>
                  <a:lnTo>
                    <a:pt x="189808" y="347093"/>
                  </a:lnTo>
                  <a:lnTo>
                    <a:pt x="218100" y="312594"/>
                  </a:lnTo>
                  <a:lnTo>
                    <a:pt x="248038" y="279553"/>
                  </a:lnTo>
                  <a:lnTo>
                    <a:pt x="279558" y="248033"/>
                  </a:lnTo>
                  <a:lnTo>
                    <a:pt x="312599" y="218096"/>
                  </a:lnTo>
                  <a:lnTo>
                    <a:pt x="347098" y="189804"/>
                  </a:lnTo>
                  <a:lnTo>
                    <a:pt x="382993" y="163219"/>
                  </a:lnTo>
                  <a:lnTo>
                    <a:pt x="420223" y="138403"/>
                  </a:lnTo>
                  <a:lnTo>
                    <a:pt x="458724" y="115419"/>
                  </a:lnTo>
                  <a:lnTo>
                    <a:pt x="498434" y="94329"/>
                  </a:lnTo>
                  <a:lnTo>
                    <a:pt x="539292" y="75195"/>
                  </a:lnTo>
                  <a:lnTo>
                    <a:pt x="581236" y="58079"/>
                  </a:lnTo>
                  <a:lnTo>
                    <a:pt x="624202" y="43043"/>
                  </a:lnTo>
                  <a:lnTo>
                    <a:pt x="668129" y="30150"/>
                  </a:lnTo>
                  <a:lnTo>
                    <a:pt x="712954" y="19462"/>
                  </a:lnTo>
                  <a:lnTo>
                    <a:pt x="758616" y="11040"/>
                  </a:lnTo>
                  <a:lnTo>
                    <a:pt x="805052" y="4948"/>
                  </a:lnTo>
                  <a:lnTo>
                    <a:pt x="852200" y="1247"/>
                  </a:lnTo>
                  <a:lnTo>
                    <a:pt x="899998" y="0"/>
                  </a:lnTo>
                  <a:lnTo>
                    <a:pt x="947795" y="1247"/>
                  </a:lnTo>
                  <a:lnTo>
                    <a:pt x="994943" y="4948"/>
                  </a:lnTo>
                  <a:lnTo>
                    <a:pt x="1041379" y="11040"/>
                  </a:lnTo>
                  <a:lnTo>
                    <a:pt x="1087041" y="19462"/>
                  </a:lnTo>
                  <a:lnTo>
                    <a:pt x="1131867" y="30150"/>
                  </a:lnTo>
                  <a:lnTo>
                    <a:pt x="1175794" y="43043"/>
                  </a:lnTo>
                  <a:lnTo>
                    <a:pt x="1218760" y="58079"/>
                  </a:lnTo>
                  <a:lnTo>
                    <a:pt x="1260703" y="75195"/>
                  </a:lnTo>
                  <a:lnTo>
                    <a:pt x="1301561" y="94329"/>
                  </a:lnTo>
                  <a:lnTo>
                    <a:pt x="1341272" y="115419"/>
                  </a:lnTo>
                  <a:lnTo>
                    <a:pt x="1379773" y="138403"/>
                  </a:lnTo>
                  <a:lnTo>
                    <a:pt x="1417002" y="163219"/>
                  </a:lnTo>
                  <a:lnTo>
                    <a:pt x="1452897" y="189804"/>
                  </a:lnTo>
                  <a:lnTo>
                    <a:pt x="1487397" y="218096"/>
                  </a:lnTo>
                  <a:lnTo>
                    <a:pt x="1520437" y="248033"/>
                  </a:lnTo>
                  <a:lnTo>
                    <a:pt x="1551958" y="279553"/>
                  </a:lnTo>
                  <a:lnTo>
                    <a:pt x="1581895" y="312594"/>
                  </a:lnTo>
                  <a:lnTo>
                    <a:pt x="1610188" y="347093"/>
                  </a:lnTo>
                  <a:lnTo>
                    <a:pt x="1636773" y="382988"/>
                  </a:lnTo>
                  <a:lnTo>
                    <a:pt x="1661589" y="420217"/>
                  </a:lnTo>
                  <a:lnTo>
                    <a:pt x="1684573" y="458718"/>
                  </a:lnTo>
                  <a:lnTo>
                    <a:pt x="1705664" y="498429"/>
                  </a:lnTo>
                  <a:lnTo>
                    <a:pt x="1724798" y="539287"/>
                  </a:lnTo>
                  <a:lnTo>
                    <a:pt x="1741915" y="581230"/>
                  </a:lnTo>
                  <a:lnTo>
                    <a:pt x="1756951" y="624197"/>
                  </a:lnTo>
                  <a:lnTo>
                    <a:pt x="1769844" y="668124"/>
                  </a:lnTo>
                  <a:lnTo>
                    <a:pt x="1780533" y="712950"/>
                  </a:lnTo>
                  <a:lnTo>
                    <a:pt x="1788955" y="758613"/>
                  </a:lnTo>
                  <a:lnTo>
                    <a:pt x="1795047" y="805050"/>
                  </a:lnTo>
                  <a:lnTo>
                    <a:pt x="1798748" y="852199"/>
                  </a:lnTo>
                  <a:lnTo>
                    <a:pt x="1799996" y="899998"/>
                  </a:lnTo>
                  <a:close/>
                </a:path>
              </a:pathLst>
            </a:custGeom>
            <a:ln w="25400">
              <a:solidFill>
                <a:srgbClr val="E3873E"/>
              </a:solidFill>
              <a:prstDash val="sysDash"/>
            </a:ln>
          </p:spPr>
          <p:txBody>
            <a:bodyPr wrap="square" lIns="0" tIns="0" rIns="0" bIns="0" rtlCol="0"/>
            <a:lstStyle/>
            <a:p>
              <a:endParaRPr sz="649"/>
            </a:p>
          </p:txBody>
        </p:sp>
        <p:sp>
          <p:nvSpPr>
            <p:cNvPr id="46" name="object 46"/>
            <p:cNvSpPr/>
            <p:nvPr/>
          </p:nvSpPr>
          <p:spPr>
            <a:xfrm>
              <a:off x="1760372" y="6824686"/>
              <a:ext cx="1800225" cy="1800225"/>
            </a:xfrm>
            <a:custGeom>
              <a:avLst/>
              <a:gdLst/>
              <a:ahLst/>
              <a:cxnLst/>
              <a:rect l="l" t="t" r="r" b="b"/>
              <a:pathLst>
                <a:path w="1800225" h="1800225">
                  <a:moveTo>
                    <a:pt x="899998" y="0"/>
                  </a:moveTo>
                  <a:lnTo>
                    <a:pt x="852200" y="1247"/>
                  </a:lnTo>
                  <a:lnTo>
                    <a:pt x="805052" y="4948"/>
                  </a:lnTo>
                  <a:lnTo>
                    <a:pt x="758616" y="11041"/>
                  </a:lnTo>
                  <a:lnTo>
                    <a:pt x="712954" y="19462"/>
                  </a:lnTo>
                  <a:lnTo>
                    <a:pt x="668129" y="30151"/>
                  </a:lnTo>
                  <a:lnTo>
                    <a:pt x="624202" y="43044"/>
                  </a:lnTo>
                  <a:lnTo>
                    <a:pt x="581236" y="58081"/>
                  </a:lnTo>
                  <a:lnTo>
                    <a:pt x="539292" y="75197"/>
                  </a:lnTo>
                  <a:lnTo>
                    <a:pt x="498434" y="94332"/>
                  </a:lnTo>
                  <a:lnTo>
                    <a:pt x="458724" y="115422"/>
                  </a:lnTo>
                  <a:lnTo>
                    <a:pt x="420223" y="138406"/>
                  </a:lnTo>
                  <a:lnTo>
                    <a:pt x="382993" y="163222"/>
                  </a:lnTo>
                  <a:lnTo>
                    <a:pt x="347098" y="189808"/>
                  </a:lnTo>
                  <a:lnTo>
                    <a:pt x="312599" y="218100"/>
                  </a:lnTo>
                  <a:lnTo>
                    <a:pt x="279558" y="248038"/>
                  </a:lnTo>
                  <a:lnTo>
                    <a:pt x="248038" y="279558"/>
                  </a:lnTo>
                  <a:lnTo>
                    <a:pt x="218100" y="312599"/>
                  </a:lnTo>
                  <a:lnTo>
                    <a:pt x="189808" y="347098"/>
                  </a:lnTo>
                  <a:lnTo>
                    <a:pt x="163222" y="382993"/>
                  </a:lnTo>
                  <a:lnTo>
                    <a:pt x="138406" y="420223"/>
                  </a:lnTo>
                  <a:lnTo>
                    <a:pt x="115422" y="458724"/>
                  </a:lnTo>
                  <a:lnTo>
                    <a:pt x="94332" y="498434"/>
                  </a:lnTo>
                  <a:lnTo>
                    <a:pt x="75197" y="539292"/>
                  </a:lnTo>
                  <a:lnTo>
                    <a:pt x="58081" y="581236"/>
                  </a:lnTo>
                  <a:lnTo>
                    <a:pt x="43044" y="624202"/>
                  </a:lnTo>
                  <a:lnTo>
                    <a:pt x="30151" y="668129"/>
                  </a:lnTo>
                  <a:lnTo>
                    <a:pt x="19462" y="712954"/>
                  </a:lnTo>
                  <a:lnTo>
                    <a:pt x="11041" y="758616"/>
                  </a:lnTo>
                  <a:lnTo>
                    <a:pt x="4948" y="805052"/>
                  </a:lnTo>
                  <a:lnTo>
                    <a:pt x="1247" y="852200"/>
                  </a:lnTo>
                  <a:lnTo>
                    <a:pt x="0" y="899998"/>
                  </a:lnTo>
                  <a:lnTo>
                    <a:pt x="1247" y="947797"/>
                  </a:lnTo>
                  <a:lnTo>
                    <a:pt x="4948" y="994946"/>
                  </a:lnTo>
                  <a:lnTo>
                    <a:pt x="11041" y="1041382"/>
                  </a:lnTo>
                  <a:lnTo>
                    <a:pt x="19462" y="1087045"/>
                  </a:lnTo>
                  <a:lnTo>
                    <a:pt x="30151" y="1131871"/>
                  </a:lnTo>
                  <a:lnTo>
                    <a:pt x="43044" y="1175798"/>
                  </a:lnTo>
                  <a:lnTo>
                    <a:pt x="58081" y="1218765"/>
                  </a:lnTo>
                  <a:lnTo>
                    <a:pt x="75197" y="1260708"/>
                  </a:lnTo>
                  <a:lnTo>
                    <a:pt x="94332" y="1301567"/>
                  </a:lnTo>
                  <a:lnTo>
                    <a:pt x="115422" y="1341277"/>
                  </a:lnTo>
                  <a:lnTo>
                    <a:pt x="138406" y="1379778"/>
                  </a:lnTo>
                  <a:lnTo>
                    <a:pt x="163222" y="1417008"/>
                  </a:lnTo>
                  <a:lnTo>
                    <a:pt x="189808" y="1452903"/>
                  </a:lnTo>
                  <a:lnTo>
                    <a:pt x="218100" y="1487402"/>
                  </a:lnTo>
                  <a:lnTo>
                    <a:pt x="248038" y="1520442"/>
                  </a:lnTo>
                  <a:lnTo>
                    <a:pt x="279558" y="1551962"/>
                  </a:lnTo>
                  <a:lnTo>
                    <a:pt x="312599" y="1581899"/>
                  </a:lnTo>
                  <a:lnTo>
                    <a:pt x="347098" y="1610192"/>
                  </a:lnTo>
                  <a:lnTo>
                    <a:pt x="382993" y="1636776"/>
                  </a:lnTo>
                  <a:lnTo>
                    <a:pt x="420223" y="1661592"/>
                  </a:lnTo>
                  <a:lnTo>
                    <a:pt x="458724" y="1684576"/>
                  </a:lnTo>
                  <a:lnTo>
                    <a:pt x="498434" y="1705666"/>
                  </a:lnTo>
                  <a:lnTo>
                    <a:pt x="539292" y="1724800"/>
                  </a:lnTo>
                  <a:lnTo>
                    <a:pt x="581236" y="1741916"/>
                  </a:lnTo>
                  <a:lnTo>
                    <a:pt x="624202" y="1756952"/>
                  </a:lnTo>
                  <a:lnTo>
                    <a:pt x="668129" y="1769845"/>
                  </a:lnTo>
                  <a:lnTo>
                    <a:pt x="712954" y="1780534"/>
                  </a:lnTo>
                  <a:lnTo>
                    <a:pt x="758616" y="1788955"/>
                  </a:lnTo>
                  <a:lnTo>
                    <a:pt x="805052" y="1795047"/>
                  </a:lnTo>
                  <a:lnTo>
                    <a:pt x="852200" y="1798748"/>
                  </a:lnTo>
                  <a:lnTo>
                    <a:pt x="899998" y="1799996"/>
                  </a:lnTo>
                  <a:lnTo>
                    <a:pt x="947795" y="1798748"/>
                  </a:lnTo>
                  <a:lnTo>
                    <a:pt x="994943" y="1795047"/>
                  </a:lnTo>
                  <a:lnTo>
                    <a:pt x="1041379" y="1788955"/>
                  </a:lnTo>
                  <a:lnTo>
                    <a:pt x="1087041" y="1780534"/>
                  </a:lnTo>
                  <a:lnTo>
                    <a:pt x="1131867" y="1769845"/>
                  </a:lnTo>
                  <a:lnTo>
                    <a:pt x="1175794" y="1756952"/>
                  </a:lnTo>
                  <a:lnTo>
                    <a:pt x="1218760" y="1741916"/>
                  </a:lnTo>
                  <a:lnTo>
                    <a:pt x="1260703" y="1724800"/>
                  </a:lnTo>
                  <a:lnTo>
                    <a:pt x="1301561" y="1705666"/>
                  </a:lnTo>
                  <a:lnTo>
                    <a:pt x="1341272" y="1684576"/>
                  </a:lnTo>
                  <a:lnTo>
                    <a:pt x="1379773" y="1661592"/>
                  </a:lnTo>
                  <a:lnTo>
                    <a:pt x="1417002" y="1636776"/>
                  </a:lnTo>
                  <a:lnTo>
                    <a:pt x="1452897" y="1610192"/>
                  </a:lnTo>
                  <a:lnTo>
                    <a:pt x="1487397" y="1581899"/>
                  </a:lnTo>
                  <a:lnTo>
                    <a:pt x="1520437" y="1551962"/>
                  </a:lnTo>
                  <a:lnTo>
                    <a:pt x="1551958" y="1520442"/>
                  </a:lnTo>
                  <a:lnTo>
                    <a:pt x="1581895" y="1487402"/>
                  </a:lnTo>
                  <a:lnTo>
                    <a:pt x="1610188" y="1452903"/>
                  </a:lnTo>
                  <a:lnTo>
                    <a:pt x="1636773" y="1417008"/>
                  </a:lnTo>
                  <a:lnTo>
                    <a:pt x="1661589" y="1379778"/>
                  </a:lnTo>
                  <a:lnTo>
                    <a:pt x="1684573" y="1341277"/>
                  </a:lnTo>
                  <a:lnTo>
                    <a:pt x="1705664" y="1301567"/>
                  </a:lnTo>
                  <a:lnTo>
                    <a:pt x="1724798" y="1260708"/>
                  </a:lnTo>
                  <a:lnTo>
                    <a:pt x="1741915" y="1218765"/>
                  </a:lnTo>
                  <a:lnTo>
                    <a:pt x="1756951" y="1175798"/>
                  </a:lnTo>
                  <a:lnTo>
                    <a:pt x="1769844" y="1131871"/>
                  </a:lnTo>
                  <a:lnTo>
                    <a:pt x="1780533" y="1087045"/>
                  </a:lnTo>
                  <a:lnTo>
                    <a:pt x="1788955" y="1041382"/>
                  </a:lnTo>
                  <a:lnTo>
                    <a:pt x="1795047" y="994946"/>
                  </a:lnTo>
                  <a:lnTo>
                    <a:pt x="1798748" y="947797"/>
                  </a:lnTo>
                  <a:lnTo>
                    <a:pt x="1799996" y="899998"/>
                  </a:lnTo>
                  <a:lnTo>
                    <a:pt x="1798748" y="852200"/>
                  </a:lnTo>
                  <a:lnTo>
                    <a:pt x="1795047" y="805052"/>
                  </a:lnTo>
                  <a:lnTo>
                    <a:pt x="1788955" y="758616"/>
                  </a:lnTo>
                  <a:lnTo>
                    <a:pt x="1780533" y="712954"/>
                  </a:lnTo>
                  <a:lnTo>
                    <a:pt x="1769844" y="668129"/>
                  </a:lnTo>
                  <a:lnTo>
                    <a:pt x="1756951" y="624202"/>
                  </a:lnTo>
                  <a:lnTo>
                    <a:pt x="1741915" y="581236"/>
                  </a:lnTo>
                  <a:lnTo>
                    <a:pt x="1724798" y="539292"/>
                  </a:lnTo>
                  <a:lnTo>
                    <a:pt x="1705664" y="498434"/>
                  </a:lnTo>
                  <a:lnTo>
                    <a:pt x="1684573" y="458724"/>
                  </a:lnTo>
                  <a:lnTo>
                    <a:pt x="1661589" y="420223"/>
                  </a:lnTo>
                  <a:lnTo>
                    <a:pt x="1636773" y="382993"/>
                  </a:lnTo>
                  <a:lnTo>
                    <a:pt x="1610188" y="347098"/>
                  </a:lnTo>
                  <a:lnTo>
                    <a:pt x="1581895" y="312599"/>
                  </a:lnTo>
                  <a:lnTo>
                    <a:pt x="1551958" y="279558"/>
                  </a:lnTo>
                  <a:lnTo>
                    <a:pt x="1520437" y="248038"/>
                  </a:lnTo>
                  <a:lnTo>
                    <a:pt x="1487397" y="218100"/>
                  </a:lnTo>
                  <a:lnTo>
                    <a:pt x="1452897" y="189808"/>
                  </a:lnTo>
                  <a:lnTo>
                    <a:pt x="1417002" y="163222"/>
                  </a:lnTo>
                  <a:lnTo>
                    <a:pt x="1379773" y="138406"/>
                  </a:lnTo>
                  <a:lnTo>
                    <a:pt x="1341272" y="115422"/>
                  </a:lnTo>
                  <a:lnTo>
                    <a:pt x="1301561" y="94332"/>
                  </a:lnTo>
                  <a:lnTo>
                    <a:pt x="1260703" y="75197"/>
                  </a:lnTo>
                  <a:lnTo>
                    <a:pt x="1218760" y="58081"/>
                  </a:lnTo>
                  <a:lnTo>
                    <a:pt x="1175794" y="43044"/>
                  </a:lnTo>
                  <a:lnTo>
                    <a:pt x="1131867" y="30151"/>
                  </a:lnTo>
                  <a:lnTo>
                    <a:pt x="1087041" y="19462"/>
                  </a:lnTo>
                  <a:lnTo>
                    <a:pt x="1041379" y="11041"/>
                  </a:lnTo>
                  <a:lnTo>
                    <a:pt x="994943" y="4948"/>
                  </a:lnTo>
                  <a:lnTo>
                    <a:pt x="947795" y="1247"/>
                  </a:lnTo>
                  <a:lnTo>
                    <a:pt x="899998" y="0"/>
                  </a:lnTo>
                  <a:close/>
                </a:path>
              </a:pathLst>
            </a:custGeom>
            <a:solidFill>
              <a:srgbClr val="D1D3D4"/>
            </a:solidFill>
          </p:spPr>
          <p:txBody>
            <a:bodyPr wrap="square" lIns="0" tIns="0" rIns="0" bIns="0" rtlCol="0"/>
            <a:lstStyle/>
            <a:p>
              <a:endParaRPr sz="649"/>
            </a:p>
          </p:txBody>
        </p:sp>
        <p:pic>
          <p:nvPicPr>
            <p:cNvPr id="47" name="object 47"/>
            <p:cNvPicPr/>
            <p:nvPr/>
          </p:nvPicPr>
          <p:blipFill>
            <a:blip r:embed="rId9" cstate="print"/>
            <a:stretch>
              <a:fillRect/>
            </a:stretch>
          </p:blipFill>
          <p:spPr>
            <a:xfrm>
              <a:off x="2670467" y="7811427"/>
              <a:ext cx="553592" cy="311518"/>
            </a:xfrm>
            <a:prstGeom prst="rect">
              <a:avLst/>
            </a:prstGeom>
          </p:spPr>
        </p:pic>
        <p:sp>
          <p:nvSpPr>
            <p:cNvPr id="48" name="object 48"/>
            <p:cNvSpPr/>
            <p:nvPr/>
          </p:nvSpPr>
          <p:spPr>
            <a:xfrm>
              <a:off x="2670474" y="7811420"/>
              <a:ext cx="553720" cy="311785"/>
            </a:xfrm>
            <a:custGeom>
              <a:avLst/>
              <a:gdLst/>
              <a:ahLst/>
              <a:cxnLst/>
              <a:rect l="l" t="t" r="r" b="b"/>
              <a:pathLst>
                <a:path w="553719" h="311784">
                  <a:moveTo>
                    <a:pt x="152400" y="110324"/>
                  </a:moveTo>
                  <a:lnTo>
                    <a:pt x="553567" y="110324"/>
                  </a:lnTo>
                  <a:lnTo>
                    <a:pt x="553567" y="204215"/>
                  </a:lnTo>
                  <a:lnTo>
                    <a:pt x="150164" y="204215"/>
                  </a:lnTo>
                  <a:lnTo>
                    <a:pt x="147916" y="311530"/>
                  </a:lnTo>
                  <a:lnTo>
                    <a:pt x="0" y="154292"/>
                  </a:lnTo>
                  <a:lnTo>
                    <a:pt x="147916" y="0"/>
                  </a:lnTo>
                  <a:lnTo>
                    <a:pt x="152400" y="110324"/>
                  </a:lnTo>
                  <a:close/>
                </a:path>
              </a:pathLst>
            </a:custGeom>
            <a:ln w="7620">
              <a:solidFill>
                <a:srgbClr val="E3873E"/>
              </a:solidFill>
            </a:ln>
          </p:spPr>
          <p:txBody>
            <a:bodyPr wrap="square" lIns="0" tIns="0" rIns="0" bIns="0" rtlCol="0"/>
            <a:lstStyle/>
            <a:p>
              <a:endParaRPr sz="649"/>
            </a:p>
          </p:txBody>
        </p:sp>
        <p:pic>
          <p:nvPicPr>
            <p:cNvPr id="49" name="object 49"/>
            <p:cNvPicPr/>
            <p:nvPr/>
          </p:nvPicPr>
          <p:blipFill>
            <a:blip r:embed="rId10" cstate="print"/>
            <a:stretch>
              <a:fillRect/>
            </a:stretch>
          </p:blipFill>
          <p:spPr>
            <a:xfrm>
              <a:off x="2003348" y="7811427"/>
              <a:ext cx="553567" cy="311518"/>
            </a:xfrm>
            <a:prstGeom prst="rect">
              <a:avLst/>
            </a:prstGeom>
          </p:spPr>
        </p:pic>
        <p:pic>
          <p:nvPicPr>
            <p:cNvPr id="50" name="object 50"/>
            <p:cNvPicPr/>
            <p:nvPr/>
          </p:nvPicPr>
          <p:blipFill>
            <a:blip r:embed="rId11" cstate="print"/>
            <a:stretch>
              <a:fillRect/>
            </a:stretch>
          </p:blipFill>
          <p:spPr>
            <a:xfrm>
              <a:off x="1747672" y="5223712"/>
              <a:ext cx="4867931" cy="3413671"/>
            </a:xfrm>
            <a:prstGeom prst="rect">
              <a:avLst/>
            </a:prstGeom>
          </p:spPr>
        </p:pic>
      </p:grpSp>
      <p:sp>
        <p:nvSpPr>
          <p:cNvPr id="51" name="object 51"/>
          <p:cNvSpPr txBox="1">
            <a:spLocks noGrp="1"/>
          </p:cNvSpPr>
          <p:nvPr>
            <p:ph type="ftr" sz="quarter" idx="5"/>
          </p:nvPr>
        </p:nvSpPr>
        <p:spPr>
          <a:xfrm>
            <a:off x="3127618" y="2350430"/>
            <a:ext cx="2236362" cy="82189"/>
          </a:xfrm>
          <a:prstGeom prst="rect">
            <a:avLst/>
          </a:prstGeom>
        </p:spPr>
        <p:txBody>
          <a:bodyPr vert="horz" wrap="square" lIns="0" tIns="5194" rIns="0" bIns="0" rtlCol="0" anchor="ctr">
            <a:spAutoFit/>
          </a:bodyPr>
          <a:lstStyle/>
          <a:p>
            <a:pPr marL="6110">
              <a:spcBef>
                <a:spcPts val="41"/>
              </a:spcBef>
            </a:pPr>
            <a:r>
              <a:rPr spc="-19" dirty="0"/>
              <a:t>S</a:t>
            </a:r>
            <a:r>
              <a:rPr spc="2" dirty="0"/>
              <a:t>t</a:t>
            </a:r>
            <a:r>
              <a:rPr spc="-7" dirty="0"/>
              <a:t>r</a:t>
            </a:r>
            <a:r>
              <a:rPr spc="-5" dirty="0"/>
              <a:t>essless</a:t>
            </a:r>
            <a:r>
              <a:rPr sz="397" spc="-21" baseline="35353" dirty="0"/>
              <a:t>®</a:t>
            </a:r>
            <a:r>
              <a:rPr sz="397" spc="58" baseline="35353" dirty="0"/>
              <a:t> </a:t>
            </a:r>
            <a:r>
              <a:rPr sz="481" spc="70" dirty="0"/>
              <a:t>M</a:t>
            </a:r>
            <a:r>
              <a:rPr sz="481" spc="2" dirty="0"/>
              <a:t>i</a:t>
            </a:r>
            <a:r>
              <a:rPr sz="481" spc="-10" dirty="0"/>
              <a:t>k</a:t>
            </a:r>
            <a:r>
              <a:rPr sz="481" dirty="0"/>
              <a:t>e</a:t>
            </a:r>
            <a:r>
              <a:rPr sz="481" spc="-29" dirty="0"/>
              <a:t> </a:t>
            </a:r>
            <a:r>
              <a:rPr sz="481" spc="-5" dirty="0"/>
              <a:t>and</a:t>
            </a:r>
            <a:r>
              <a:rPr sz="481" spc="-29" dirty="0"/>
              <a:t> </a:t>
            </a:r>
            <a:r>
              <a:rPr sz="481" spc="67" dirty="0"/>
              <a:t>M</a:t>
            </a:r>
            <a:r>
              <a:rPr sz="481" spc="-7" dirty="0"/>
              <a:t>ax</a:t>
            </a:r>
            <a:endParaRPr sz="481"/>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19BBEBF-544D-4EEC-8BA4-405A52D487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9" name="think-cell Slide" r:id="rId6" imgW="353" imgH="353" progId="TCLayout.ActiveDocument.1">
                  <p:embed/>
                </p:oleObj>
              </mc:Choice>
              <mc:Fallback>
                <p:oleObj name="think-cell Slide" r:id="rId6" imgW="353" imgH="353" progId="TCLayout.ActiveDocument.1">
                  <p:embed/>
                  <p:pic>
                    <p:nvPicPr>
                      <p:cNvPr id="9" name="Object 8" hidden="1">
                        <a:extLst>
                          <a:ext uri="{FF2B5EF4-FFF2-40B4-BE49-F238E27FC236}">
                            <a16:creationId xmlns:a16="http://schemas.microsoft.com/office/drawing/2014/main" id="{119BBEBF-544D-4EEC-8BA4-405A52D487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57A43C8-B701-460B-BEE5-5BC7599717F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b="1">
              <a:latin typeface="Lato Regular"/>
              <a:ea typeface="+mj-ea"/>
              <a:cs typeface="+mj-cs"/>
              <a:sym typeface="Lato Regular"/>
            </a:endParaRPr>
          </a:p>
        </p:txBody>
      </p:sp>
      <p:sp>
        <p:nvSpPr>
          <p:cNvPr id="4" name="Plassholder for dato 3">
            <a:extLst>
              <a:ext uri="{FF2B5EF4-FFF2-40B4-BE49-F238E27FC236}">
                <a16:creationId xmlns:a16="http://schemas.microsoft.com/office/drawing/2014/main" id="{784B5BDB-B176-497E-B758-48083AFF0A5F}"/>
              </a:ext>
            </a:extLst>
          </p:cNvPr>
          <p:cNvSpPr>
            <a:spLocks noGrp="1"/>
          </p:cNvSpPr>
          <p:nvPr>
            <p:ph type="dt" sz="half" idx="1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58970512-AFCF-461A-ACB5-D6A6EB013EA8}" type="datetime1">
              <a:rPr kumimoji="0" lang="en-US" sz="500" b="0" i="0" u="none" strike="noStrike" kern="1200" cap="none" spc="0" normalizeH="0" baseline="0" noProof="0" smtClean="0">
                <a:ln>
                  <a:noFill/>
                </a:ln>
                <a:solidFill>
                  <a:srgbClr val="000000"/>
                </a:solidFill>
                <a:effectLst/>
                <a:uLnTx/>
                <a:uFillTx/>
                <a:latin typeface="Lato Regular"/>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11/21</a:t>
            </a:fld>
            <a:endParaRPr kumimoji="0" lang="en-US" sz="500" b="0" i="0" u="none" strike="noStrike" kern="1200" cap="none" spc="0" normalizeH="0" baseline="0" noProof="0">
              <a:ln>
                <a:noFill/>
              </a:ln>
              <a:solidFill>
                <a:srgbClr val="000000"/>
              </a:solidFill>
              <a:effectLst/>
              <a:uLnTx/>
              <a:uFillTx/>
              <a:latin typeface="Lato Regular"/>
              <a:ea typeface="+mn-ea"/>
              <a:cs typeface="+mn-cs"/>
            </a:endParaRPr>
          </a:p>
        </p:txBody>
      </p:sp>
      <p:sp>
        <p:nvSpPr>
          <p:cNvPr id="5" name="Plassholder for bunntekst 4">
            <a:extLst>
              <a:ext uri="{FF2B5EF4-FFF2-40B4-BE49-F238E27FC236}">
                <a16:creationId xmlns:a16="http://schemas.microsoft.com/office/drawing/2014/main" id="{B6A093F4-AB30-4A1E-ACA5-61B16A44AB6A}"/>
              </a:ext>
            </a:extLst>
          </p:cNvPr>
          <p:cNvSpPr>
            <a:spLocks noGrp="1"/>
          </p:cNvSpPr>
          <p:nvPr>
            <p:ph type="ftr" sz="quarter" idx="15"/>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Lato Regular"/>
                <a:ea typeface="+mn-ea"/>
                <a:cs typeface="+mn-cs"/>
              </a:rPr>
              <a:t>/  Footer</a:t>
            </a:r>
          </a:p>
        </p:txBody>
      </p:sp>
      <p:sp>
        <p:nvSpPr>
          <p:cNvPr id="6" name="Plassholder for lysbildenummer 5">
            <a:extLst>
              <a:ext uri="{FF2B5EF4-FFF2-40B4-BE49-F238E27FC236}">
                <a16:creationId xmlns:a16="http://schemas.microsoft.com/office/drawing/2014/main" id="{F4CCC6F6-2E0F-47E6-BFB0-CBC6E03C66FE}"/>
              </a:ext>
            </a:extLst>
          </p:cNvPr>
          <p:cNvSpPr>
            <a:spLocks noGrp="1"/>
          </p:cNvSpPr>
          <p:nvPr>
            <p:ph type="sldNum" sz="quarter" idx="16"/>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BE74CFF-2C60-4519-94DA-E8FC82378F73}" type="slidenum">
              <a:rPr kumimoji="0" lang="en-US" sz="500" b="0" i="0" u="none" strike="noStrike" kern="1200" cap="none" spc="0" normalizeH="0" baseline="0" noProof="0" smtClean="0">
                <a:ln>
                  <a:noFill/>
                </a:ln>
                <a:solidFill>
                  <a:srgbClr val="000000"/>
                </a:solidFill>
                <a:effectLst/>
                <a:uLnTx/>
                <a:uFillTx/>
                <a:latin typeface="Lato Regular"/>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8</a:t>
            </a:fld>
            <a:endParaRPr kumimoji="0" lang="en-US" sz="500" b="0" i="0" u="none" strike="noStrike" kern="1200" cap="none" spc="0" normalizeH="0" baseline="0" noProof="0">
              <a:ln>
                <a:noFill/>
              </a:ln>
              <a:solidFill>
                <a:srgbClr val="000000"/>
              </a:solidFill>
              <a:effectLst/>
              <a:uLnTx/>
              <a:uFillTx/>
              <a:latin typeface="Lato Regular"/>
              <a:ea typeface="+mn-ea"/>
              <a:cs typeface="+mn-cs"/>
            </a:endParaRPr>
          </a:p>
        </p:txBody>
      </p:sp>
      <p:sp>
        <p:nvSpPr>
          <p:cNvPr id="12" name="Tittel 11">
            <a:extLst>
              <a:ext uri="{FF2B5EF4-FFF2-40B4-BE49-F238E27FC236}">
                <a16:creationId xmlns:a16="http://schemas.microsoft.com/office/drawing/2014/main" id="{62E9FB88-BEB6-4BAF-A7DB-1A335DB01C0C}"/>
              </a:ext>
            </a:extLst>
          </p:cNvPr>
          <p:cNvSpPr>
            <a:spLocks noGrp="1"/>
          </p:cNvSpPr>
          <p:nvPr>
            <p:ph type="title"/>
          </p:nvPr>
        </p:nvSpPr>
        <p:spPr/>
        <p:txBody>
          <a:bodyPr/>
          <a:lstStyle/>
          <a:p>
            <a:r>
              <a:rPr lang="nb-NO" dirty="0" err="1"/>
              <a:t>Reboot</a:t>
            </a:r>
            <a:endParaRPr lang="nb-NO" dirty="0"/>
          </a:p>
        </p:txBody>
      </p:sp>
      <p:pic>
        <p:nvPicPr>
          <p:cNvPr id="2" name="Bilde 1">
            <a:extLst>
              <a:ext uri="{FF2B5EF4-FFF2-40B4-BE49-F238E27FC236}">
                <a16:creationId xmlns:a16="http://schemas.microsoft.com/office/drawing/2014/main" id="{1648F6BF-B55E-4000-845D-71B276544E7D}"/>
              </a:ext>
            </a:extLst>
          </p:cNvPr>
          <p:cNvPicPr>
            <a:picLocks noChangeAspect="1"/>
          </p:cNvPicPr>
          <p:nvPr/>
        </p:nvPicPr>
        <p:blipFill>
          <a:blip r:embed="rId8"/>
          <a:stretch>
            <a:fillRect/>
          </a:stretch>
        </p:blipFill>
        <p:spPr>
          <a:xfrm>
            <a:off x="432054" y="790514"/>
            <a:ext cx="2711277" cy="3829532"/>
          </a:xfrm>
          <a:prstGeom prst="rect">
            <a:avLst/>
          </a:prstGeom>
        </p:spPr>
      </p:pic>
      <p:sp>
        <p:nvSpPr>
          <p:cNvPr id="10" name="Plassholder for innhold 6">
            <a:extLst>
              <a:ext uri="{FF2B5EF4-FFF2-40B4-BE49-F238E27FC236}">
                <a16:creationId xmlns:a16="http://schemas.microsoft.com/office/drawing/2014/main" id="{BA699594-349F-4EFB-ACE8-D949A84F4829}"/>
              </a:ext>
            </a:extLst>
          </p:cNvPr>
          <p:cNvSpPr>
            <a:spLocks noGrp="1"/>
          </p:cNvSpPr>
          <p:nvPr>
            <p:ph idx="17"/>
          </p:nvPr>
        </p:nvSpPr>
        <p:spPr>
          <a:xfrm>
            <a:off x="3505618" y="790514"/>
            <a:ext cx="5270941" cy="3744000"/>
          </a:xfrm>
        </p:spPr>
        <p:txBody>
          <a:bodyPr vert="horz" lIns="0" tIns="0" rIns="0" bIns="0" rtlCol="0" anchor="t">
            <a:normAutofit fontScale="92500"/>
          </a:bodyPr>
          <a:lstStyle/>
          <a:p>
            <a:pPr marL="0" indent="0">
              <a:buNone/>
            </a:pPr>
            <a:r>
              <a:rPr lang="en-US" sz="1200" dirty="0">
                <a:solidFill>
                  <a:schemeClr val="tx1"/>
                </a:solidFill>
              </a:rPr>
              <a:t>Step 1: Reboot sequence.</a:t>
            </a:r>
          </a:p>
          <a:p>
            <a:pPr marL="0" indent="0">
              <a:buNone/>
            </a:pPr>
            <a:endParaRPr lang="en-US" sz="1200" dirty="0">
              <a:solidFill>
                <a:schemeClr val="tx1"/>
              </a:solidFill>
            </a:endParaRPr>
          </a:p>
          <a:p>
            <a:pPr marL="0" indent="0">
              <a:buNone/>
            </a:pPr>
            <a:r>
              <a:rPr lang="en-US" sz="1200" dirty="0">
                <a:solidFill>
                  <a:schemeClr val="tx1"/>
                </a:solidFill>
              </a:rPr>
              <a:t>Step 2: Unplug / </a:t>
            </a:r>
            <a:r>
              <a:rPr lang="en-US" sz="1200" dirty="0" err="1">
                <a:solidFill>
                  <a:schemeClr val="tx1"/>
                </a:solidFill>
              </a:rPr>
              <a:t>replug</a:t>
            </a:r>
            <a:r>
              <a:rPr lang="en-US" sz="1200" dirty="0">
                <a:solidFill>
                  <a:schemeClr val="tx1"/>
                </a:solidFill>
              </a:rPr>
              <a:t> power</a:t>
            </a:r>
          </a:p>
          <a:p>
            <a:pPr marL="0" indent="0">
              <a:buNone/>
            </a:pPr>
            <a:endParaRPr lang="en-US" sz="1200" dirty="0">
              <a:solidFill>
                <a:schemeClr val="tx1"/>
              </a:solidFill>
            </a:endParaRPr>
          </a:p>
          <a:p>
            <a:pPr marL="0" indent="0">
              <a:buNone/>
            </a:pPr>
            <a:r>
              <a:rPr lang="en-US" sz="1200" dirty="0">
                <a:solidFill>
                  <a:schemeClr val="tx1"/>
                </a:solidFill>
              </a:rPr>
              <a:t>Step 3: Hold the “home” button</a:t>
            </a:r>
          </a:p>
          <a:p>
            <a:pPr marL="0" indent="0">
              <a:buNone/>
            </a:pPr>
            <a:r>
              <a:rPr lang="en-US" sz="1200" dirty="0">
                <a:solidFill>
                  <a:schemeClr val="tx1"/>
                </a:solidFill>
              </a:rPr>
              <a:t>The chair should complete the following movement;</a:t>
            </a:r>
          </a:p>
          <a:p>
            <a:pPr lvl="0"/>
            <a:r>
              <a:rPr lang="en-US" sz="1100" dirty="0"/>
              <a:t>Lumbar in</a:t>
            </a:r>
            <a:endParaRPr lang="nb-NO" sz="1100" dirty="0"/>
          </a:p>
          <a:p>
            <a:pPr lvl="0"/>
            <a:r>
              <a:rPr lang="en-US" sz="1100" dirty="0"/>
              <a:t>Lumbar out</a:t>
            </a:r>
            <a:endParaRPr lang="nb-NO" sz="1100" dirty="0"/>
          </a:p>
          <a:p>
            <a:pPr lvl="0"/>
            <a:r>
              <a:rPr lang="en-US" sz="1100" dirty="0"/>
              <a:t>Head rest out</a:t>
            </a:r>
            <a:endParaRPr lang="nb-NO" sz="1100" dirty="0"/>
          </a:p>
          <a:p>
            <a:pPr lvl="0"/>
            <a:r>
              <a:rPr lang="en-US" sz="1100" dirty="0"/>
              <a:t>Head rest in</a:t>
            </a:r>
            <a:endParaRPr lang="nb-NO" sz="1100" dirty="0"/>
          </a:p>
          <a:p>
            <a:pPr lvl="0"/>
            <a:r>
              <a:rPr lang="en-US" sz="1100" dirty="0"/>
              <a:t>Ottoman out</a:t>
            </a:r>
            <a:endParaRPr lang="nb-NO" sz="1100" dirty="0"/>
          </a:p>
          <a:p>
            <a:pPr lvl="0"/>
            <a:r>
              <a:rPr lang="en-US" sz="1100" dirty="0"/>
              <a:t>Backrest recline</a:t>
            </a:r>
            <a:endParaRPr lang="nb-NO" sz="1100" dirty="0"/>
          </a:p>
          <a:p>
            <a:pPr lvl="0"/>
            <a:r>
              <a:rPr lang="en-US" sz="1100" dirty="0"/>
              <a:t>Backrest forward</a:t>
            </a:r>
            <a:endParaRPr lang="nb-NO" sz="1100" dirty="0"/>
          </a:p>
          <a:p>
            <a:pPr lvl="0"/>
            <a:r>
              <a:rPr lang="en-US" sz="1100" dirty="0"/>
              <a:t>Ottoman in</a:t>
            </a:r>
            <a:endParaRPr lang="nb-NO" sz="1100" dirty="0"/>
          </a:p>
          <a:p>
            <a:pPr marL="0" indent="0">
              <a:buNone/>
            </a:pPr>
            <a:endParaRPr lang="en-US" sz="1200" dirty="0">
              <a:solidFill>
                <a:schemeClr val="tx1"/>
              </a:solidFill>
            </a:endParaRPr>
          </a:p>
          <a:p>
            <a:pPr marL="0" indent="0">
              <a:buNone/>
            </a:pPr>
            <a:r>
              <a:rPr lang="en-US" sz="1200" dirty="0">
                <a:solidFill>
                  <a:schemeClr val="tx1"/>
                </a:solidFill>
              </a:rPr>
              <a:t>Deviations from the movement cycle can indicate connection problems with motor</a:t>
            </a:r>
          </a:p>
          <a:p>
            <a:pPr marL="0" indent="0">
              <a:buNone/>
            </a:pPr>
            <a:endParaRPr lang="en-US" sz="1200" dirty="0"/>
          </a:p>
          <a:p>
            <a:pPr marL="0" indent="0">
              <a:buNone/>
            </a:pPr>
            <a:endParaRPr lang="en-US" sz="1000" dirty="0"/>
          </a:p>
          <a:p>
            <a:pPr marL="179705" indent="-179705"/>
            <a:endParaRPr lang="en-US" sz="1000" dirty="0"/>
          </a:p>
        </p:txBody>
      </p:sp>
    </p:spTree>
    <p:extLst>
      <p:ext uri="{BB962C8B-B14F-4D97-AF65-F5344CB8AC3E}">
        <p14:creationId xmlns:p14="http://schemas.microsoft.com/office/powerpoint/2010/main" val="39598928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19BBEBF-544D-4EEC-8BA4-405A52D487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3" name="think-cell Slide" r:id="rId6" imgW="353" imgH="353" progId="TCLayout.ActiveDocument.1">
                  <p:embed/>
                </p:oleObj>
              </mc:Choice>
              <mc:Fallback>
                <p:oleObj name="think-cell Slide" r:id="rId6" imgW="353" imgH="353" progId="TCLayout.ActiveDocument.1">
                  <p:embed/>
                  <p:pic>
                    <p:nvPicPr>
                      <p:cNvPr id="9" name="Object 8" hidden="1">
                        <a:extLst>
                          <a:ext uri="{FF2B5EF4-FFF2-40B4-BE49-F238E27FC236}">
                            <a16:creationId xmlns:a16="http://schemas.microsoft.com/office/drawing/2014/main" id="{119BBEBF-544D-4EEC-8BA4-405A52D487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57A43C8-B701-460B-BEE5-5BC7599717F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b="1">
              <a:latin typeface="Lato Regular"/>
              <a:ea typeface="+mj-ea"/>
              <a:cs typeface="+mj-cs"/>
              <a:sym typeface="Lato Regular"/>
            </a:endParaRPr>
          </a:p>
        </p:txBody>
      </p:sp>
      <p:sp>
        <p:nvSpPr>
          <p:cNvPr id="4" name="Plassholder for dato 3">
            <a:extLst>
              <a:ext uri="{FF2B5EF4-FFF2-40B4-BE49-F238E27FC236}">
                <a16:creationId xmlns:a16="http://schemas.microsoft.com/office/drawing/2014/main" id="{784B5BDB-B176-497E-B758-48083AFF0A5F}"/>
              </a:ext>
            </a:extLst>
          </p:cNvPr>
          <p:cNvSpPr>
            <a:spLocks noGrp="1"/>
          </p:cNvSpPr>
          <p:nvPr>
            <p:ph type="dt" sz="half" idx="1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58970512-AFCF-461A-ACB5-D6A6EB013EA8}" type="datetime1">
              <a:rPr kumimoji="0" lang="en-US" sz="500" b="0" i="0" u="none" strike="noStrike" kern="1200" cap="none" spc="0" normalizeH="0" baseline="0" noProof="0" smtClean="0">
                <a:ln>
                  <a:noFill/>
                </a:ln>
                <a:solidFill>
                  <a:srgbClr val="000000"/>
                </a:solidFill>
                <a:effectLst/>
                <a:uLnTx/>
                <a:uFillTx/>
                <a:latin typeface="Lato Regular"/>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11/21</a:t>
            </a:fld>
            <a:endParaRPr kumimoji="0" lang="en-US" sz="500" b="0" i="0" u="none" strike="noStrike" kern="1200" cap="none" spc="0" normalizeH="0" baseline="0" noProof="0">
              <a:ln>
                <a:noFill/>
              </a:ln>
              <a:solidFill>
                <a:srgbClr val="000000"/>
              </a:solidFill>
              <a:effectLst/>
              <a:uLnTx/>
              <a:uFillTx/>
              <a:latin typeface="Lato Regular"/>
              <a:ea typeface="+mn-ea"/>
              <a:cs typeface="+mn-cs"/>
            </a:endParaRPr>
          </a:p>
        </p:txBody>
      </p:sp>
      <p:sp>
        <p:nvSpPr>
          <p:cNvPr id="5" name="Plassholder for bunntekst 4">
            <a:extLst>
              <a:ext uri="{FF2B5EF4-FFF2-40B4-BE49-F238E27FC236}">
                <a16:creationId xmlns:a16="http://schemas.microsoft.com/office/drawing/2014/main" id="{B6A093F4-AB30-4A1E-ACA5-61B16A44AB6A}"/>
              </a:ext>
            </a:extLst>
          </p:cNvPr>
          <p:cNvSpPr>
            <a:spLocks noGrp="1"/>
          </p:cNvSpPr>
          <p:nvPr>
            <p:ph type="ftr" sz="quarter" idx="15"/>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Lato Regular"/>
                <a:ea typeface="+mn-ea"/>
                <a:cs typeface="+mn-cs"/>
              </a:rPr>
              <a:t>/  Footer</a:t>
            </a:r>
          </a:p>
        </p:txBody>
      </p:sp>
      <p:sp>
        <p:nvSpPr>
          <p:cNvPr id="6" name="Plassholder for lysbildenummer 5">
            <a:extLst>
              <a:ext uri="{FF2B5EF4-FFF2-40B4-BE49-F238E27FC236}">
                <a16:creationId xmlns:a16="http://schemas.microsoft.com/office/drawing/2014/main" id="{F4CCC6F6-2E0F-47E6-BFB0-CBC6E03C66FE}"/>
              </a:ext>
            </a:extLst>
          </p:cNvPr>
          <p:cNvSpPr>
            <a:spLocks noGrp="1"/>
          </p:cNvSpPr>
          <p:nvPr>
            <p:ph type="sldNum" sz="quarter" idx="16"/>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BE74CFF-2C60-4519-94DA-E8FC82378F73}" type="slidenum">
              <a:rPr kumimoji="0" lang="en-US" sz="500" b="0" i="0" u="none" strike="noStrike" kern="1200" cap="none" spc="0" normalizeH="0" baseline="0" noProof="0" smtClean="0">
                <a:ln>
                  <a:noFill/>
                </a:ln>
                <a:solidFill>
                  <a:srgbClr val="000000"/>
                </a:solidFill>
                <a:effectLst/>
                <a:uLnTx/>
                <a:uFillTx/>
                <a:latin typeface="Lato Regular"/>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en-US" sz="500" b="0" i="0" u="none" strike="noStrike" kern="1200" cap="none" spc="0" normalizeH="0" baseline="0" noProof="0">
              <a:ln>
                <a:noFill/>
              </a:ln>
              <a:solidFill>
                <a:srgbClr val="000000"/>
              </a:solidFill>
              <a:effectLst/>
              <a:uLnTx/>
              <a:uFillTx/>
              <a:latin typeface="Lato Regular"/>
              <a:ea typeface="+mn-ea"/>
              <a:cs typeface="+mn-cs"/>
            </a:endParaRPr>
          </a:p>
        </p:txBody>
      </p:sp>
      <p:sp>
        <p:nvSpPr>
          <p:cNvPr id="12" name="Tittel 11">
            <a:extLst>
              <a:ext uri="{FF2B5EF4-FFF2-40B4-BE49-F238E27FC236}">
                <a16:creationId xmlns:a16="http://schemas.microsoft.com/office/drawing/2014/main" id="{62E9FB88-BEB6-4BAF-A7DB-1A335DB01C0C}"/>
              </a:ext>
            </a:extLst>
          </p:cNvPr>
          <p:cNvSpPr>
            <a:spLocks noGrp="1"/>
          </p:cNvSpPr>
          <p:nvPr>
            <p:ph type="title"/>
          </p:nvPr>
        </p:nvSpPr>
        <p:spPr/>
        <p:txBody>
          <a:bodyPr/>
          <a:lstStyle/>
          <a:p>
            <a:r>
              <a:rPr lang="nb-NO" dirty="0"/>
              <a:t>Spare parts</a:t>
            </a:r>
          </a:p>
        </p:txBody>
      </p:sp>
      <p:pic>
        <p:nvPicPr>
          <p:cNvPr id="3" name="Bilde 2">
            <a:extLst>
              <a:ext uri="{FF2B5EF4-FFF2-40B4-BE49-F238E27FC236}">
                <a16:creationId xmlns:a16="http://schemas.microsoft.com/office/drawing/2014/main" id="{9130BDF4-B72D-40EA-AC90-BAD64E6C6AA0}"/>
              </a:ext>
            </a:extLst>
          </p:cNvPr>
          <p:cNvPicPr>
            <a:picLocks noChangeAspect="1"/>
          </p:cNvPicPr>
          <p:nvPr/>
        </p:nvPicPr>
        <p:blipFill>
          <a:blip r:embed="rId8"/>
          <a:stretch>
            <a:fillRect/>
          </a:stretch>
        </p:blipFill>
        <p:spPr>
          <a:xfrm>
            <a:off x="378869" y="687420"/>
            <a:ext cx="8386261" cy="4078025"/>
          </a:xfrm>
          <a:prstGeom prst="rect">
            <a:avLst/>
          </a:prstGeom>
        </p:spPr>
      </p:pic>
    </p:spTree>
    <p:extLst>
      <p:ext uri="{BB962C8B-B14F-4D97-AF65-F5344CB8AC3E}">
        <p14:creationId xmlns:p14="http://schemas.microsoft.com/office/powerpoint/2010/main" val="38669287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659AB9F1-5728-4A0F-89AD-69715D13E46B}"/>
              </a:ext>
            </a:extLst>
          </p:cNvPr>
          <p:cNvSpPr>
            <a:spLocks noGrp="1"/>
          </p:cNvSpPr>
          <p:nvPr>
            <p:ph idx="1"/>
          </p:nvPr>
        </p:nvSpPr>
        <p:spPr>
          <a:xfrm>
            <a:off x="217493" y="136144"/>
            <a:ext cx="8600639" cy="3774449"/>
          </a:xfrm>
        </p:spPr>
        <p:txBody>
          <a:bodyPr>
            <a:normAutofit/>
          </a:bodyPr>
          <a:lstStyle/>
          <a:p>
            <a:pPr marL="0" indent="0">
              <a:buNone/>
            </a:pPr>
            <a:r>
              <a:rPr lang="nb-NO" sz="1600" b="1" dirty="0"/>
              <a:t>STRESSLESS®MIKE</a:t>
            </a:r>
          </a:p>
        </p:txBody>
      </p:sp>
      <p:sp>
        <p:nvSpPr>
          <p:cNvPr id="4" name="Plassholder for dato 3">
            <a:extLst>
              <a:ext uri="{FF2B5EF4-FFF2-40B4-BE49-F238E27FC236}">
                <a16:creationId xmlns:a16="http://schemas.microsoft.com/office/drawing/2014/main" id="{DC513B2F-DBE1-4D50-9539-2D35B3EE4806}"/>
              </a:ext>
            </a:extLst>
          </p:cNvPr>
          <p:cNvSpPr>
            <a:spLocks noGrp="1"/>
          </p:cNvSpPr>
          <p:nvPr>
            <p:ph type="dt" sz="half" idx="10"/>
          </p:nvPr>
        </p:nvSpPr>
        <p:spPr/>
        <p:txBody>
          <a:bodyPr/>
          <a:lstStyle/>
          <a:p>
            <a:fld id="{BB89791D-CE44-464E-A88F-A2CBD6315B0C}" type="datetime1">
              <a:rPr lang="en-US" smtClean="0"/>
              <a:t>4/11/21</a:t>
            </a:fld>
            <a:endParaRPr lang="en-US"/>
          </a:p>
        </p:txBody>
      </p:sp>
      <p:sp>
        <p:nvSpPr>
          <p:cNvPr id="5" name="Plassholder for bunntekst 4">
            <a:extLst>
              <a:ext uri="{FF2B5EF4-FFF2-40B4-BE49-F238E27FC236}">
                <a16:creationId xmlns:a16="http://schemas.microsoft.com/office/drawing/2014/main" id="{DA513C59-E04F-4072-8862-8D32EFF31F10}"/>
              </a:ext>
            </a:extLst>
          </p:cNvPr>
          <p:cNvSpPr>
            <a:spLocks noGrp="1"/>
          </p:cNvSpPr>
          <p:nvPr>
            <p:ph type="ftr" sz="quarter" idx="11"/>
          </p:nvPr>
        </p:nvSpPr>
        <p:spPr/>
        <p:txBody>
          <a:bodyPr/>
          <a:lstStyle/>
          <a:p>
            <a:endParaRPr lang="en-US"/>
          </a:p>
        </p:txBody>
      </p:sp>
      <p:sp>
        <p:nvSpPr>
          <p:cNvPr id="6" name="Plassholder for lysbildenummer 5">
            <a:extLst>
              <a:ext uri="{FF2B5EF4-FFF2-40B4-BE49-F238E27FC236}">
                <a16:creationId xmlns:a16="http://schemas.microsoft.com/office/drawing/2014/main" id="{2A4891F5-49CB-4ECC-8601-80E60D83B7C3}"/>
              </a:ext>
            </a:extLst>
          </p:cNvPr>
          <p:cNvSpPr>
            <a:spLocks noGrp="1"/>
          </p:cNvSpPr>
          <p:nvPr>
            <p:ph type="sldNum" sz="quarter" idx="12"/>
          </p:nvPr>
        </p:nvSpPr>
        <p:spPr/>
        <p:txBody>
          <a:bodyPr/>
          <a:lstStyle/>
          <a:p>
            <a:fld id="{F4563387-511E-4A7C-A128-2A5764207573}" type="slidenum">
              <a:rPr lang="en-US" smtClean="0"/>
              <a:t>2</a:t>
            </a:fld>
            <a:endParaRPr lang="en-US"/>
          </a:p>
        </p:txBody>
      </p:sp>
      <p:pic>
        <p:nvPicPr>
          <p:cNvPr id="2" name="Bilde 1">
            <a:extLst>
              <a:ext uri="{FF2B5EF4-FFF2-40B4-BE49-F238E27FC236}">
                <a16:creationId xmlns:a16="http://schemas.microsoft.com/office/drawing/2014/main" id="{E7E7F71C-A9F2-4A97-B6EF-1E2542942F30}"/>
              </a:ext>
            </a:extLst>
          </p:cNvPr>
          <p:cNvPicPr>
            <a:picLocks noChangeAspect="1"/>
          </p:cNvPicPr>
          <p:nvPr/>
        </p:nvPicPr>
        <p:blipFill rotWithShape="1">
          <a:blip r:embed="rId2"/>
          <a:srcRect r="54561"/>
          <a:stretch/>
        </p:blipFill>
        <p:spPr>
          <a:xfrm>
            <a:off x="2195210" y="221545"/>
            <a:ext cx="4753580" cy="2393447"/>
          </a:xfrm>
          <a:prstGeom prst="rect">
            <a:avLst/>
          </a:prstGeom>
        </p:spPr>
      </p:pic>
      <p:pic>
        <p:nvPicPr>
          <p:cNvPr id="9" name="Bilde 8">
            <a:extLst>
              <a:ext uri="{FF2B5EF4-FFF2-40B4-BE49-F238E27FC236}">
                <a16:creationId xmlns:a16="http://schemas.microsoft.com/office/drawing/2014/main" id="{F361FA5B-154B-4AB4-91EF-4657F9AFD2C8}"/>
              </a:ext>
            </a:extLst>
          </p:cNvPr>
          <p:cNvPicPr>
            <a:picLocks noChangeAspect="1"/>
          </p:cNvPicPr>
          <p:nvPr/>
        </p:nvPicPr>
        <p:blipFill rotWithShape="1">
          <a:blip r:embed="rId2"/>
          <a:srcRect l="54383" r="1473"/>
          <a:stretch/>
        </p:blipFill>
        <p:spPr>
          <a:xfrm>
            <a:off x="2195210" y="2525113"/>
            <a:ext cx="4955150" cy="2568118"/>
          </a:xfrm>
          <a:prstGeom prst="rect">
            <a:avLst/>
          </a:prstGeom>
        </p:spPr>
      </p:pic>
    </p:spTree>
    <p:extLst>
      <p:ext uri="{BB962C8B-B14F-4D97-AF65-F5344CB8AC3E}">
        <p14:creationId xmlns:p14="http://schemas.microsoft.com/office/powerpoint/2010/main" val="1220454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19BBEBF-544D-4EEC-8BA4-405A52D487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7" name="think-cell Slide" r:id="rId6" imgW="353" imgH="353" progId="TCLayout.ActiveDocument.1">
                  <p:embed/>
                </p:oleObj>
              </mc:Choice>
              <mc:Fallback>
                <p:oleObj name="think-cell Slide" r:id="rId6" imgW="353" imgH="353" progId="TCLayout.ActiveDocument.1">
                  <p:embed/>
                  <p:pic>
                    <p:nvPicPr>
                      <p:cNvPr id="9" name="Object 8" hidden="1">
                        <a:extLst>
                          <a:ext uri="{FF2B5EF4-FFF2-40B4-BE49-F238E27FC236}">
                            <a16:creationId xmlns:a16="http://schemas.microsoft.com/office/drawing/2014/main" id="{119BBEBF-544D-4EEC-8BA4-405A52D487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57A43C8-B701-460B-BEE5-5BC7599717F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b="1">
              <a:latin typeface="Lato Regular"/>
              <a:ea typeface="+mj-ea"/>
              <a:cs typeface="+mj-cs"/>
              <a:sym typeface="Lato Regular"/>
            </a:endParaRPr>
          </a:p>
        </p:txBody>
      </p:sp>
      <p:sp>
        <p:nvSpPr>
          <p:cNvPr id="4" name="Plassholder for dato 3">
            <a:extLst>
              <a:ext uri="{FF2B5EF4-FFF2-40B4-BE49-F238E27FC236}">
                <a16:creationId xmlns:a16="http://schemas.microsoft.com/office/drawing/2014/main" id="{784B5BDB-B176-497E-B758-48083AFF0A5F}"/>
              </a:ext>
            </a:extLst>
          </p:cNvPr>
          <p:cNvSpPr>
            <a:spLocks noGrp="1"/>
          </p:cNvSpPr>
          <p:nvPr>
            <p:ph type="dt" sz="half" idx="1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58970512-AFCF-461A-ACB5-D6A6EB013EA8}" type="datetime1">
              <a:rPr kumimoji="0" lang="en-US" sz="500" b="0" i="0" u="none" strike="noStrike" kern="1200" cap="none" spc="0" normalizeH="0" baseline="0" noProof="0" smtClean="0">
                <a:ln>
                  <a:noFill/>
                </a:ln>
                <a:solidFill>
                  <a:srgbClr val="000000"/>
                </a:solidFill>
                <a:effectLst/>
                <a:uLnTx/>
                <a:uFillTx/>
                <a:latin typeface="Lato Regular"/>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11/21</a:t>
            </a:fld>
            <a:endParaRPr kumimoji="0" lang="en-US" sz="500" b="0" i="0" u="none" strike="noStrike" kern="1200" cap="none" spc="0" normalizeH="0" baseline="0" noProof="0">
              <a:ln>
                <a:noFill/>
              </a:ln>
              <a:solidFill>
                <a:srgbClr val="000000"/>
              </a:solidFill>
              <a:effectLst/>
              <a:uLnTx/>
              <a:uFillTx/>
              <a:latin typeface="Lato Regular"/>
              <a:ea typeface="+mn-ea"/>
              <a:cs typeface="+mn-cs"/>
            </a:endParaRPr>
          </a:p>
        </p:txBody>
      </p:sp>
      <p:sp>
        <p:nvSpPr>
          <p:cNvPr id="5" name="Plassholder for bunntekst 4">
            <a:extLst>
              <a:ext uri="{FF2B5EF4-FFF2-40B4-BE49-F238E27FC236}">
                <a16:creationId xmlns:a16="http://schemas.microsoft.com/office/drawing/2014/main" id="{B6A093F4-AB30-4A1E-ACA5-61B16A44AB6A}"/>
              </a:ext>
            </a:extLst>
          </p:cNvPr>
          <p:cNvSpPr>
            <a:spLocks noGrp="1"/>
          </p:cNvSpPr>
          <p:nvPr>
            <p:ph type="ftr" sz="quarter" idx="15"/>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Lato Regular"/>
                <a:ea typeface="+mn-ea"/>
                <a:cs typeface="+mn-cs"/>
              </a:rPr>
              <a:t>/  Footer</a:t>
            </a:r>
          </a:p>
        </p:txBody>
      </p:sp>
      <p:sp>
        <p:nvSpPr>
          <p:cNvPr id="6" name="Plassholder for lysbildenummer 5">
            <a:extLst>
              <a:ext uri="{FF2B5EF4-FFF2-40B4-BE49-F238E27FC236}">
                <a16:creationId xmlns:a16="http://schemas.microsoft.com/office/drawing/2014/main" id="{F4CCC6F6-2E0F-47E6-BFB0-CBC6E03C66FE}"/>
              </a:ext>
            </a:extLst>
          </p:cNvPr>
          <p:cNvSpPr>
            <a:spLocks noGrp="1"/>
          </p:cNvSpPr>
          <p:nvPr>
            <p:ph type="sldNum" sz="quarter" idx="16"/>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BE74CFF-2C60-4519-94DA-E8FC82378F73}" type="slidenum">
              <a:rPr kumimoji="0" lang="en-US" sz="500" b="0" i="0" u="none" strike="noStrike" kern="1200" cap="none" spc="0" normalizeH="0" baseline="0" noProof="0" smtClean="0">
                <a:ln>
                  <a:noFill/>
                </a:ln>
                <a:solidFill>
                  <a:srgbClr val="000000"/>
                </a:solidFill>
                <a:effectLst/>
                <a:uLnTx/>
                <a:uFillTx/>
                <a:latin typeface="Lato Regular"/>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en-US" sz="500" b="0" i="0" u="none" strike="noStrike" kern="1200" cap="none" spc="0" normalizeH="0" baseline="0" noProof="0">
              <a:ln>
                <a:noFill/>
              </a:ln>
              <a:solidFill>
                <a:srgbClr val="000000"/>
              </a:solidFill>
              <a:effectLst/>
              <a:uLnTx/>
              <a:uFillTx/>
              <a:latin typeface="Lato Regular"/>
              <a:ea typeface="+mn-ea"/>
              <a:cs typeface="+mn-cs"/>
            </a:endParaRPr>
          </a:p>
        </p:txBody>
      </p:sp>
      <p:sp>
        <p:nvSpPr>
          <p:cNvPr id="12" name="Tittel 11">
            <a:extLst>
              <a:ext uri="{FF2B5EF4-FFF2-40B4-BE49-F238E27FC236}">
                <a16:creationId xmlns:a16="http://schemas.microsoft.com/office/drawing/2014/main" id="{62E9FB88-BEB6-4BAF-A7DB-1A335DB01C0C}"/>
              </a:ext>
            </a:extLst>
          </p:cNvPr>
          <p:cNvSpPr>
            <a:spLocks noGrp="1"/>
          </p:cNvSpPr>
          <p:nvPr>
            <p:ph type="title"/>
          </p:nvPr>
        </p:nvSpPr>
        <p:spPr>
          <a:xfrm>
            <a:off x="432055" y="69157"/>
            <a:ext cx="8281035" cy="618264"/>
          </a:xfrm>
        </p:spPr>
        <p:txBody>
          <a:bodyPr/>
          <a:lstStyle/>
          <a:p>
            <a:r>
              <a:rPr lang="nb-NO" dirty="0"/>
              <a:t>Spare parts</a:t>
            </a:r>
          </a:p>
        </p:txBody>
      </p:sp>
      <p:pic>
        <p:nvPicPr>
          <p:cNvPr id="2" name="Bilde 1">
            <a:extLst>
              <a:ext uri="{FF2B5EF4-FFF2-40B4-BE49-F238E27FC236}">
                <a16:creationId xmlns:a16="http://schemas.microsoft.com/office/drawing/2014/main" id="{11561C81-688B-4504-A2AC-DCC08D38B5C3}"/>
              </a:ext>
            </a:extLst>
          </p:cNvPr>
          <p:cNvPicPr>
            <a:picLocks noChangeAspect="1"/>
          </p:cNvPicPr>
          <p:nvPr/>
        </p:nvPicPr>
        <p:blipFill>
          <a:blip r:embed="rId8"/>
          <a:stretch>
            <a:fillRect/>
          </a:stretch>
        </p:blipFill>
        <p:spPr>
          <a:xfrm>
            <a:off x="370047" y="507157"/>
            <a:ext cx="8001665" cy="4568774"/>
          </a:xfrm>
          <a:prstGeom prst="rect">
            <a:avLst/>
          </a:prstGeom>
        </p:spPr>
      </p:pic>
    </p:spTree>
    <p:extLst>
      <p:ext uri="{BB962C8B-B14F-4D97-AF65-F5344CB8AC3E}">
        <p14:creationId xmlns:p14="http://schemas.microsoft.com/office/powerpoint/2010/main" val="41699127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19BBEBF-544D-4EEC-8BA4-405A52D487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1" name="think-cell Slide" r:id="rId6" imgW="353" imgH="353" progId="TCLayout.ActiveDocument.1">
                  <p:embed/>
                </p:oleObj>
              </mc:Choice>
              <mc:Fallback>
                <p:oleObj name="think-cell Slide" r:id="rId6" imgW="353" imgH="353" progId="TCLayout.ActiveDocument.1">
                  <p:embed/>
                  <p:pic>
                    <p:nvPicPr>
                      <p:cNvPr id="9" name="Object 8" hidden="1">
                        <a:extLst>
                          <a:ext uri="{FF2B5EF4-FFF2-40B4-BE49-F238E27FC236}">
                            <a16:creationId xmlns:a16="http://schemas.microsoft.com/office/drawing/2014/main" id="{119BBEBF-544D-4EEC-8BA4-405A52D487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57A43C8-B701-460B-BEE5-5BC7599717F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b="1">
              <a:latin typeface="Lato Regular"/>
              <a:ea typeface="+mj-ea"/>
              <a:cs typeface="+mj-cs"/>
              <a:sym typeface="Lato Regular"/>
            </a:endParaRPr>
          </a:p>
        </p:txBody>
      </p:sp>
      <p:sp>
        <p:nvSpPr>
          <p:cNvPr id="4" name="Plassholder for dato 3">
            <a:extLst>
              <a:ext uri="{FF2B5EF4-FFF2-40B4-BE49-F238E27FC236}">
                <a16:creationId xmlns:a16="http://schemas.microsoft.com/office/drawing/2014/main" id="{784B5BDB-B176-497E-B758-48083AFF0A5F}"/>
              </a:ext>
            </a:extLst>
          </p:cNvPr>
          <p:cNvSpPr>
            <a:spLocks noGrp="1"/>
          </p:cNvSpPr>
          <p:nvPr>
            <p:ph type="dt" sz="half" idx="1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58970512-AFCF-461A-ACB5-D6A6EB013EA8}" type="datetime1">
              <a:rPr kumimoji="0" lang="en-US" sz="500" b="0" i="0" u="none" strike="noStrike" kern="1200" cap="none" spc="0" normalizeH="0" baseline="0" noProof="0" smtClean="0">
                <a:ln>
                  <a:noFill/>
                </a:ln>
                <a:solidFill>
                  <a:srgbClr val="000000"/>
                </a:solidFill>
                <a:effectLst/>
                <a:uLnTx/>
                <a:uFillTx/>
                <a:latin typeface="Lato Regular"/>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11/21</a:t>
            </a:fld>
            <a:endParaRPr kumimoji="0" lang="en-US" sz="500" b="0" i="0" u="none" strike="noStrike" kern="1200" cap="none" spc="0" normalizeH="0" baseline="0" noProof="0">
              <a:ln>
                <a:noFill/>
              </a:ln>
              <a:solidFill>
                <a:srgbClr val="000000"/>
              </a:solidFill>
              <a:effectLst/>
              <a:uLnTx/>
              <a:uFillTx/>
              <a:latin typeface="Lato Regular"/>
              <a:ea typeface="+mn-ea"/>
              <a:cs typeface="+mn-cs"/>
            </a:endParaRPr>
          </a:p>
        </p:txBody>
      </p:sp>
      <p:sp>
        <p:nvSpPr>
          <p:cNvPr id="5" name="Plassholder for bunntekst 4">
            <a:extLst>
              <a:ext uri="{FF2B5EF4-FFF2-40B4-BE49-F238E27FC236}">
                <a16:creationId xmlns:a16="http://schemas.microsoft.com/office/drawing/2014/main" id="{B6A093F4-AB30-4A1E-ACA5-61B16A44AB6A}"/>
              </a:ext>
            </a:extLst>
          </p:cNvPr>
          <p:cNvSpPr>
            <a:spLocks noGrp="1"/>
          </p:cNvSpPr>
          <p:nvPr>
            <p:ph type="ftr" sz="quarter" idx="15"/>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Lato Regular"/>
                <a:ea typeface="+mn-ea"/>
                <a:cs typeface="+mn-cs"/>
              </a:rPr>
              <a:t>/  Footer</a:t>
            </a:r>
          </a:p>
        </p:txBody>
      </p:sp>
      <p:sp>
        <p:nvSpPr>
          <p:cNvPr id="6" name="Plassholder for lysbildenummer 5">
            <a:extLst>
              <a:ext uri="{FF2B5EF4-FFF2-40B4-BE49-F238E27FC236}">
                <a16:creationId xmlns:a16="http://schemas.microsoft.com/office/drawing/2014/main" id="{F4CCC6F6-2E0F-47E6-BFB0-CBC6E03C66FE}"/>
              </a:ext>
            </a:extLst>
          </p:cNvPr>
          <p:cNvSpPr>
            <a:spLocks noGrp="1"/>
          </p:cNvSpPr>
          <p:nvPr>
            <p:ph type="sldNum" sz="quarter" idx="16"/>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BE74CFF-2C60-4519-94DA-E8FC82378F73}" type="slidenum">
              <a:rPr kumimoji="0" lang="en-US" sz="500" b="0" i="0" u="none" strike="noStrike" kern="1200" cap="none" spc="0" normalizeH="0" baseline="0" noProof="0" smtClean="0">
                <a:ln>
                  <a:noFill/>
                </a:ln>
                <a:solidFill>
                  <a:srgbClr val="000000"/>
                </a:solidFill>
                <a:effectLst/>
                <a:uLnTx/>
                <a:uFillTx/>
                <a:latin typeface="Lato Regular"/>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1</a:t>
            </a:fld>
            <a:endParaRPr kumimoji="0" lang="en-US" sz="500" b="0" i="0" u="none" strike="noStrike" kern="1200" cap="none" spc="0" normalizeH="0" baseline="0" noProof="0">
              <a:ln>
                <a:noFill/>
              </a:ln>
              <a:solidFill>
                <a:srgbClr val="000000"/>
              </a:solidFill>
              <a:effectLst/>
              <a:uLnTx/>
              <a:uFillTx/>
              <a:latin typeface="Lato Regular"/>
              <a:ea typeface="+mn-ea"/>
              <a:cs typeface="+mn-cs"/>
            </a:endParaRPr>
          </a:p>
        </p:txBody>
      </p:sp>
      <p:sp>
        <p:nvSpPr>
          <p:cNvPr id="12" name="Tittel 11">
            <a:extLst>
              <a:ext uri="{FF2B5EF4-FFF2-40B4-BE49-F238E27FC236}">
                <a16:creationId xmlns:a16="http://schemas.microsoft.com/office/drawing/2014/main" id="{62E9FB88-BEB6-4BAF-A7DB-1A335DB01C0C}"/>
              </a:ext>
            </a:extLst>
          </p:cNvPr>
          <p:cNvSpPr>
            <a:spLocks noGrp="1"/>
          </p:cNvSpPr>
          <p:nvPr>
            <p:ph type="title"/>
          </p:nvPr>
        </p:nvSpPr>
        <p:spPr/>
        <p:txBody>
          <a:bodyPr/>
          <a:lstStyle/>
          <a:p>
            <a:r>
              <a:rPr lang="nb-NO" dirty="0"/>
              <a:t>Service films</a:t>
            </a:r>
          </a:p>
        </p:txBody>
      </p:sp>
      <p:pic>
        <p:nvPicPr>
          <p:cNvPr id="2" name="Bilde 1">
            <a:extLst>
              <a:ext uri="{FF2B5EF4-FFF2-40B4-BE49-F238E27FC236}">
                <a16:creationId xmlns:a16="http://schemas.microsoft.com/office/drawing/2014/main" id="{1E3B0BDA-62CD-47F7-B84D-9604A8675866}"/>
              </a:ext>
            </a:extLst>
          </p:cNvPr>
          <p:cNvPicPr>
            <a:picLocks noChangeAspect="1"/>
          </p:cNvPicPr>
          <p:nvPr/>
        </p:nvPicPr>
        <p:blipFill>
          <a:blip r:embed="rId8"/>
          <a:stretch>
            <a:fillRect/>
          </a:stretch>
        </p:blipFill>
        <p:spPr>
          <a:xfrm>
            <a:off x="1290977" y="1017884"/>
            <a:ext cx="6562046" cy="4127204"/>
          </a:xfrm>
          <a:prstGeom prst="rect">
            <a:avLst/>
          </a:prstGeom>
        </p:spPr>
      </p:pic>
    </p:spTree>
    <p:extLst>
      <p:ext uri="{BB962C8B-B14F-4D97-AF65-F5344CB8AC3E}">
        <p14:creationId xmlns:p14="http://schemas.microsoft.com/office/powerpoint/2010/main" val="15560269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751960" y="415093"/>
            <a:ext cx="3342801" cy="1540763"/>
          </a:xfrm>
          <a:prstGeom prst="rect">
            <a:avLst/>
          </a:prstGeom>
        </p:spPr>
        <p:txBody>
          <a:bodyPr vert="horz" wrap="square" lIns="0" tIns="14054" rIns="0" bIns="0" rtlCol="0">
            <a:spAutoFit/>
          </a:bodyPr>
          <a:lstStyle/>
          <a:p>
            <a:pPr marL="760386" algn="ctr">
              <a:spcBef>
                <a:spcPts val="110"/>
              </a:spcBef>
            </a:pPr>
            <a:r>
              <a:rPr sz="1600" b="1" spc="-2" dirty="0">
                <a:latin typeface="Calibri"/>
                <a:cs typeface="Calibri"/>
              </a:rPr>
              <a:t>Stressless</a:t>
            </a:r>
            <a:r>
              <a:rPr sz="1600" b="1" dirty="0">
                <a:latin typeface="Calibri"/>
                <a:cs typeface="Calibri"/>
              </a:rPr>
              <a:t> </a:t>
            </a:r>
            <a:r>
              <a:rPr sz="1600" b="1" spc="-2" dirty="0">
                <a:latin typeface="Calibri"/>
                <a:cs typeface="Calibri"/>
              </a:rPr>
              <a:t>Max</a:t>
            </a:r>
            <a:r>
              <a:rPr sz="1600" b="1" spc="-10" dirty="0">
                <a:latin typeface="Calibri"/>
                <a:cs typeface="Calibri"/>
              </a:rPr>
              <a:t> </a:t>
            </a:r>
            <a:r>
              <a:rPr sz="1600" b="1" dirty="0">
                <a:latin typeface="Calibri"/>
                <a:cs typeface="Calibri"/>
              </a:rPr>
              <a:t>&amp; </a:t>
            </a:r>
            <a:r>
              <a:rPr sz="1600" b="1" spc="-2" dirty="0">
                <a:latin typeface="Calibri"/>
                <a:cs typeface="Calibri"/>
              </a:rPr>
              <a:t>Mike</a:t>
            </a:r>
            <a:endParaRPr sz="1600" dirty="0">
              <a:latin typeface="Calibri"/>
              <a:cs typeface="Calibri"/>
            </a:endParaRPr>
          </a:p>
          <a:p>
            <a:pPr marL="766190" marR="2444" algn="ctr">
              <a:lnSpc>
                <a:spcPct val="110000"/>
              </a:lnSpc>
            </a:pPr>
            <a:r>
              <a:rPr sz="1600" spc="-2" dirty="0">
                <a:latin typeface="Calibri"/>
                <a:cs typeface="Calibri"/>
              </a:rPr>
              <a:t>Control</a:t>
            </a:r>
            <a:r>
              <a:rPr sz="1600" spc="2" dirty="0">
                <a:latin typeface="Calibri"/>
                <a:cs typeface="Calibri"/>
              </a:rPr>
              <a:t> </a:t>
            </a:r>
            <a:r>
              <a:rPr sz="1600" spc="-2" dirty="0">
                <a:latin typeface="Calibri"/>
                <a:cs typeface="Calibri"/>
              </a:rPr>
              <a:t>panel</a:t>
            </a:r>
            <a:r>
              <a:rPr sz="1600" spc="5" dirty="0">
                <a:latin typeface="Calibri"/>
                <a:cs typeface="Calibri"/>
              </a:rPr>
              <a:t> </a:t>
            </a:r>
            <a:r>
              <a:rPr sz="1600" spc="-2" dirty="0">
                <a:latin typeface="Calibri"/>
                <a:cs typeface="Calibri"/>
              </a:rPr>
              <a:t>replacement</a:t>
            </a:r>
            <a:r>
              <a:rPr sz="1600" spc="-5" dirty="0">
                <a:latin typeface="Calibri"/>
                <a:cs typeface="Calibri"/>
              </a:rPr>
              <a:t> </a:t>
            </a:r>
            <a:r>
              <a:rPr sz="1600" spc="-2" dirty="0">
                <a:latin typeface="Calibri"/>
                <a:cs typeface="Calibri"/>
              </a:rPr>
              <a:t>procedure </a:t>
            </a:r>
            <a:r>
              <a:rPr sz="1600" spc="-113" dirty="0">
                <a:latin typeface="Calibri"/>
                <a:cs typeface="Calibri"/>
              </a:rPr>
              <a:t> </a:t>
            </a:r>
            <a:endParaRPr sz="1600" dirty="0">
              <a:latin typeface="Calibri"/>
              <a:cs typeface="Calibri"/>
            </a:endParaRPr>
          </a:p>
          <a:p>
            <a:pPr>
              <a:lnSpc>
                <a:spcPct val="100000"/>
              </a:lnSpc>
            </a:pPr>
            <a:endParaRPr sz="1600" dirty="0">
              <a:latin typeface="Calibri"/>
              <a:cs typeface="Calibri"/>
            </a:endParaRPr>
          </a:p>
          <a:p>
            <a:pPr>
              <a:spcBef>
                <a:spcPts val="2"/>
              </a:spcBef>
            </a:pPr>
            <a:endParaRPr sz="1600" dirty="0">
              <a:latin typeface="Calibri"/>
              <a:cs typeface="Calibri"/>
            </a:endParaRPr>
          </a:p>
          <a:p>
            <a:pPr marL="6110"/>
            <a:r>
              <a:rPr sz="1600" b="1" dirty="0">
                <a:latin typeface="Calibri"/>
                <a:cs typeface="Calibri"/>
              </a:rPr>
              <a:t>1.</a:t>
            </a:r>
            <a:r>
              <a:rPr sz="1600" b="1" spc="89" dirty="0">
                <a:latin typeface="Calibri"/>
                <a:cs typeface="Calibri"/>
              </a:rPr>
              <a:t> </a:t>
            </a:r>
            <a:r>
              <a:rPr sz="1600" b="1" spc="-2" dirty="0">
                <a:latin typeface="Calibri"/>
                <a:cs typeface="Calibri"/>
              </a:rPr>
              <a:t>Tools</a:t>
            </a:r>
            <a:r>
              <a:rPr sz="1600" b="1" dirty="0">
                <a:latin typeface="Calibri"/>
                <a:cs typeface="Calibri"/>
              </a:rPr>
              <a:t> </a:t>
            </a:r>
            <a:r>
              <a:rPr sz="1600" b="1" spc="-2" dirty="0">
                <a:latin typeface="Calibri"/>
                <a:cs typeface="Calibri"/>
              </a:rPr>
              <a:t>and</a:t>
            </a:r>
            <a:r>
              <a:rPr sz="1600" b="1" spc="-5" dirty="0">
                <a:latin typeface="Calibri"/>
                <a:cs typeface="Calibri"/>
              </a:rPr>
              <a:t> </a:t>
            </a:r>
            <a:r>
              <a:rPr sz="1600" b="1" spc="-2" dirty="0">
                <a:latin typeface="Calibri"/>
                <a:cs typeface="Calibri"/>
              </a:rPr>
              <a:t>equipment</a:t>
            </a:r>
            <a:endParaRPr sz="1600" dirty="0">
              <a:latin typeface="Calibri"/>
              <a:cs typeface="Calibri"/>
            </a:endParaRPr>
          </a:p>
        </p:txBody>
      </p:sp>
      <p:graphicFrame>
        <p:nvGraphicFramePr>
          <p:cNvPr id="3" name="object 3"/>
          <p:cNvGraphicFramePr>
            <a:graphicFrameLocks noGrp="1"/>
          </p:cNvGraphicFramePr>
          <p:nvPr>
            <p:extLst>
              <p:ext uri="{D42A27DB-BD31-4B8C-83A1-F6EECF244321}">
                <p14:modId xmlns:p14="http://schemas.microsoft.com/office/powerpoint/2010/main" val="2282312718"/>
              </p:ext>
            </p:extLst>
          </p:nvPr>
        </p:nvGraphicFramePr>
        <p:xfrm>
          <a:off x="4372215" y="2043952"/>
          <a:ext cx="3211926" cy="2504995"/>
        </p:xfrm>
        <a:graphic>
          <a:graphicData uri="http://schemas.openxmlformats.org/drawingml/2006/table">
            <a:tbl>
              <a:tblPr firstRow="1" bandRow="1">
                <a:tableStyleId>{2D5ABB26-0587-4C30-8999-92F81FD0307C}</a:tableStyleId>
              </a:tblPr>
              <a:tblGrid>
                <a:gridCol w="1623245">
                  <a:extLst>
                    <a:ext uri="{9D8B030D-6E8A-4147-A177-3AD203B41FA5}">
                      <a16:colId xmlns:a16="http://schemas.microsoft.com/office/drawing/2014/main" val="20000"/>
                    </a:ext>
                  </a:extLst>
                </a:gridCol>
                <a:gridCol w="1588681">
                  <a:extLst>
                    <a:ext uri="{9D8B030D-6E8A-4147-A177-3AD203B41FA5}">
                      <a16:colId xmlns:a16="http://schemas.microsoft.com/office/drawing/2014/main" val="20001"/>
                    </a:ext>
                  </a:extLst>
                </a:gridCol>
              </a:tblGrid>
              <a:tr h="362966">
                <a:tc>
                  <a:txBody>
                    <a:bodyPr/>
                    <a:lstStyle/>
                    <a:p>
                      <a:pPr marL="69850">
                        <a:lnSpc>
                          <a:spcPts val="1290"/>
                        </a:lnSpc>
                      </a:pPr>
                      <a:r>
                        <a:rPr sz="500" dirty="0">
                          <a:latin typeface="Calibri"/>
                          <a:cs typeface="Calibri"/>
                        </a:rPr>
                        <a:t>New</a:t>
                      </a:r>
                      <a:r>
                        <a:rPr sz="500" spc="-5" dirty="0">
                          <a:latin typeface="Calibri"/>
                          <a:cs typeface="Calibri"/>
                        </a:rPr>
                        <a:t> control</a:t>
                      </a:r>
                      <a:r>
                        <a:rPr sz="500" spc="-10" dirty="0">
                          <a:latin typeface="Calibri"/>
                          <a:cs typeface="Calibri"/>
                        </a:rPr>
                        <a:t> </a:t>
                      </a:r>
                      <a:r>
                        <a:rPr sz="500" spc="-5" dirty="0">
                          <a:latin typeface="Calibri"/>
                          <a:cs typeface="Calibri"/>
                        </a:rPr>
                        <a:t>panel</a:t>
                      </a:r>
                      <a:endParaRPr sz="500" dirty="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5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662014">
                <a:tc>
                  <a:txBody>
                    <a:bodyPr/>
                    <a:lstStyle/>
                    <a:p>
                      <a:pPr marL="69850">
                        <a:lnSpc>
                          <a:spcPts val="1290"/>
                        </a:lnSpc>
                      </a:pPr>
                      <a:r>
                        <a:rPr sz="500" spc="-5" dirty="0">
                          <a:latin typeface="Calibri"/>
                          <a:cs typeface="Calibri"/>
                        </a:rPr>
                        <a:t>Worktable</a:t>
                      </a:r>
                      <a:r>
                        <a:rPr sz="500" spc="-20" dirty="0">
                          <a:latin typeface="Calibri"/>
                          <a:cs typeface="Calibri"/>
                        </a:rPr>
                        <a:t> </a:t>
                      </a:r>
                      <a:r>
                        <a:rPr sz="500" dirty="0">
                          <a:latin typeface="Calibri"/>
                          <a:cs typeface="Calibri"/>
                        </a:rPr>
                        <a:t>with</a:t>
                      </a:r>
                      <a:r>
                        <a:rPr sz="500" spc="-10" dirty="0">
                          <a:latin typeface="Calibri"/>
                          <a:cs typeface="Calibri"/>
                        </a:rPr>
                        <a:t> </a:t>
                      </a:r>
                      <a:r>
                        <a:rPr sz="500" spc="-5" dirty="0">
                          <a:latin typeface="Calibri"/>
                          <a:cs typeface="Calibri"/>
                        </a:rPr>
                        <a:t>soft</a:t>
                      </a:r>
                      <a:r>
                        <a:rPr sz="500" spc="-15" dirty="0">
                          <a:latin typeface="Calibri"/>
                          <a:cs typeface="Calibri"/>
                        </a:rPr>
                        <a:t> </a:t>
                      </a:r>
                      <a:r>
                        <a:rPr sz="500" dirty="0">
                          <a:latin typeface="Calibri"/>
                          <a:cs typeface="Calibri"/>
                        </a:rPr>
                        <a:t>cover</a:t>
                      </a:r>
                      <a:endParaRPr sz="5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5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r h="521237">
                <a:tc>
                  <a:txBody>
                    <a:bodyPr/>
                    <a:lstStyle/>
                    <a:p>
                      <a:pPr marL="69850">
                        <a:lnSpc>
                          <a:spcPts val="1290"/>
                        </a:lnSpc>
                      </a:pPr>
                      <a:r>
                        <a:rPr sz="500" dirty="0">
                          <a:latin typeface="Calibri"/>
                          <a:cs typeface="Calibri"/>
                        </a:rPr>
                        <a:t>“CCR</a:t>
                      </a:r>
                      <a:r>
                        <a:rPr sz="500" spc="-15" dirty="0">
                          <a:latin typeface="Calibri"/>
                          <a:cs typeface="Calibri"/>
                        </a:rPr>
                        <a:t> </a:t>
                      </a:r>
                      <a:r>
                        <a:rPr sz="500" dirty="0">
                          <a:latin typeface="Calibri"/>
                          <a:cs typeface="Calibri"/>
                        </a:rPr>
                        <a:t>–</a:t>
                      </a:r>
                      <a:r>
                        <a:rPr sz="500" spc="5" dirty="0">
                          <a:latin typeface="Calibri"/>
                          <a:cs typeface="Calibri"/>
                        </a:rPr>
                        <a:t> </a:t>
                      </a:r>
                      <a:r>
                        <a:rPr sz="500" spc="-5" dirty="0">
                          <a:latin typeface="Calibri"/>
                          <a:cs typeface="Calibri"/>
                        </a:rPr>
                        <a:t>Tool” provided</a:t>
                      </a:r>
                      <a:r>
                        <a:rPr sz="500" spc="-10" dirty="0">
                          <a:latin typeface="Calibri"/>
                          <a:cs typeface="Calibri"/>
                        </a:rPr>
                        <a:t> </a:t>
                      </a:r>
                      <a:r>
                        <a:rPr sz="500" spc="-5" dirty="0">
                          <a:latin typeface="Calibri"/>
                          <a:cs typeface="Calibri"/>
                        </a:rPr>
                        <a:t>by PD</a:t>
                      </a:r>
                      <a:r>
                        <a:rPr sz="500" spc="5" dirty="0">
                          <a:latin typeface="Calibri"/>
                          <a:cs typeface="Calibri"/>
                        </a:rPr>
                        <a:t> </a:t>
                      </a:r>
                      <a:r>
                        <a:rPr sz="500" spc="-5" dirty="0">
                          <a:latin typeface="Calibri"/>
                          <a:cs typeface="Calibri"/>
                        </a:rPr>
                        <a:t>Norway</a:t>
                      </a:r>
                      <a:endParaRPr sz="5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5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2"/>
                  </a:ext>
                </a:extLst>
              </a:tr>
              <a:tr h="413187">
                <a:tc>
                  <a:txBody>
                    <a:bodyPr/>
                    <a:lstStyle/>
                    <a:p>
                      <a:pPr marL="69850">
                        <a:lnSpc>
                          <a:spcPts val="1290"/>
                        </a:lnSpc>
                      </a:pPr>
                      <a:r>
                        <a:rPr sz="500" spc="-5" dirty="0">
                          <a:latin typeface="Calibri"/>
                          <a:cs typeface="Calibri"/>
                        </a:rPr>
                        <a:t>Knife</a:t>
                      </a:r>
                      <a:endParaRPr sz="5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5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3"/>
                  </a:ext>
                </a:extLst>
              </a:tr>
              <a:tr h="545591">
                <a:tc>
                  <a:txBody>
                    <a:bodyPr/>
                    <a:lstStyle/>
                    <a:p>
                      <a:pPr marL="69850">
                        <a:lnSpc>
                          <a:spcPts val="1290"/>
                        </a:lnSpc>
                      </a:pPr>
                      <a:r>
                        <a:rPr sz="500" spc="-5" dirty="0">
                          <a:latin typeface="Calibri"/>
                          <a:cs typeface="Calibri"/>
                        </a:rPr>
                        <a:t>Tape</a:t>
                      </a:r>
                      <a:endParaRPr sz="5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500" dirty="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4"/>
                  </a:ext>
                </a:extLst>
              </a:tr>
            </a:tbl>
          </a:graphicData>
        </a:graphic>
      </p:graphicFrame>
      <p:pic>
        <p:nvPicPr>
          <p:cNvPr id="4" name="object 4"/>
          <p:cNvPicPr/>
          <p:nvPr/>
        </p:nvPicPr>
        <p:blipFill>
          <a:blip r:embed="rId2" cstate="print"/>
          <a:stretch>
            <a:fillRect/>
          </a:stretch>
        </p:blipFill>
        <p:spPr>
          <a:xfrm>
            <a:off x="6083005" y="2125479"/>
            <a:ext cx="830263" cy="255727"/>
          </a:xfrm>
          <a:prstGeom prst="rect">
            <a:avLst/>
          </a:prstGeom>
        </p:spPr>
      </p:pic>
      <p:pic>
        <p:nvPicPr>
          <p:cNvPr id="5" name="object 5"/>
          <p:cNvPicPr/>
          <p:nvPr/>
        </p:nvPicPr>
        <p:blipFill>
          <a:blip r:embed="rId3" cstate="print"/>
          <a:stretch>
            <a:fillRect/>
          </a:stretch>
        </p:blipFill>
        <p:spPr>
          <a:xfrm>
            <a:off x="6083005" y="2462732"/>
            <a:ext cx="979216" cy="634781"/>
          </a:xfrm>
          <a:prstGeom prst="rect">
            <a:avLst/>
          </a:prstGeom>
        </p:spPr>
      </p:pic>
      <p:pic>
        <p:nvPicPr>
          <p:cNvPr id="6" name="object 6"/>
          <p:cNvPicPr/>
          <p:nvPr/>
        </p:nvPicPr>
        <p:blipFill>
          <a:blip r:embed="rId4" cstate="print"/>
          <a:stretch>
            <a:fillRect/>
          </a:stretch>
        </p:blipFill>
        <p:spPr>
          <a:xfrm>
            <a:off x="6083005" y="3152583"/>
            <a:ext cx="831291" cy="892996"/>
          </a:xfrm>
          <a:prstGeom prst="rect">
            <a:avLst/>
          </a:prstGeom>
        </p:spPr>
      </p:pic>
      <p:pic>
        <p:nvPicPr>
          <p:cNvPr id="7" name="object 7"/>
          <p:cNvPicPr/>
          <p:nvPr/>
        </p:nvPicPr>
        <p:blipFill>
          <a:blip r:embed="rId5" cstate="print"/>
          <a:stretch>
            <a:fillRect/>
          </a:stretch>
        </p:blipFill>
        <p:spPr>
          <a:xfrm>
            <a:off x="6083005" y="4045579"/>
            <a:ext cx="666513" cy="474923"/>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22300" y="422850"/>
            <a:ext cx="3150453" cy="1763703"/>
          </a:xfrm>
          <a:prstGeom prst="rect">
            <a:avLst/>
          </a:prstGeom>
        </p:spPr>
        <p:txBody>
          <a:bodyPr vert="horz" wrap="square" lIns="0" tIns="6111" rIns="0" bIns="0" rtlCol="0">
            <a:spAutoFit/>
          </a:bodyPr>
          <a:lstStyle/>
          <a:p>
            <a:pPr marL="116089" indent="-110285">
              <a:spcBef>
                <a:spcPts val="48"/>
              </a:spcBef>
              <a:buAutoNum type="arabicPeriod" startAt="2"/>
              <a:tabLst>
                <a:tab pos="116395" algn="l"/>
              </a:tabLst>
            </a:pPr>
            <a:r>
              <a:rPr sz="1800" b="1" spc="-2" dirty="0">
                <a:latin typeface="Calibri"/>
                <a:cs typeface="Calibri"/>
              </a:rPr>
              <a:t>Procedure</a:t>
            </a:r>
            <a:endParaRPr sz="1800" dirty="0">
              <a:latin typeface="Calibri"/>
              <a:cs typeface="Calibri"/>
            </a:endParaRPr>
          </a:p>
          <a:p>
            <a:pPr>
              <a:spcBef>
                <a:spcPts val="24"/>
              </a:spcBef>
              <a:buFont typeface="Calibri"/>
              <a:buAutoNum type="arabicPeriod" startAt="2"/>
            </a:pPr>
            <a:endParaRPr sz="1800" dirty="0">
              <a:latin typeface="Calibri"/>
              <a:cs typeface="Calibri"/>
            </a:endParaRPr>
          </a:p>
          <a:p>
            <a:pPr marL="226069" marR="2444" lvl="1" indent="-109979">
              <a:lnSpc>
                <a:spcPct val="110000"/>
              </a:lnSpc>
              <a:buAutoNum type="alphaUcPeriod"/>
              <a:tabLst>
                <a:tab pos="226374" algn="l"/>
              </a:tabLst>
            </a:pPr>
            <a:r>
              <a:rPr sz="1800" dirty="0">
                <a:latin typeface="Calibri"/>
                <a:cs typeface="Calibri"/>
              </a:rPr>
              <a:t>Open </a:t>
            </a:r>
            <a:r>
              <a:rPr sz="1800" spc="-2" dirty="0">
                <a:latin typeface="Calibri"/>
                <a:cs typeface="Calibri"/>
              </a:rPr>
              <a:t>carton.</a:t>
            </a:r>
            <a:r>
              <a:rPr sz="1800" spc="-5" dirty="0">
                <a:latin typeface="Calibri"/>
                <a:cs typeface="Calibri"/>
              </a:rPr>
              <a:t> </a:t>
            </a:r>
            <a:r>
              <a:rPr sz="1800" dirty="0">
                <a:latin typeface="Calibri"/>
                <a:cs typeface="Calibri"/>
              </a:rPr>
              <a:t>Place </a:t>
            </a:r>
            <a:r>
              <a:rPr sz="1800" spc="-2" dirty="0">
                <a:latin typeface="Calibri"/>
                <a:cs typeface="Calibri"/>
              </a:rPr>
              <a:t>cardboard</a:t>
            </a:r>
            <a:r>
              <a:rPr sz="1800" dirty="0">
                <a:latin typeface="Calibri"/>
                <a:cs typeface="Calibri"/>
              </a:rPr>
              <a:t> /</a:t>
            </a:r>
            <a:r>
              <a:rPr sz="1800" spc="5" dirty="0">
                <a:latin typeface="Calibri"/>
                <a:cs typeface="Calibri"/>
              </a:rPr>
              <a:t> </a:t>
            </a:r>
            <a:r>
              <a:rPr sz="1800" spc="-2" dirty="0">
                <a:latin typeface="Calibri"/>
                <a:cs typeface="Calibri"/>
              </a:rPr>
              <a:t>foam</a:t>
            </a:r>
            <a:r>
              <a:rPr sz="1800" spc="7" dirty="0">
                <a:latin typeface="Calibri"/>
                <a:cs typeface="Calibri"/>
              </a:rPr>
              <a:t> </a:t>
            </a:r>
            <a:r>
              <a:rPr sz="1800" spc="-2" dirty="0">
                <a:latin typeface="Calibri"/>
                <a:cs typeface="Calibri"/>
              </a:rPr>
              <a:t>covers,</a:t>
            </a:r>
            <a:r>
              <a:rPr sz="1800" spc="2" dirty="0">
                <a:latin typeface="Calibri"/>
                <a:cs typeface="Calibri"/>
              </a:rPr>
              <a:t> </a:t>
            </a:r>
            <a:r>
              <a:rPr sz="1800" spc="-2" dirty="0">
                <a:latin typeface="Calibri"/>
                <a:cs typeface="Calibri"/>
              </a:rPr>
              <a:t>backrest and</a:t>
            </a:r>
            <a:r>
              <a:rPr sz="1800" dirty="0">
                <a:latin typeface="Calibri"/>
                <a:cs typeface="Calibri"/>
              </a:rPr>
              <a:t> </a:t>
            </a:r>
            <a:r>
              <a:rPr sz="1800" spc="-2" dirty="0">
                <a:latin typeface="Calibri"/>
                <a:cs typeface="Calibri"/>
              </a:rPr>
              <a:t>assembly</a:t>
            </a:r>
            <a:r>
              <a:rPr sz="1800" spc="5" dirty="0">
                <a:latin typeface="Calibri"/>
                <a:cs typeface="Calibri"/>
              </a:rPr>
              <a:t> </a:t>
            </a:r>
            <a:r>
              <a:rPr sz="1800" spc="-2" dirty="0">
                <a:latin typeface="Calibri"/>
                <a:cs typeface="Calibri"/>
              </a:rPr>
              <a:t>instructions</a:t>
            </a:r>
            <a:r>
              <a:rPr sz="1800" dirty="0">
                <a:latin typeface="Calibri"/>
                <a:cs typeface="Calibri"/>
              </a:rPr>
              <a:t> to the </a:t>
            </a:r>
            <a:r>
              <a:rPr sz="1800" spc="-113" dirty="0">
                <a:latin typeface="Calibri"/>
                <a:cs typeface="Calibri"/>
              </a:rPr>
              <a:t> </a:t>
            </a:r>
            <a:r>
              <a:rPr sz="1800" spc="-2" dirty="0">
                <a:latin typeface="Calibri"/>
                <a:cs typeface="Calibri"/>
              </a:rPr>
              <a:t>side.</a:t>
            </a:r>
            <a:endParaRPr sz="1800" dirty="0">
              <a:latin typeface="Calibri"/>
              <a:cs typeface="Calibri"/>
            </a:endParaRPr>
          </a:p>
        </p:txBody>
      </p:sp>
      <p:sp>
        <p:nvSpPr>
          <p:cNvPr id="3" name="object 3"/>
          <p:cNvSpPr txBox="1"/>
          <p:nvPr/>
        </p:nvSpPr>
        <p:spPr>
          <a:xfrm rot="10800000" flipV="1">
            <a:off x="5186723" y="303042"/>
            <a:ext cx="2443522" cy="2673515"/>
          </a:xfrm>
          <a:prstGeom prst="rect">
            <a:avLst/>
          </a:prstGeom>
        </p:spPr>
        <p:txBody>
          <a:bodyPr vert="horz" wrap="square" lIns="0" tIns="5805" rIns="0" bIns="0" rtlCol="0">
            <a:spAutoFit/>
          </a:bodyPr>
          <a:lstStyle/>
          <a:p>
            <a:pPr marL="115784" marR="2444" indent="-109979">
              <a:lnSpc>
                <a:spcPct val="109100"/>
              </a:lnSpc>
              <a:spcBef>
                <a:spcPts val="46"/>
              </a:spcBef>
            </a:pPr>
            <a:r>
              <a:rPr sz="2000" spc="-2" dirty="0">
                <a:latin typeface="Calibri"/>
                <a:cs typeface="Calibri"/>
              </a:rPr>
              <a:t>B.</a:t>
            </a:r>
            <a:r>
              <a:rPr sz="2000" spc="101" dirty="0">
                <a:latin typeface="Calibri"/>
                <a:cs typeface="Calibri"/>
              </a:rPr>
              <a:t> </a:t>
            </a:r>
            <a:r>
              <a:rPr sz="2000" spc="-2" dirty="0">
                <a:latin typeface="Calibri"/>
                <a:cs typeface="Calibri"/>
              </a:rPr>
              <a:t>Lift</a:t>
            </a:r>
            <a:r>
              <a:rPr sz="2000" spc="2" dirty="0">
                <a:latin typeface="Calibri"/>
                <a:cs typeface="Calibri"/>
              </a:rPr>
              <a:t> </a:t>
            </a:r>
            <a:r>
              <a:rPr sz="2000" spc="-2" dirty="0">
                <a:latin typeface="Calibri"/>
                <a:cs typeface="Calibri"/>
              </a:rPr>
              <a:t>chair </a:t>
            </a:r>
            <a:r>
              <a:rPr sz="2000" dirty="0">
                <a:latin typeface="Calibri"/>
                <a:cs typeface="Calibri"/>
              </a:rPr>
              <a:t>out</a:t>
            </a:r>
            <a:r>
              <a:rPr sz="2000" spc="-2" dirty="0">
                <a:latin typeface="Calibri"/>
                <a:cs typeface="Calibri"/>
              </a:rPr>
              <a:t> </a:t>
            </a:r>
            <a:r>
              <a:rPr sz="2000" dirty="0">
                <a:latin typeface="Calibri"/>
                <a:cs typeface="Calibri"/>
              </a:rPr>
              <a:t>of</a:t>
            </a:r>
            <a:r>
              <a:rPr sz="2000" spc="-5" dirty="0">
                <a:latin typeface="Calibri"/>
                <a:cs typeface="Calibri"/>
              </a:rPr>
              <a:t> </a:t>
            </a:r>
            <a:r>
              <a:rPr sz="2000" spc="-2" dirty="0">
                <a:latin typeface="Calibri"/>
                <a:cs typeface="Calibri"/>
              </a:rPr>
              <a:t>carton</a:t>
            </a:r>
            <a:r>
              <a:rPr sz="2000" dirty="0">
                <a:latin typeface="Calibri"/>
                <a:cs typeface="Calibri"/>
              </a:rPr>
              <a:t> </a:t>
            </a:r>
            <a:r>
              <a:rPr sz="2000" spc="-2" dirty="0">
                <a:latin typeface="Calibri"/>
                <a:cs typeface="Calibri"/>
              </a:rPr>
              <a:t>and place</a:t>
            </a:r>
            <a:r>
              <a:rPr sz="2000" spc="5" dirty="0">
                <a:latin typeface="Calibri"/>
                <a:cs typeface="Calibri"/>
              </a:rPr>
              <a:t> </a:t>
            </a:r>
            <a:r>
              <a:rPr sz="2000" spc="-2" dirty="0">
                <a:latin typeface="Calibri"/>
                <a:cs typeface="Calibri"/>
              </a:rPr>
              <a:t>it </a:t>
            </a:r>
            <a:r>
              <a:rPr sz="2000" dirty="0">
                <a:latin typeface="Calibri"/>
                <a:cs typeface="Calibri"/>
              </a:rPr>
              <a:t>on</a:t>
            </a:r>
            <a:r>
              <a:rPr sz="2000" spc="-5" dirty="0">
                <a:latin typeface="Calibri"/>
                <a:cs typeface="Calibri"/>
              </a:rPr>
              <a:t> </a:t>
            </a:r>
            <a:r>
              <a:rPr sz="2000" spc="-2" dirty="0">
                <a:latin typeface="Calibri"/>
                <a:cs typeface="Calibri"/>
              </a:rPr>
              <a:t>worktable.</a:t>
            </a:r>
            <a:r>
              <a:rPr sz="2000" spc="2" dirty="0">
                <a:latin typeface="Calibri"/>
                <a:cs typeface="Calibri"/>
              </a:rPr>
              <a:t> </a:t>
            </a:r>
            <a:r>
              <a:rPr sz="2000" spc="-2" dirty="0">
                <a:latin typeface="Calibri"/>
                <a:cs typeface="Calibri"/>
              </a:rPr>
              <a:t>(Requires</a:t>
            </a:r>
            <a:r>
              <a:rPr sz="2000" spc="5" dirty="0">
                <a:latin typeface="Calibri"/>
                <a:cs typeface="Calibri"/>
              </a:rPr>
              <a:t> </a:t>
            </a:r>
            <a:r>
              <a:rPr sz="2000" spc="-2" dirty="0">
                <a:latin typeface="Calibri"/>
                <a:cs typeface="Calibri"/>
              </a:rPr>
              <a:t>two</a:t>
            </a:r>
            <a:r>
              <a:rPr sz="2000" spc="5" dirty="0">
                <a:latin typeface="Calibri"/>
                <a:cs typeface="Calibri"/>
              </a:rPr>
              <a:t> </a:t>
            </a:r>
            <a:r>
              <a:rPr sz="2000" spc="-2" dirty="0">
                <a:latin typeface="Calibri"/>
                <a:cs typeface="Calibri"/>
              </a:rPr>
              <a:t>people) </a:t>
            </a:r>
            <a:r>
              <a:rPr sz="2000" spc="-113" dirty="0">
                <a:latin typeface="Calibri"/>
                <a:cs typeface="Calibri"/>
              </a:rPr>
              <a:t> </a:t>
            </a:r>
            <a:r>
              <a:rPr sz="2000" dirty="0">
                <a:latin typeface="Calibri"/>
                <a:cs typeface="Calibri"/>
              </a:rPr>
              <a:t>Make</a:t>
            </a:r>
            <a:r>
              <a:rPr sz="2000" spc="-5" dirty="0">
                <a:latin typeface="Calibri"/>
                <a:cs typeface="Calibri"/>
              </a:rPr>
              <a:t> </a:t>
            </a:r>
            <a:r>
              <a:rPr sz="2000" spc="-2" dirty="0">
                <a:latin typeface="Calibri"/>
                <a:cs typeface="Calibri"/>
              </a:rPr>
              <a:t>sure</a:t>
            </a:r>
            <a:r>
              <a:rPr sz="2000" spc="-5" dirty="0">
                <a:latin typeface="Calibri"/>
                <a:cs typeface="Calibri"/>
              </a:rPr>
              <a:t> </a:t>
            </a:r>
            <a:r>
              <a:rPr sz="2000" dirty="0">
                <a:latin typeface="Calibri"/>
                <a:cs typeface="Calibri"/>
              </a:rPr>
              <a:t>to </a:t>
            </a:r>
            <a:r>
              <a:rPr sz="2000" spc="-2" dirty="0">
                <a:latin typeface="Calibri"/>
                <a:cs typeface="Calibri"/>
              </a:rPr>
              <a:t>grab underneath</a:t>
            </a:r>
            <a:r>
              <a:rPr sz="2000" dirty="0">
                <a:latin typeface="Calibri"/>
                <a:cs typeface="Calibri"/>
              </a:rPr>
              <a:t> the</a:t>
            </a:r>
            <a:r>
              <a:rPr sz="2000" spc="2" dirty="0">
                <a:latin typeface="Calibri"/>
                <a:cs typeface="Calibri"/>
              </a:rPr>
              <a:t> </a:t>
            </a:r>
            <a:r>
              <a:rPr sz="2000" spc="-2" dirty="0">
                <a:latin typeface="Calibri"/>
                <a:cs typeface="Calibri"/>
              </a:rPr>
              <a:t>armrest, and </a:t>
            </a:r>
            <a:r>
              <a:rPr sz="2000" dirty="0">
                <a:latin typeface="Calibri"/>
                <a:cs typeface="Calibri"/>
              </a:rPr>
              <a:t>not</a:t>
            </a:r>
            <a:r>
              <a:rPr sz="2000" spc="-5" dirty="0">
                <a:latin typeface="Calibri"/>
                <a:cs typeface="Calibri"/>
              </a:rPr>
              <a:t> </a:t>
            </a:r>
            <a:r>
              <a:rPr sz="2000" spc="-2" dirty="0">
                <a:latin typeface="Calibri"/>
                <a:cs typeface="Calibri"/>
              </a:rPr>
              <a:t>in</a:t>
            </a:r>
            <a:r>
              <a:rPr sz="2000" dirty="0">
                <a:latin typeface="Calibri"/>
                <a:cs typeface="Calibri"/>
              </a:rPr>
              <a:t> the</a:t>
            </a:r>
            <a:r>
              <a:rPr sz="2000" spc="2" dirty="0">
                <a:latin typeface="Calibri"/>
                <a:cs typeface="Calibri"/>
              </a:rPr>
              <a:t> </a:t>
            </a:r>
            <a:r>
              <a:rPr sz="2000" dirty="0">
                <a:latin typeface="Calibri"/>
                <a:cs typeface="Calibri"/>
              </a:rPr>
              <a:t>top </a:t>
            </a:r>
            <a:r>
              <a:rPr sz="2000" spc="-2" dirty="0">
                <a:latin typeface="Calibri"/>
                <a:cs typeface="Calibri"/>
              </a:rPr>
              <a:t>pillow.</a:t>
            </a:r>
            <a:endParaRPr sz="2000" dirty="0">
              <a:latin typeface="Calibri"/>
              <a:cs typeface="Calibri"/>
            </a:endParaRPr>
          </a:p>
        </p:txBody>
      </p:sp>
      <p:grpSp>
        <p:nvGrpSpPr>
          <p:cNvPr id="4" name="object 4"/>
          <p:cNvGrpSpPr/>
          <p:nvPr/>
        </p:nvGrpSpPr>
        <p:grpSpPr>
          <a:xfrm>
            <a:off x="809392" y="2504995"/>
            <a:ext cx="2980609" cy="2057862"/>
            <a:chOff x="1585595" y="1819960"/>
            <a:chExt cx="4402455" cy="3296920"/>
          </a:xfrm>
        </p:grpSpPr>
        <p:pic>
          <p:nvPicPr>
            <p:cNvPr id="5" name="object 5"/>
            <p:cNvPicPr/>
            <p:nvPr/>
          </p:nvPicPr>
          <p:blipFill>
            <a:blip r:embed="rId2" cstate="print"/>
            <a:stretch>
              <a:fillRect/>
            </a:stretch>
          </p:blipFill>
          <p:spPr>
            <a:xfrm>
              <a:off x="1585595" y="1819960"/>
              <a:ext cx="2192019" cy="1642078"/>
            </a:xfrm>
            <a:prstGeom prst="rect">
              <a:avLst/>
            </a:prstGeom>
          </p:spPr>
        </p:pic>
        <p:pic>
          <p:nvPicPr>
            <p:cNvPr id="6" name="object 6"/>
            <p:cNvPicPr/>
            <p:nvPr/>
          </p:nvPicPr>
          <p:blipFill>
            <a:blip r:embed="rId3" cstate="print"/>
            <a:stretch>
              <a:fillRect/>
            </a:stretch>
          </p:blipFill>
          <p:spPr>
            <a:xfrm>
              <a:off x="3809199" y="1823135"/>
              <a:ext cx="2178682" cy="1638572"/>
            </a:xfrm>
            <a:prstGeom prst="rect">
              <a:avLst/>
            </a:prstGeom>
          </p:spPr>
        </p:pic>
        <p:pic>
          <p:nvPicPr>
            <p:cNvPr id="7" name="object 7"/>
            <p:cNvPicPr/>
            <p:nvPr/>
          </p:nvPicPr>
          <p:blipFill>
            <a:blip r:embed="rId4" cstate="print"/>
            <a:stretch>
              <a:fillRect/>
            </a:stretch>
          </p:blipFill>
          <p:spPr>
            <a:xfrm>
              <a:off x="1585596" y="3492080"/>
              <a:ext cx="2171698" cy="1624222"/>
            </a:xfrm>
            <a:prstGeom prst="rect">
              <a:avLst/>
            </a:prstGeom>
          </p:spPr>
        </p:pic>
        <p:pic>
          <p:nvPicPr>
            <p:cNvPr id="8" name="object 8"/>
            <p:cNvPicPr/>
            <p:nvPr/>
          </p:nvPicPr>
          <p:blipFill>
            <a:blip r:embed="rId5" cstate="print"/>
            <a:stretch>
              <a:fillRect/>
            </a:stretch>
          </p:blipFill>
          <p:spPr>
            <a:xfrm>
              <a:off x="3788879" y="3476243"/>
              <a:ext cx="2187142" cy="1640154"/>
            </a:xfrm>
            <a:prstGeom prst="rect">
              <a:avLst/>
            </a:prstGeom>
          </p:spPr>
        </p:pic>
      </p:grpSp>
      <p:grpSp>
        <p:nvGrpSpPr>
          <p:cNvPr id="9" name="object 9"/>
          <p:cNvGrpSpPr/>
          <p:nvPr/>
        </p:nvGrpSpPr>
        <p:grpSpPr>
          <a:xfrm>
            <a:off x="5353999" y="3337279"/>
            <a:ext cx="2691700" cy="1536805"/>
            <a:chOff x="966490" y="5984654"/>
            <a:chExt cx="5594350" cy="3194050"/>
          </a:xfrm>
        </p:grpSpPr>
        <p:pic>
          <p:nvPicPr>
            <p:cNvPr id="10" name="object 10"/>
            <p:cNvPicPr/>
            <p:nvPr/>
          </p:nvPicPr>
          <p:blipFill>
            <a:blip r:embed="rId6" cstate="print"/>
            <a:stretch>
              <a:fillRect/>
            </a:stretch>
          </p:blipFill>
          <p:spPr>
            <a:xfrm>
              <a:off x="966490" y="5984654"/>
              <a:ext cx="5593971" cy="2959128"/>
            </a:xfrm>
            <a:prstGeom prst="rect">
              <a:avLst/>
            </a:prstGeom>
          </p:spPr>
        </p:pic>
        <p:pic>
          <p:nvPicPr>
            <p:cNvPr id="11" name="object 11"/>
            <p:cNvPicPr/>
            <p:nvPr/>
          </p:nvPicPr>
          <p:blipFill>
            <a:blip r:embed="rId7" cstate="print"/>
            <a:stretch>
              <a:fillRect/>
            </a:stretch>
          </p:blipFill>
          <p:spPr>
            <a:xfrm>
              <a:off x="4610735" y="8865780"/>
              <a:ext cx="350519" cy="312379"/>
            </a:xfrm>
            <a:prstGeom prst="rect">
              <a:avLst/>
            </a:prstGeom>
          </p:spPr>
        </p:pic>
        <p:sp>
          <p:nvSpPr>
            <p:cNvPr id="12" name="object 12"/>
            <p:cNvSpPr/>
            <p:nvPr/>
          </p:nvSpPr>
          <p:spPr>
            <a:xfrm>
              <a:off x="5081234" y="8104889"/>
              <a:ext cx="523240" cy="367665"/>
            </a:xfrm>
            <a:custGeom>
              <a:avLst/>
              <a:gdLst/>
              <a:ahLst/>
              <a:cxnLst/>
              <a:rect l="l" t="t" r="r" b="b"/>
              <a:pathLst>
                <a:path w="523239" h="367665">
                  <a:moveTo>
                    <a:pt x="184988" y="367341"/>
                  </a:moveTo>
                  <a:lnTo>
                    <a:pt x="0" y="177156"/>
                  </a:lnTo>
                  <a:lnTo>
                    <a:pt x="48084" y="131309"/>
                  </a:lnTo>
                  <a:lnTo>
                    <a:pt x="187245" y="273944"/>
                  </a:lnTo>
                  <a:lnTo>
                    <a:pt x="476881" y="0"/>
                  </a:lnTo>
                  <a:lnTo>
                    <a:pt x="522703" y="47539"/>
                  </a:lnTo>
                  <a:lnTo>
                    <a:pt x="233632" y="322060"/>
                  </a:lnTo>
                  <a:lnTo>
                    <a:pt x="184988" y="367341"/>
                  </a:lnTo>
                  <a:close/>
                </a:path>
              </a:pathLst>
            </a:custGeom>
            <a:solidFill>
              <a:srgbClr val="6FAC46"/>
            </a:solidFill>
          </p:spPr>
          <p:txBody>
            <a:bodyPr wrap="square" lIns="0" tIns="0" rIns="0" bIns="0" rtlCol="0"/>
            <a:lstStyle/>
            <a:p>
              <a:endParaRPr sz="649"/>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22106" y="387340"/>
            <a:ext cx="5804059" cy="533955"/>
          </a:xfrm>
          <a:prstGeom prst="rect">
            <a:avLst/>
          </a:prstGeom>
        </p:spPr>
        <p:txBody>
          <a:bodyPr vert="horz" wrap="square" lIns="0" tIns="5805" rIns="0" bIns="0" rtlCol="0">
            <a:spAutoFit/>
          </a:bodyPr>
          <a:lstStyle/>
          <a:p>
            <a:pPr marL="116089" marR="2444" indent="-110285">
              <a:lnSpc>
                <a:spcPct val="110000"/>
              </a:lnSpc>
              <a:spcBef>
                <a:spcPts val="46"/>
              </a:spcBef>
            </a:pPr>
            <a:r>
              <a:rPr sz="1600" spc="-2" dirty="0">
                <a:latin typeface="Calibri"/>
                <a:cs typeface="Calibri"/>
              </a:rPr>
              <a:t>C.</a:t>
            </a:r>
            <a:r>
              <a:rPr sz="1600" spc="101" dirty="0">
                <a:latin typeface="Calibri"/>
                <a:cs typeface="Calibri"/>
              </a:rPr>
              <a:t> </a:t>
            </a:r>
            <a:r>
              <a:rPr sz="1600" dirty="0">
                <a:latin typeface="Calibri"/>
                <a:cs typeface="Calibri"/>
              </a:rPr>
              <a:t>Locate</a:t>
            </a:r>
            <a:r>
              <a:rPr sz="1600" spc="-5" dirty="0">
                <a:latin typeface="Calibri"/>
                <a:cs typeface="Calibri"/>
              </a:rPr>
              <a:t> </a:t>
            </a:r>
            <a:r>
              <a:rPr sz="1600" dirty="0">
                <a:latin typeface="Calibri"/>
                <a:cs typeface="Calibri"/>
              </a:rPr>
              <a:t>control</a:t>
            </a:r>
            <a:r>
              <a:rPr sz="1600" spc="2" dirty="0">
                <a:latin typeface="Calibri"/>
                <a:cs typeface="Calibri"/>
              </a:rPr>
              <a:t> </a:t>
            </a:r>
            <a:r>
              <a:rPr sz="1600" spc="-2" dirty="0">
                <a:latin typeface="Calibri"/>
                <a:cs typeface="Calibri"/>
              </a:rPr>
              <a:t>panel</a:t>
            </a:r>
            <a:r>
              <a:rPr sz="1600" spc="-7" dirty="0">
                <a:latin typeface="Calibri"/>
                <a:cs typeface="Calibri"/>
              </a:rPr>
              <a:t> </a:t>
            </a:r>
            <a:r>
              <a:rPr sz="1600" spc="-2" dirty="0">
                <a:latin typeface="Calibri"/>
                <a:cs typeface="Calibri"/>
              </a:rPr>
              <a:t>and</a:t>
            </a:r>
            <a:r>
              <a:rPr sz="1600" dirty="0">
                <a:latin typeface="Calibri"/>
                <a:cs typeface="Calibri"/>
              </a:rPr>
              <a:t> </a:t>
            </a:r>
            <a:r>
              <a:rPr sz="1600" spc="-2" dirty="0">
                <a:latin typeface="Calibri"/>
                <a:cs typeface="Calibri"/>
              </a:rPr>
              <a:t>cut</a:t>
            </a:r>
            <a:r>
              <a:rPr sz="1600" spc="5" dirty="0">
                <a:latin typeface="Calibri"/>
                <a:cs typeface="Calibri"/>
              </a:rPr>
              <a:t> </a:t>
            </a:r>
            <a:r>
              <a:rPr sz="1600" dirty="0">
                <a:latin typeface="Calibri"/>
                <a:cs typeface="Calibri"/>
              </a:rPr>
              <a:t>a </a:t>
            </a:r>
            <a:r>
              <a:rPr sz="1600" spc="-2" dirty="0">
                <a:latin typeface="Calibri"/>
                <a:cs typeface="Calibri"/>
              </a:rPr>
              <a:t>small</a:t>
            </a:r>
            <a:r>
              <a:rPr sz="1600" spc="2" dirty="0">
                <a:latin typeface="Calibri"/>
                <a:cs typeface="Calibri"/>
              </a:rPr>
              <a:t> </a:t>
            </a:r>
            <a:r>
              <a:rPr sz="1600" spc="-2" dirty="0">
                <a:latin typeface="Calibri"/>
                <a:cs typeface="Calibri"/>
              </a:rPr>
              <a:t>hole</a:t>
            </a:r>
            <a:r>
              <a:rPr sz="1600" spc="2" dirty="0">
                <a:latin typeface="Calibri"/>
                <a:cs typeface="Calibri"/>
              </a:rPr>
              <a:t> </a:t>
            </a:r>
            <a:r>
              <a:rPr sz="1600" spc="-2" dirty="0">
                <a:latin typeface="Calibri"/>
                <a:cs typeface="Calibri"/>
              </a:rPr>
              <a:t>in</a:t>
            </a:r>
            <a:r>
              <a:rPr sz="1600" dirty="0">
                <a:latin typeface="Calibri"/>
                <a:cs typeface="Calibri"/>
              </a:rPr>
              <a:t> </a:t>
            </a:r>
            <a:r>
              <a:rPr sz="1600" spc="-2" dirty="0">
                <a:latin typeface="Calibri"/>
                <a:cs typeface="Calibri"/>
              </a:rPr>
              <a:t>plastic</a:t>
            </a:r>
            <a:r>
              <a:rPr sz="1600" spc="2" dirty="0">
                <a:latin typeface="Calibri"/>
                <a:cs typeface="Calibri"/>
              </a:rPr>
              <a:t> </a:t>
            </a:r>
            <a:r>
              <a:rPr sz="1600" spc="-2" dirty="0">
                <a:latin typeface="Calibri"/>
                <a:cs typeface="Calibri"/>
              </a:rPr>
              <a:t>cover.</a:t>
            </a:r>
            <a:r>
              <a:rPr sz="1600" spc="-7" dirty="0">
                <a:latin typeface="Calibri"/>
                <a:cs typeface="Calibri"/>
              </a:rPr>
              <a:t> </a:t>
            </a:r>
            <a:r>
              <a:rPr sz="1600" spc="-2" dirty="0">
                <a:latin typeface="Calibri"/>
                <a:cs typeface="Calibri"/>
              </a:rPr>
              <a:t>Make</a:t>
            </a:r>
            <a:r>
              <a:rPr sz="1600" spc="5" dirty="0">
                <a:latin typeface="Calibri"/>
                <a:cs typeface="Calibri"/>
              </a:rPr>
              <a:t> </a:t>
            </a:r>
            <a:r>
              <a:rPr sz="1600" spc="-2" dirty="0">
                <a:latin typeface="Calibri"/>
                <a:cs typeface="Calibri"/>
              </a:rPr>
              <a:t>sure</a:t>
            </a:r>
            <a:r>
              <a:rPr sz="1600" spc="-5" dirty="0">
                <a:latin typeface="Calibri"/>
                <a:cs typeface="Calibri"/>
              </a:rPr>
              <a:t> </a:t>
            </a:r>
            <a:r>
              <a:rPr sz="1600" dirty="0">
                <a:latin typeface="Calibri"/>
                <a:cs typeface="Calibri"/>
              </a:rPr>
              <a:t>to </a:t>
            </a:r>
            <a:r>
              <a:rPr sz="1600" spc="-2" dirty="0">
                <a:latin typeface="Calibri"/>
                <a:cs typeface="Calibri"/>
              </a:rPr>
              <a:t>drag</a:t>
            </a:r>
            <a:r>
              <a:rPr sz="1600" dirty="0">
                <a:latin typeface="Calibri"/>
                <a:cs typeface="Calibri"/>
              </a:rPr>
              <a:t> </a:t>
            </a:r>
            <a:r>
              <a:rPr sz="1600" spc="-2" dirty="0">
                <a:latin typeface="Calibri"/>
                <a:cs typeface="Calibri"/>
              </a:rPr>
              <a:t>plastic</a:t>
            </a:r>
            <a:r>
              <a:rPr sz="1600" dirty="0">
                <a:latin typeface="Calibri"/>
                <a:cs typeface="Calibri"/>
              </a:rPr>
              <a:t> </a:t>
            </a:r>
            <a:r>
              <a:rPr sz="1600" spc="-2" dirty="0">
                <a:latin typeface="Calibri"/>
                <a:cs typeface="Calibri"/>
              </a:rPr>
              <a:t>away </a:t>
            </a:r>
            <a:r>
              <a:rPr sz="1600" spc="-113" dirty="0">
                <a:latin typeface="Calibri"/>
                <a:cs typeface="Calibri"/>
              </a:rPr>
              <a:t> </a:t>
            </a:r>
            <a:r>
              <a:rPr sz="1600" dirty="0">
                <a:latin typeface="Calibri"/>
                <a:cs typeface="Calibri"/>
              </a:rPr>
              <a:t>from</a:t>
            </a:r>
            <a:r>
              <a:rPr sz="1600" spc="-5" dirty="0">
                <a:latin typeface="Calibri"/>
                <a:cs typeface="Calibri"/>
              </a:rPr>
              <a:t> </a:t>
            </a:r>
            <a:r>
              <a:rPr sz="1600" spc="-2" dirty="0">
                <a:latin typeface="Calibri"/>
                <a:cs typeface="Calibri"/>
              </a:rPr>
              <a:t>chair</a:t>
            </a:r>
            <a:r>
              <a:rPr sz="1600" dirty="0">
                <a:latin typeface="Calibri"/>
                <a:cs typeface="Calibri"/>
              </a:rPr>
              <a:t> </a:t>
            </a:r>
            <a:r>
              <a:rPr sz="1600" spc="-2" dirty="0">
                <a:latin typeface="Calibri"/>
                <a:cs typeface="Calibri"/>
              </a:rPr>
              <a:t>to</a:t>
            </a:r>
            <a:r>
              <a:rPr sz="1600" spc="2" dirty="0">
                <a:latin typeface="Calibri"/>
                <a:cs typeface="Calibri"/>
              </a:rPr>
              <a:t> </a:t>
            </a:r>
            <a:r>
              <a:rPr sz="1600" spc="-2" dirty="0">
                <a:latin typeface="Calibri"/>
                <a:cs typeface="Calibri"/>
              </a:rPr>
              <a:t>prevent</a:t>
            </a:r>
            <a:r>
              <a:rPr sz="1600" spc="2" dirty="0">
                <a:latin typeface="Calibri"/>
                <a:cs typeface="Calibri"/>
              </a:rPr>
              <a:t> </a:t>
            </a:r>
            <a:r>
              <a:rPr sz="1600" spc="-2" dirty="0">
                <a:latin typeface="Calibri"/>
                <a:cs typeface="Calibri"/>
              </a:rPr>
              <a:t>damage</a:t>
            </a:r>
            <a:r>
              <a:rPr sz="1600" spc="2" dirty="0">
                <a:latin typeface="Calibri"/>
                <a:cs typeface="Calibri"/>
              </a:rPr>
              <a:t> </a:t>
            </a:r>
            <a:r>
              <a:rPr sz="1600" dirty="0">
                <a:latin typeface="Calibri"/>
                <a:cs typeface="Calibri"/>
              </a:rPr>
              <a:t>on</a:t>
            </a:r>
            <a:r>
              <a:rPr sz="1600" spc="-2" dirty="0">
                <a:latin typeface="Calibri"/>
                <a:cs typeface="Calibri"/>
              </a:rPr>
              <a:t> upholstery</a:t>
            </a:r>
            <a:r>
              <a:rPr sz="529" spc="-2" dirty="0">
                <a:latin typeface="Calibri"/>
                <a:cs typeface="Calibri"/>
              </a:rPr>
              <a:t>.</a:t>
            </a:r>
            <a:endParaRPr sz="529" dirty="0">
              <a:latin typeface="Calibri"/>
              <a:cs typeface="Calibri"/>
            </a:endParaRPr>
          </a:p>
        </p:txBody>
      </p:sp>
      <p:sp>
        <p:nvSpPr>
          <p:cNvPr id="4" name="object 4"/>
          <p:cNvSpPr txBox="1"/>
          <p:nvPr/>
        </p:nvSpPr>
        <p:spPr>
          <a:xfrm>
            <a:off x="6016598" y="998924"/>
            <a:ext cx="2866982" cy="2564715"/>
          </a:xfrm>
          <a:prstGeom prst="rect">
            <a:avLst/>
          </a:prstGeom>
        </p:spPr>
        <p:txBody>
          <a:bodyPr vert="horz" wrap="square" lIns="0" tIns="5499" rIns="0" bIns="0" rtlCol="0">
            <a:spAutoFit/>
          </a:bodyPr>
          <a:lstStyle/>
          <a:p>
            <a:pPr marL="6110" marR="2444">
              <a:lnSpc>
                <a:spcPct val="109500"/>
              </a:lnSpc>
              <a:spcBef>
                <a:spcPts val="43"/>
              </a:spcBef>
            </a:pPr>
            <a:r>
              <a:rPr sz="1100" dirty="0">
                <a:latin typeface="Calibri"/>
                <a:cs typeface="Calibri"/>
              </a:rPr>
              <a:t>Hold</a:t>
            </a:r>
            <a:r>
              <a:rPr sz="1100" spc="-2" dirty="0">
                <a:latin typeface="Calibri"/>
                <a:cs typeface="Calibri"/>
              </a:rPr>
              <a:t> </a:t>
            </a:r>
            <a:r>
              <a:rPr sz="1100" dirty="0">
                <a:latin typeface="Calibri"/>
                <a:cs typeface="Calibri"/>
              </a:rPr>
              <a:t>the</a:t>
            </a:r>
            <a:r>
              <a:rPr sz="1100" spc="-5" dirty="0">
                <a:latin typeface="Calibri"/>
                <a:cs typeface="Calibri"/>
              </a:rPr>
              <a:t> </a:t>
            </a:r>
            <a:r>
              <a:rPr sz="1100" spc="-2" dirty="0">
                <a:latin typeface="Calibri"/>
                <a:cs typeface="Calibri"/>
              </a:rPr>
              <a:t>cable</a:t>
            </a:r>
            <a:r>
              <a:rPr sz="1100" spc="5" dirty="0">
                <a:latin typeface="Calibri"/>
                <a:cs typeface="Calibri"/>
              </a:rPr>
              <a:t> </a:t>
            </a:r>
            <a:r>
              <a:rPr sz="1100" spc="-2" dirty="0">
                <a:latin typeface="Calibri"/>
                <a:cs typeface="Calibri"/>
              </a:rPr>
              <a:t>securely</a:t>
            </a:r>
            <a:r>
              <a:rPr sz="1100" spc="2" dirty="0">
                <a:latin typeface="Calibri"/>
                <a:cs typeface="Calibri"/>
              </a:rPr>
              <a:t> </a:t>
            </a:r>
            <a:r>
              <a:rPr sz="1100" spc="-2" dirty="0">
                <a:latin typeface="Calibri"/>
                <a:cs typeface="Calibri"/>
              </a:rPr>
              <a:t>in</a:t>
            </a:r>
            <a:r>
              <a:rPr sz="1100" dirty="0">
                <a:latin typeface="Calibri"/>
                <a:cs typeface="Calibri"/>
              </a:rPr>
              <a:t> </a:t>
            </a:r>
            <a:r>
              <a:rPr sz="1100" spc="-2" dirty="0">
                <a:latin typeface="Calibri"/>
                <a:cs typeface="Calibri"/>
              </a:rPr>
              <a:t>the</a:t>
            </a:r>
            <a:r>
              <a:rPr sz="1100" spc="2" dirty="0">
                <a:latin typeface="Calibri"/>
                <a:cs typeface="Calibri"/>
              </a:rPr>
              <a:t> </a:t>
            </a:r>
            <a:r>
              <a:rPr sz="1100" spc="-2" dirty="0">
                <a:latin typeface="Calibri"/>
                <a:cs typeface="Calibri"/>
              </a:rPr>
              <a:t>hand,</a:t>
            </a:r>
            <a:r>
              <a:rPr sz="1100" dirty="0">
                <a:latin typeface="Calibri"/>
                <a:cs typeface="Calibri"/>
              </a:rPr>
              <a:t> open</a:t>
            </a:r>
            <a:r>
              <a:rPr sz="1100" spc="-5" dirty="0">
                <a:latin typeface="Calibri"/>
                <a:cs typeface="Calibri"/>
              </a:rPr>
              <a:t> </a:t>
            </a:r>
            <a:r>
              <a:rPr sz="1100" dirty="0">
                <a:latin typeface="Calibri"/>
                <a:cs typeface="Calibri"/>
              </a:rPr>
              <a:t>the</a:t>
            </a:r>
            <a:r>
              <a:rPr sz="1100" spc="2" dirty="0">
                <a:latin typeface="Calibri"/>
                <a:cs typeface="Calibri"/>
              </a:rPr>
              <a:t> </a:t>
            </a:r>
            <a:r>
              <a:rPr sz="1100" spc="-2" dirty="0">
                <a:latin typeface="Calibri"/>
                <a:cs typeface="Calibri"/>
              </a:rPr>
              <a:t>plastic</a:t>
            </a:r>
            <a:r>
              <a:rPr sz="1100" spc="2" dirty="0">
                <a:latin typeface="Calibri"/>
                <a:cs typeface="Calibri"/>
              </a:rPr>
              <a:t> </a:t>
            </a:r>
            <a:r>
              <a:rPr sz="1100" spc="-2" dirty="0">
                <a:latin typeface="Calibri"/>
                <a:cs typeface="Calibri"/>
              </a:rPr>
              <a:t>clip and remove </a:t>
            </a:r>
            <a:r>
              <a:rPr sz="1100" dirty="0">
                <a:latin typeface="Calibri"/>
                <a:cs typeface="Calibri"/>
              </a:rPr>
              <a:t>the</a:t>
            </a:r>
            <a:r>
              <a:rPr sz="1100" spc="-5" dirty="0">
                <a:latin typeface="Calibri"/>
                <a:cs typeface="Calibri"/>
              </a:rPr>
              <a:t> </a:t>
            </a:r>
            <a:r>
              <a:rPr sz="1100" dirty="0">
                <a:latin typeface="Calibri"/>
                <a:cs typeface="Calibri"/>
              </a:rPr>
              <a:t>old</a:t>
            </a:r>
            <a:r>
              <a:rPr sz="1100" spc="-2" dirty="0">
                <a:latin typeface="Calibri"/>
                <a:cs typeface="Calibri"/>
              </a:rPr>
              <a:t> control </a:t>
            </a:r>
            <a:r>
              <a:rPr sz="1100" dirty="0">
                <a:latin typeface="Calibri"/>
                <a:cs typeface="Calibri"/>
              </a:rPr>
              <a:t> </a:t>
            </a:r>
            <a:r>
              <a:rPr sz="1100" spc="-2" dirty="0">
                <a:latin typeface="Calibri"/>
                <a:cs typeface="Calibri"/>
              </a:rPr>
              <a:t>panel</a:t>
            </a:r>
            <a:r>
              <a:rPr sz="1100" spc="2" dirty="0">
                <a:latin typeface="Calibri"/>
                <a:cs typeface="Calibri"/>
              </a:rPr>
              <a:t> </a:t>
            </a:r>
            <a:r>
              <a:rPr sz="1100" spc="-2" dirty="0">
                <a:latin typeface="Calibri"/>
                <a:cs typeface="Calibri"/>
              </a:rPr>
              <a:t>from</a:t>
            </a:r>
            <a:r>
              <a:rPr sz="1100" spc="5" dirty="0">
                <a:latin typeface="Calibri"/>
                <a:cs typeface="Calibri"/>
              </a:rPr>
              <a:t> </a:t>
            </a:r>
            <a:r>
              <a:rPr sz="1100" spc="-2" dirty="0">
                <a:latin typeface="Calibri"/>
                <a:cs typeface="Calibri"/>
              </a:rPr>
              <a:t>the</a:t>
            </a:r>
            <a:r>
              <a:rPr sz="1100" spc="5" dirty="0">
                <a:latin typeface="Calibri"/>
                <a:cs typeface="Calibri"/>
              </a:rPr>
              <a:t> </a:t>
            </a:r>
            <a:r>
              <a:rPr sz="1100" spc="-2" dirty="0">
                <a:latin typeface="Calibri"/>
                <a:cs typeface="Calibri"/>
              </a:rPr>
              <a:t>cable.</a:t>
            </a:r>
            <a:r>
              <a:rPr sz="1100" spc="-5" dirty="0">
                <a:latin typeface="Calibri"/>
                <a:cs typeface="Calibri"/>
              </a:rPr>
              <a:t> </a:t>
            </a:r>
            <a:r>
              <a:rPr sz="1100" spc="-2" dirty="0">
                <a:latin typeface="Calibri"/>
                <a:cs typeface="Calibri"/>
              </a:rPr>
              <a:t>Connect</a:t>
            </a:r>
            <a:r>
              <a:rPr sz="1100" spc="5" dirty="0">
                <a:latin typeface="Calibri"/>
                <a:cs typeface="Calibri"/>
              </a:rPr>
              <a:t> </a:t>
            </a:r>
            <a:r>
              <a:rPr sz="1100" spc="-2" dirty="0">
                <a:latin typeface="Calibri"/>
                <a:cs typeface="Calibri"/>
              </a:rPr>
              <a:t>the</a:t>
            </a:r>
            <a:r>
              <a:rPr sz="1100" spc="5" dirty="0">
                <a:latin typeface="Calibri"/>
                <a:cs typeface="Calibri"/>
              </a:rPr>
              <a:t> </a:t>
            </a:r>
            <a:r>
              <a:rPr sz="1100" spc="-2" dirty="0">
                <a:latin typeface="Calibri"/>
                <a:cs typeface="Calibri"/>
              </a:rPr>
              <a:t>cable to</a:t>
            </a:r>
            <a:r>
              <a:rPr sz="1100" spc="5" dirty="0">
                <a:latin typeface="Calibri"/>
                <a:cs typeface="Calibri"/>
              </a:rPr>
              <a:t> </a:t>
            </a:r>
            <a:r>
              <a:rPr sz="1100" spc="-2" dirty="0">
                <a:latin typeface="Calibri"/>
                <a:cs typeface="Calibri"/>
              </a:rPr>
              <a:t>the</a:t>
            </a:r>
            <a:r>
              <a:rPr sz="1100" spc="5" dirty="0">
                <a:latin typeface="Calibri"/>
                <a:cs typeface="Calibri"/>
              </a:rPr>
              <a:t> </a:t>
            </a:r>
            <a:r>
              <a:rPr sz="1100" dirty="0">
                <a:latin typeface="Calibri"/>
                <a:cs typeface="Calibri"/>
              </a:rPr>
              <a:t>new</a:t>
            </a:r>
            <a:r>
              <a:rPr sz="1100" spc="-2" dirty="0">
                <a:latin typeface="Calibri"/>
                <a:cs typeface="Calibri"/>
              </a:rPr>
              <a:t> control</a:t>
            </a:r>
            <a:r>
              <a:rPr sz="1100" spc="2" dirty="0">
                <a:latin typeface="Calibri"/>
                <a:cs typeface="Calibri"/>
              </a:rPr>
              <a:t> </a:t>
            </a:r>
            <a:r>
              <a:rPr sz="1100" spc="-2" dirty="0">
                <a:latin typeface="Calibri"/>
                <a:cs typeface="Calibri"/>
              </a:rPr>
              <a:t>panel and</a:t>
            </a:r>
            <a:r>
              <a:rPr sz="1100" spc="2" dirty="0">
                <a:latin typeface="Calibri"/>
                <a:cs typeface="Calibri"/>
              </a:rPr>
              <a:t> </a:t>
            </a:r>
            <a:r>
              <a:rPr sz="1100" spc="-2" dirty="0">
                <a:latin typeface="Calibri"/>
                <a:cs typeface="Calibri"/>
              </a:rPr>
              <a:t>make</a:t>
            </a:r>
            <a:r>
              <a:rPr sz="1100" spc="5" dirty="0">
                <a:latin typeface="Calibri"/>
                <a:cs typeface="Calibri"/>
              </a:rPr>
              <a:t> </a:t>
            </a:r>
            <a:r>
              <a:rPr sz="1100" spc="-2" dirty="0">
                <a:latin typeface="Calibri"/>
                <a:cs typeface="Calibri"/>
              </a:rPr>
              <a:t>sure that</a:t>
            </a:r>
            <a:r>
              <a:rPr sz="1100" spc="5" dirty="0">
                <a:latin typeface="Calibri"/>
                <a:cs typeface="Calibri"/>
              </a:rPr>
              <a:t> </a:t>
            </a:r>
            <a:r>
              <a:rPr sz="1100" dirty="0">
                <a:latin typeface="Calibri"/>
                <a:cs typeface="Calibri"/>
              </a:rPr>
              <a:t>the </a:t>
            </a:r>
            <a:r>
              <a:rPr sz="1100" spc="-113" dirty="0">
                <a:latin typeface="Calibri"/>
                <a:cs typeface="Calibri"/>
              </a:rPr>
              <a:t> </a:t>
            </a:r>
            <a:r>
              <a:rPr sz="1100" spc="-2" dirty="0">
                <a:latin typeface="Calibri"/>
                <a:cs typeface="Calibri"/>
              </a:rPr>
              <a:t>plastic clip is</a:t>
            </a:r>
            <a:r>
              <a:rPr sz="1100" spc="-5" dirty="0">
                <a:latin typeface="Calibri"/>
                <a:cs typeface="Calibri"/>
              </a:rPr>
              <a:t> </a:t>
            </a:r>
            <a:r>
              <a:rPr sz="1100" dirty="0">
                <a:latin typeface="Calibri"/>
                <a:cs typeface="Calibri"/>
              </a:rPr>
              <a:t>well</a:t>
            </a:r>
            <a:r>
              <a:rPr sz="1100" spc="-7" dirty="0">
                <a:latin typeface="Calibri"/>
                <a:cs typeface="Calibri"/>
              </a:rPr>
              <a:t> </a:t>
            </a:r>
            <a:r>
              <a:rPr sz="1100" spc="-2" dirty="0">
                <a:latin typeface="Calibri"/>
                <a:cs typeface="Calibri"/>
              </a:rPr>
              <a:t>connected.</a:t>
            </a:r>
            <a:endParaRPr sz="1100" dirty="0">
              <a:latin typeface="Calibri"/>
              <a:cs typeface="Calibri"/>
            </a:endParaRPr>
          </a:p>
          <a:p>
            <a:pPr>
              <a:spcBef>
                <a:spcPts val="26"/>
              </a:spcBef>
            </a:pPr>
            <a:endParaRPr sz="1100" dirty="0">
              <a:latin typeface="Calibri"/>
              <a:cs typeface="Calibri"/>
            </a:endParaRPr>
          </a:p>
          <a:p>
            <a:pPr marL="6110" marR="53462" algn="just">
              <a:lnSpc>
                <a:spcPct val="109500"/>
              </a:lnSpc>
            </a:pPr>
            <a:r>
              <a:rPr sz="1100" dirty="0">
                <a:latin typeface="Calibri"/>
                <a:cs typeface="Calibri"/>
              </a:rPr>
              <a:t>Hold </a:t>
            </a:r>
            <a:r>
              <a:rPr sz="1100" spc="-2" dirty="0">
                <a:latin typeface="Calibri"/>
                <a:cs typeface="Calibri"/>
              </a:rPr>
              <a:t>down left “spring clip” and slide </a:t>
            </a:r>
            <a:r>
              <a:rPr sz="1100" dirty="0">
                <a:latin typeface="Calibri"/>
                <a:cs typeface="Calibri"/>
              </a:rPr>
              <a:t>the </a:t>
            </a:r>
            <a:r>
              <a:rPr sz="1100" spc="-2" dirty="0">
                <a:latin typeface="Calibri"/>
                <a:cs typeface="Calibri"/>
              </a:rPr>
              <a:t>left side </a:t>
            </a:r>
            <a:r>
              <a:rPr sz="1100" dirty="0">
                <a:latin typeface="Calibri"/>
                <a:cs typeface="Calibri"/>
              </a:rPr>
              <a:t>of </a:t>
            </a:r>
            <a:r>
              <a:rPr sz="1100" spc="-2" dirty="0">
                <a:latin typeface="Calibri"/>
                <a:cs typeface="Calibri"/>
              </a:rPr>
              <a:t>the control panel into </a:t>
            </a:r>
            <a:r>
              <a:rPr sz="1100" dirty="0">
                <a:latin typeface="Calibri"/>
                <a:cs typeface="Calibri"/>
              </a:rPr>
              <a:t>the </a:t>
            </a:r>
            <a:r>
              <a:rPr sz="1100" spc="-2" dirty="0">
                <a:latin typeface="Calibri"/>
                <a:cs typeface="Calibri"/>
              </a:rPr>
              <a:t>housing </a:t>
            </a:r>
            <a:r>
              <a:rPr sz="1100" dirty="0">
                <a:latin typeface="Calibri"/>
                <a:cs typeface="Calibri"/>
              </a:rPr>
              <a:t> </a:t>
            </a:r>
            <a:r>
              <a:rPr sz="1100" spc="-2" dirty="0">
                <a:latin typeface="Calibri"/>
                <a:cs typeface="Calibri"/>
              </a:rPr>
              <a:t>(inside </a:t>
            </a:r>
            <a:r>
              <a:rPr sz="1100" dirty="0">
                <a:latin typeface="Calibri"/>
                <a:cs typeface="Calibri"/>
              </a:rPr>
              <a:t>the </a:t>
            </a:r>
            <a:r>
              <a:rPr sz="1100" spc="-2" dirty="0">
                <a:latin typeface="Calibri"/>
                <a:cs typeface="Calibri"/>
              </a:rPr>
              <a:t>armrest). Make sure that </a:t>
            </a:r>
            <a:r>
              <a:rPr sz="1100" dirty="0">
                <a:latin typeface="Calibri"/>
                <a:cs typeface="Calibri"/>
              </a:rPr>
              <a:t>the </a:t>
            </a:r>
            <a:r>
              <a:rPr sz="1100" spc="-2" dirty="0">
                <a:latin typeface="Calibri"/>
                <a:cs typeface="Calibri"/>
              </a:rPr>
              <a:t>upholstery also is folded into </a:t>
            </a:r>
            <a:r>
              <a:rPr sz="1100" dirty="0">
                <a:latin typeface="Calibri"/>
                <a:cs typeface="Calibri"/>
              </a:rPr>
              <a:t>the </a:t>
            </a:r>
            <a:r>
              <a:rPr sz="1100" spc="-2" dirty="0">
                <a:latin typeface="Calibri"/>
                <a:cs typeface="Calibri"/>
              </a:rPr>
              <a:t>control panel </a:t>
            </a:r>
            <a:r>
              <a:rPr sz="1100" dirty="0">
                <a:latin typeface="Calibri"/>
                <a:cs typeface="Calibri"/>
              </a:rPr>
              <a:t> </a:t>
            </a:r>
            <a:r>
              <a:rPr sz="1100" spc="-2" dirty="0">
                <a:latin typeface="Calibri"/>
                <a:cs typeface="Calibri"/>
              </a:rPr>
              <a:t>housing.</a:t>
            </a:r>
            <a:endParaRPr sz="1100" dirty="0">
              <a:latin typeface="Calibri"/>
              <a:cs typeface="Calibri"/>
            </a:endParaRPr>
          </a:p>
          <a:p>
            <a:pPr>
              <a:lnSpc>
                <a:spcPct val="100000"/>
              </a:lnSpc>
            </a:pPr>
            <a:endParaRPr sz="1100" dirty="0">
              <a:latin typeface="Calibri"/>
              <a:cs typeface="Calibri"/>
            </a:endParaRPr>
          </a:p>
          <a:p>
            <a:pPr marL="6110" marR="224846">
              <a:lnSpc>
                <a:spcPct val="109100"/>
              </a:lnSpc>
            </a:pPr>
            <a:r>
              <a:rPr sz="1100" dirty="0">
                <a:latin typeface="Calibri"/>
                <a:cs typeface="Calibri"/>
              </a:rPr>
              <a:t>Hold</a:t>
            </a:r>
            <a:r>
              <a:rPr sz="1100" spc="-2" dirty="0">
                <a:latin typeface="Calibri"/>
                <a:cs typeface="Calibri"/>
              </a:rPr>
              <a:t> down</a:t>
            </a:r>
            <a:r>
              <a:rPr sz="1100" dirty="0">
                <a:latin typeface="Calibri"/>
                <a:cs typeface="Calibri"/>
              </a:rPr>
              <a:t> </a:t>
            </a:r>
            <a:r>
              <a:rPr sz="1100" spc="-2" dirty="0">
                <a:latin typeface="Calibri"/>
                <a:cs typeface="Calibri"/>
              </a:rPr>
              <a:t>right “spring</a:t>
            </a:r>
            <a:r>
              <a:rPr sz="1100" dirty="0">
                <a:latin typeface="Calibri"/>
                <a:cs typeface="Calibri"/>
              </a:rPr>
              <a:t> </a:t>
            </a:r>
            <a:r>
              <a:rPr sz="1100" spc="-2" dirty="0">
                <a:latin typeface="Calibri"/>
                <a:cs typeface="Calibri"/>
              </a:rPr>
              <a:t>clip”</a:t>
            </a:r>
            <a:r>
              <a:rPr sz="1100" spc="5" dirty="0">
                <a:latin typeface="Calibri"/>
                <a:cs typeface="Calibri"/>
              </a:rPr>
              <a:t> </a:t>
            </a:r>
            <a:r>
              <a:rPr sz="1100" spc="-2" dirty="0">
                <a:latin typeface="Calibri"/>
                <a:cs typeface="Calibri"/>
              </a:rPr>
              <a:t>and</a:t>
            </a:r>
            <a:r>
              <a:rPr sz="1100" dirty="0">
                <a:latin typeface="Calibri"/>
                <a:cs typeface="Calibri"/>
              </a:rPr>
              <a:t> </a:t>
            </a:r>
            <a:r>
              <a:rPr sz="1100" spc="-2" dirty="0">
                <a:latin typeface="Calibri"/>
                <a:cs typeface="Calibri"/>
              </a:rPr>
              <a:t>slide </a:t>
            </a:r>
            <a:r>
              <a:rPr sz="1100" dirty="0">
                <a:latin typeface="Calibri"/>
                <a:cs typeface="Calibri"/>
              </a:rPr>
              <a:t>the</a:t>
            </a:r>
            <a:r>
              <a:rPr sz="1100" spc="5" dirty="0">
                <a:latin typeface="Calibri"/>
                <a:cs typeface="Calibri"/>
              </a:rPr>
              <a:t> </a:t>
            </a:r>
            <a:r>
              <a:rPr sz="1100" spc="-2" dirty="0">
                <a:latin typeface="Calibri"/>
                <a:cs typeface="Calibri"/>
              </a:rPr>
              <a:t>right side of</a:t>
            </a:r>
            <a:r>
              <a:rPr sz="1100" spc="2" dirty="0">
                <a:latin typeface="Calibri"/>
                <a:cs typeface="Calibri"/>
              </a:rPr>
              <a:t> </a:t>
            </a:r>
            <a:r>
              <a:rPr sz="1100" dirty="0">
                <a:latin typeface="Calibri"/>
                <a:cs typeface="Calibri"/>
              </a:rPr>
              <a:t>the</a:t>
            </a:r>
            <a:r>
              <a:rPr sz="1100" spc="5" dirty="0">
                <a:latin typeface="Calibri"/>
                <a:cs typeface="Calibri"/>
              </a:rPr>
              <a:t> </a:t>
            </a:r>
            <a:r>
              <a:rPr sz="1100" spc="-2" dirty="0">
                <a:latin typeface="Calibri"/>
                <a:cs typeface="Calibri"/>
              </a:rPr>
              <a:t>control</a:t>
            </a:r>
            <a:r>
              <a:rPr sz="1100" spc="2" dirty="0">
                <a:latin typeface="Calibri"/>
                <a:cs typeface="Calibri"/>
              </a:rPr>
              <a:t> </a:t>
            </a:r>
            <a:r>
              <a:rPr sz="1100" spc="-2" dirty="0">
                <a:latin typeface="Calibri"/>
                <a:cs typeface="Calibri"/>
              </a:rPr>
              <a:t>panel</a:t>
            </a:r>
            <a:r>
              <a:rPr sz="1100" spc="2" dirty="0">
                <a:latin typeface="Calibri"/>
                <a:cs typeface="Calibri"/>
              </a:rPr>
              <a:t> </a:t>
            </a:r>
            <a:r>
              <a:rPr sz="1100" spc="-2" dirty="0">
                <a:latin typeface="Calibri"/>
                <a:cs typeface="Calibri"/>
              </a:rPr>
              <a:t>into </a:t>
            </a:r>
            <a:r>
              <a:rPr sz="1100" dirty="0">
                <a:latin typeface="Calibri"/>
                <a:cs typeface="Calibri"/>
              </a:rPr>
              <a:t>the </a:t>
            </a:r>
            <a:r>
              <a:rPr sz="1100" spc="-110" dirty="0">
                <a:latin typeface="Calibri"/>
                <a:cs typeface="Calibri"/>
              </a:rPr>
              <a:t> </a:t>
            </a:r>
            <a:r>
              <a:rPr sz="1100" spc="-2" dirty="0">
                <a:latin typeface="Calibri"/>
                <a:cs typeface="Calibri"/>
              </a:rPr>
              <a:t>housing.</a:t>
            </a:r>
            <a:endParaRPr sz="1100" dirty="0">
              <a:latin typeface="Calibri"/>
              <a:cs typeface="Calibri"/>
            </a:endParaRPr>
          </a:p>
        </p:txBody>
      </p:sp>
      <p:pic>
        <p:nvPicPr>
          <p:cNvPr id="5" name="object 5"/>
          <p:cNvPicPr/>
          <p:nvPr/>
        </p:nvPicPr>
        <p:blipFill>
          <a:blip r:embed="rId2" cstate="print"/>
          <a:stretch>
            <a:fillRect/>
          </a:stretch>
        </p:blipFill>
        <p:spPr>
          <a:xfrm>
            <a:off x="260420" y="1117919"/>
            <a:ext cx="2538963" cy="955012"/>
          </a:xfrm>
          <a:prstGeom prst="rect">
            <a:avLst/>
          </a:prstGeom>
        </p:spPr>
      </p:pic>
      <p:grpSp>
        <p:nvGrpSpPr>
          <p:cNvPr id="6" name="object 6"/>
          <p:cNvGrpSpPr/>
          <p:nvPr/>
        </p:nvGrpSpPr>
        <p:grpSpPr>
          <a:xfrm>
            <a:off x="239018" y="3563639"/>
            <a:ext cx="4630852" cy="1289899"/>
            <a:chOff x="1125308" y="4308347"/>
            <a:chExt cx="5309870" cy="1486535"/>
          </a:xfrm>
        </p:grpSpPr>
        <p:pic>
          <p:nvPicPr>
            <p:cNvPr id="7" name="object 7"/>
            <p:cNvPicPr/>
            <p:nvPr/>
          </p:nvPicPr>
          <p:blipFill>
            <a:blip r:embed="rId3" cstate="print"/>
            <a:stretch>
              <a:fillRect/>
            </a:stretch>
          </p:blipFill>
          <p:spPr>
            <a:xfrm>
              <a:off x="1125308" y="4308347"/>
              <a:ext cx="2641168" cy="1486115"/>
            </a:xfrm>
            <a:prstGeom prst="rect">
              <a:avLst/>
            </a:prstGeom>
          </p:spPr>
        </p:pic>
        <p:pic>
          <p:nvPicPr>
            <p:cNvPr id="8" name="object 8"/>
            <p:cNvPicPr/>
            <p:nvPr/>
          </p:nvPicPr>
          <p:blipFill>
            <a:blip r:embed="rId4" cstate="print"/>
            <a:stretch>
              <a:fillRect/>
            </a:stretch>
          </p:blipFill>
          <p:spPr>
            <a:xfrm>
              <a:off x="3804843" y="4318736"/>
              <a:ext cx="2630164" cy="1475697"/>
            </a:xfrm>
            <a:prstGeom prst="rect">
              <a:avLst/>
            </a:prstGeom>
          </p:spPr>
        </p:pic>
      </p:grpSp>
      <p:grpSp>
        <p:nvGrpSpPr>
          <p:cNvPr id="9" name="object 9"/>
          <p:cNvGrpSpPr/>
          <p:nvPr/>
        </p:nvGrpSpPr>
        <p:grpSpPr>
          <a:xfrm>
            <a:off x="6350160" y="3547667"/>
            <a:ext cx="2309746" cy="1400851"/>
            <a:chOff x="2475231" y="7547564"/>
            <a:chExt cx="3286760" cy="2217420"/>
          </a:xfrm>
        </p:grpSpPr>
        <p:pic>
          <p:nvPicPr>
            <p:cNvPr id="10" name="object 10"/>
            <p:cNvPicPr/>
            <p:nvPr/>
          </p:nvPicPr>
          <p:blipFill>
            <a:blip r:embed="rId5" cstate="print"/>
            <a:stretch>
              <a:fillRect/>
            </a:stretch>
          </p:blipFill>
          <p:spPr>
            <a:xfrm>
              <a:off x="2475231" y="7933943"/>
              <a:ext cx="3286745" cy="1831022"/>
            </a:xfrm>
            <a:prstGeom prst="rect">
              <a:avLst/>
            </a:prstGeom>
          </p:spPr>
        </p:pic>
        <p:sp>
          <p:nvSpPr>
            <p:cNvPr id="11" name="object 11"/>
            <p:cNvSpPr/>
            <p:nvPr/>
          </p:nvSpPr>
          <p:spPr>
            <a:xfrm>
              <a:off x="2978786" y="7550739"/>
              <a:ext cx="995044" cy="828675"/>
            </a:xfrm>
            <a:custGeom>
              <a:avLst/>
              <a:gdLst/>
              <a:ahLst/>
              <a:cxnLst/>
              <a:rect l="l" t="t" r="r" b="b"/>
              <a:pathLst>
                <a:path w="995045" h="828675">
                  <a:moveTo>
                    <a:pt x="0" y="0"/>
                  </a:moveTo>
                  <a:lnTo>
                    <a:pt x="994524" y="828662"/>
                  </a:lnTo>
                </a:path>
              </a:pathLst>
            </a:custGeom>
            <a:ln w="6350">
              <a:solidFill>
                <a:srgbClr val="FF0000"/>
              </a:solidFill>
            </a:ln>
          </p:spPr>
          <p:txBody>
            <a:bodyPr wrap="square" lIns="0" tIns="0" rIns="0" bIns="0" rtlCol="0"/>
            <a:lstStyle/>
            <a:p>
              <a:endParaRPr sz="649"/>
            </a:p>
          </p:txBody>
        </p:sp>
        <p:sp>
          <p:nvSpPr>
            <p:cNvPr id="12" name="object 12"/>
            <p:cNvSpPr/>
            <p:nvPr/>
          </p:nvSpPr>
          <p:spPr>
            <a:xfrm>
              <a:off x="3939161" y="8342003"/>
              <a:ext cx="83185" cy="78105"/>
            </a:xfrm>
            <a:custGeom>
              <a:avLst/>
              <a:gdLst/>
              <a:ahLst/>
              <a:cxnLst/>
              <a:rect l="l" t="t" r="r" b="b"/>
              <a:pathLst>
                <a:path w="83185" h="78104">
                  <a:moveTo>
                    <a:pt x="48780" y="0"/>
                  </a:moveTo>
                  <a:lnTo>
                    <a:pt x="0" y="58534"/>
                  </a:lnTo>
                  <a:lnTo>
                    <a:pt x="82931" y="78054"/>
                  </a:lnTo>
                  <a:lnTo>
                    <a:pt x="48780" y="0"/>
                  </a:lnTo>
                  <a:close/>
                </a:path>
              </a:pathLst>
            </a:custGeom>
            <a:solidFill>
              <a:srgbClr val="FF0000"/>
            </a:solidFill>
          </p:spPr>
          <p:txBody>
            <a:bodyPr wrap="square" lIns="0" tIns="0" rIns="0" bIns="0" rtlCol="0"/>
            <a:lstStyle/>
            <a:p>
              <a:endParaRPr sz="649"/>
            </a:p>
          </p:txBody>
        </p:sp>
      </p:grpSp>
      <p:sp>
        <p:nvSpPr>
          <p:cNvPr id="13" name="Rectangle 12">
            <a:extLst>
              <a:ext uri="{FF2B5EF4-FFF2-40B4-BE49-F238E27FC236}">
                <a16:creationId xmlns:a16="http://schemas.microsoft.com/office/drawing/2014/main" id="{30BE9457-068B-4D2E-872B-EDE52A7BE0C0}"/>
              </a:ext>
            </a:extLst>
          </p:cNvPr>
          <p:cNvSpPr/>
          <p:nvPr/>
        </p:nvSpPr>
        <p:spPr>
          <a:xfrm>
            <a:off x="0" y="2269555"/>
            <a:ext cx="3752849" cy="1235723"/>
          </a:xfrm>
          <a:prstGeom prst="rect">
            <a:avLst/>
          </a:prstGeom>
        </p:spPr>
        <p:txBody>
          <a:bodyPr wrap="square">
            <a:spAutoFit/>
          </a:bodyPr>
          <a:lstStyle/>
          <a:p>
            <a:pPr marL="6110">
              <a:spcBef>
                <a:spcPts val="110"/>
              </a:spcBef>
            </a:pPr>
            <a:r>
              <a:rPr lang="en-US" sz="1400" dirty="0">
                <a:latin typeface="Calibri"/>
                <a:cs typeface="Calibri"/>
              </a:rPr>
              <a:t>D.</a:t>
            </a:r>
            <a:r>
              <a:rPr lang="en-US" sz="1400" spc="46" dirty="0">
                <a:latin typeface="Calibri"/>
                <a:cs typeface="Calibri"/>
              </a:rPr>
              <a:t> </a:t>
            </a:r>
            <a:r>
              <a:rPr lang="en-US" sz="1400" spc="-2" dirty="0">
                <a:solidFill>
                  <a:srgbClr val="FF0000"/>
                </a:solidFill>
                <a:latin typeface="Calibri"/>
                <a:cs typeface="Calibri"/>
              </a:rPr>
              <a:t>[Video</a:t>
            </a:r>
            <a:r>
              <a:rPr lang="en-US" sz="1400" dirty="0">
                <a:solidFill>
                  <a:srgbClr val="FF0000"/>
                </a:solidFill>
                <a:latin typeface="Calibri"/>
                <a:cs typeface="Calibri"/>
              </a:rPr>
              <a:t> </a:t>
            </a:r>
            <a:r>
              <a:rPr lang="en-US" sz="1400" spc="-2" dirty="0">
                <a:solidFill>
                  <a:srgbClr val="FF0000"/>
                </a:solidFill>
                <a:latin typeface="Calibri"/>
                <a:cs typeface="Calibri"/>
              </a:rPr>
              <a:t>link]</a:t>
            </a:r>
            <a:r>
              <a:rPr lang="en-US" sz="1400" dirty="0">
                <a:solidFill>
                  <a:srgbClr val="FF0000"/>
                </a:solidFill>
                <a:latin typeface="Calibri"/>
                <a:cs typeface="Calibri"/>
              </a:rPr>
              <a:t> </a:t>
            </a:r>
            <a:r>
              <a:rPr lang="en-US" sz="1400" dirty="0">
                <a:latin typeface="Calibri"/>
                <a:cs typeface="Calibri"/>
              </a:rPr>
              <a:t>- </a:t>
            </a:r>
            <a:r>
              <a:rPr lang="en-US" sz="1400" spc="-2" dirty="0">
                <a:latin typeface="Calibri"/>
                <a:cs typeface="Calibri"/>
              </a:rPr>
              <a:t>https://vimeo.com/522779220</a:t>
            </a:r>
            <a:endParaRPr lang="en-US" sz="1400" dirty="0">
              <a:latin typeface="Calibri"/>
              <a:cs typeface="Calibri"/>
            </a:endParaRPr>
          </a:p>
          <a:p>
            <a:pPr marL="116089" marR="2444">
              <a:lnSpc>
                <a:spcPct val="109100"/>
              </a:lnSpc>
              <a:spcBef>
                <a:spcPts val="5"/>
              </a:spcBef>
            </a:pPr>
            <a:r>
              <a:rPr lang="en-US" sz="1400" dirty="0">
                <a:latin typeface="Calibri"/>
                <a:cs typeface="Calibri"/>
              </a:rPr>
              <a:t>Place</a:t>
            </a:r>
            <a:r>
              <a:rPr lang="en-US" sz="1400" spc="-5" dirty="0">
                <a:latin typeface="Calibri"/>
                <a:cs typeface="Calibri"/>
              </a:rPr>
              <a:t> </a:t>
            </a:r>
            <a:r>
              <a:rPr lang="en-US" sz="1400" dirty="0">
                <a:latin typeface="Calibri"/>
                <a:cs typeface="Calibri"/>
              </a:rPr>
              <a:t>“CPR</a:t>
            </a:r>
            <a:r>
              <a:rPr lang="en-US" sz="1400" spc="-2" dirty="0">
                <a:latin typeface="Calibri"/>
                <a:cs typeface="Calibri"/>
              </a:rPr>
              <a:t> tool”</a:t>
            </a:r>
            <a:r>
              <a:rPr lang="en-US" sz="1400" spc="5" dirty="0">
                <a:latin typeface="Calibri"/>
                <a:cs typeface="Calibri"/>
              </a:rPr>
              <a:t> </a:t>
            </a:r>
            <a:r>
              <a:rPr lang="en-US" sz="1400" spc="-2" dirty="0">
                <a:latin typeface="Calibri"/>
                <a:cs typeface="Calibri"/>
              </a:rPr>
              <a:t>at </a:t>
            </a:r>
            <a:r>
              <a:rPr lang="en-US" sz="1400" dirty="0">
                <a:latin typeface="Calibri"/>
                <a:cs typeface="Calibri"/>
              </a:rPr>
              <a:t>the</a:t>
            </a:r>
            <a:r>
              <a:rPr lang="en-US" sz="1400" spc="-5" dirty="0">
                <a:latin typeface="Calibri"/>
                <a:cs typeface="Calibri"/>
              </a:rPr>
              <a:t> </a:t>
            </a:r>
            <a:r>
              <a:rPr lang="en-US" sz="1400" spc="-2" dirty="0">
                <a:latin typeface="Calibri"/>
                <a:cs typeface="Calibri"/>
              </a:rPr>
              <a:t>edge</a:t>
            </a:r>
            <a:r>
              <a:rPr lang="en-US" sz="1400" spc="5" dirty="0">
                <a:latin typeface="Calibri"/>
                <a:cs typeface="Calibri"/>
              </a:rPr>
              <a:t> </a:t>
            </a:r>
            <a:r>
              <a:rPr lang="en-US" sz="1400" dirty="0">
                <a:latin typeface="Calibri"/>
                <a:cs typeface="Calibri"/>
              </a:rPr>
              <a:t>of</a:t>
            </a:r>
            <a:r>
              <a:rPr lang="en-US" sz="1400" spc="-2" dirty="0">
                <a:latin typeface="Calibri"/>
                <a:cs typeface="Calibri"/>
              </a:rPr>
              <a:t> </a:t>
            </a:r>
            <a:r>
              <a:rPr lang="en-US" sz="1400" dirty="0">
                <a:latin typeface="Calibri"/>
                <a:cs typeface="Calibri"/>
              </a:rPr>
              <a:t>the</a:t>
            </a:r>
            <a:r>
              <a:rPr lang="en-US" sz="1400" spc="-2" dirty="0">
                <a:latin typeface="Calibri"/>
                <a:cs typeface="Calibri"/>
              </a:rPr>
              <a:t> middle</a:t>
            </a:r>
            <a:r>
              <a:rPr lang="en-US" sz="1400" spc="2" dirty="0">
                <a:latin typeface="Calibri"/>
                <a:cs typeface="Calibri"/>
              </a:rPr>
              <a:t> </a:t>
            </a:r>
            <a:r>
              <a:rPr lang="en-US" sz="1400" spc="-2" dirty="0">
                <a:latin typeface="Calibri"/>
                <a:cs typeface="Calibri"/>
              </a:rPr>
              <a:t>button.</a:t>
            </a:r>
            <a:r>
              <a:rPr lang="en-US" sz="1400" spc="-5" dirty="0">
                <a:latin typeface="Calibri"/>
                <a:cs typeface="Calibri"/>
              </a:rPr>
              <a:t> </a:t>
            </a:r>
            <a:r>
              <a:rPr lang="en-US" sz="1400" spc="-2" dirty="0">
                <a:latin typeface="Calibri"/>
                <a:cs typeface="Calibri"/>
              </a:rPr>
              <a:t>Push</a:t>
            </a:r>
            <a:r>
              <a:rPr lang="en-US" sz="1400" dirty="0">
                <a:latin typeface="Calibri"/>
                <a:cs typeface="Calibri"/>
              </a:rPr>
              <a:t> tool</a:t>
            </a:r>
            <a:r>
              <a:rPr lang="en-US" sz="1400" spc="2" dirty="0">
                <a:latin typeface="Calibri"/>
                <a:cs typeface="Calibri"/>
              </a:rPr>
              <a:t> </a:t>
            </a:r>
            <a:r>
              <a:rPr lang="en-US" sz="1400" spc="-2" dirty="0">
                <a:latin typeface="Calibri"/>
                <a:cs typeface="Calibri"/>
              </a:rPr>
              <a:t>into</a:t>
            </a:r>
            <a:r>
              <a:rPr lang="en-US" sz="1400" spc="5" dirty="0">
                <a:latin typeface="Calibri"/>
                <a:cs typeface="Calibri"/>
              </a:rPr>
              <a:t> </a:t>
            </a:r>
            <a:r>
              <a:rPr lang="en-US" sz="1400" dirty="0">
                <a:latin typeface="Calibri"/>
                <a:cs typeface="Calibri"/>
              </a:rPr>
              <a:t>the</a:t>
            </a:r>
            <a:r>
              <a:rPr lang="en-US" sz="1400" spc="-5" dirty="0">
                <a:latin typeface="Calibri"/>
                <a:cs typeface="Calibri"/>
              </a:rPr>
              <a:t> </a:t>
            </a:r>
            <a:r>
              <a:rPr lang="en-US" sz="1400" spc="-2" dirty="0">
                <a:latin typeface="Calibri"/>
                <a:cs typeface="Calibri"/>
              </a:rPr>
              <a:t>button</a:t>
            </a:r>
            <a:r>
              <a:rPr lang="en-US" sz="1400" dirty="0">
                <a:latin typeface="Calibri"/>
                <a:cs typeface="Calibri"/>
              </a:rPr>
              <a:t> </a:t>
            </a:r>
            <a:r>
              <a:rPr lang="en-US" sz="1400" spc="-2" dirty="0">
                <a:latin typeface="Calibri"/>
                <a:cs typeface="Calibri"/>
              </a:rPr>
              <a:t>and</a:t>
            </a:r>
            <a:r>
              <a:rPr lang="en-US" sz="1400" spc="-5" dirty="0">
                <a:latin typeface="Calibri"/>
                <a:cs typeface="Calibri"/>
              </a:rPr>
              <a:t> </a:t>
            </a:r>
            <a:r>
              <a:rPr lang="en-US" sz="1400" dirty="0">
                <a:latin typeface="Calibri"/>
                <a:cs typeface="Calibri"/>
              </a:rPr>
              <a:t>get</a:t>
            </a:r>
            <a:r>
              <a:rPr lang="en-US" sz="1400" spc="5" dirty="0">
                <a:latin typeface="Calibri"/>
                <a:cs typeface="Calibri"/>
              </a:rPr>
              <a:t> </a:t>
            </a:r>
            <a:r>
              <a:rPr lang="en-US" sz="1400" dirty="0">
                <a:latin typeface="Calibri"/>
                <a:cs typeface="Calibri"/>
              </a:rPr>
              <a:t>the </a:t>
            </a:r>
            <a:r>
              <a:rPr lang="en-US" sz="1400" spc="-113" dirty="0">
                <a:latin typeface="Calibri"/>
                <a:cs typeface="Calibri"/>
              </a:rPr>
              <a:t> </a:t>
            </a:r>
            <a:r>
              <a:rPr lang="en-US" sz="1400" dirty="0">
                <a:latin typeface="Calibri"/>
                <a:cs typeface="Calibri"/>
              </a:rPr>
              <a:t>hook</a:t>
            </a:r>
            <a:r>
              <a:rPr lang="en-US" sz="1400" spc="-5" dirty="0">
                <a:latin typeface="Calibri"/>
                <a:cs typeface="Calibri"/>
              </a:rPr>
              <a:t> </a:t>
            </a:r>
            <a:r>
              <a:rPr lang="en-US" sz="1400" spc="-2" dirty="0">
                <a:latin typeface="Calibri"/>
                <a:cs typeface="Calibri"/>
              </a:rPr>
              <a:t>under</a:t>
            </a:r>
            <a:r>
              <a:rPr lang="en-US" sz="1400" dirty="0">
                <a:latin typeface="Calibri"/>
                <a:cs typeface="Calibri"/>
              </a:rPr>
              <a:t> the</a:t>
            </a:r>
            <a:r>
              <a:rPr lang="en-US" sz="1400" spc="-5" dirty="0">
                <a:latin typeface="Calibri"/>
                <a:cs typeface="Calibri"/>
              </a:rPr>
              <a:t> </a:t>
            </a:r>
            <a:r>
              <a:rPr lang="en-US" sz="1400" spc="-2" dirty="0">
                <a:latin typeface="Calibri"/>
                <a:cs typeface="Calibri"/>
              </a:rPr>
              <a:t>panel</a:t>
            </a:r>
            <a:r>
              <a:rPr lang="en-US" sz="1400" dirty="0">
                <a:latin typeface="Calibri"/>
                <a:cs typeface="Calibri"/>
              </a:rPr>
              <a:t> </a:t>
            </a:r>
            <a:r>
              <a:rPr lang="en-US" sz="1400" spc="-2" dirty="0">
                <a:latin typeface="Calibri"/>
                <a:cs typeface="Calibri"/>
              </a:rPr>
              <a:t>cover.</a:t>
            </a:r>
            <a:r>
              <a:rPr lang="en-US" sz="1400" dirty="0">
                <a:latin typeface="Calibri"/>
                <a:cs typeface="Calibri"/>
              </a:rPr>
              <a:t> </a:t>
            </a:r>
            <a:r>
              <a:rPr lang="en-US" sz="1400" spc="-2" dirty="0">
                <a:latin typeface="Calibri"/>
                <a:cs typeface="Calibri"/>
              </a:rPr>
              <a:t>Drag control</a:t>
            </a:r>
            <a:r>
              <a:rPr lang="en-US" sz="1400" dirty="0">
                <a:latin typeface="Calibri"/>
                <a:cs typeface="Calibri"/>
              </a:rPr>
              <a:t> </a:t>
            </a:r>
            <a:r>
              <a:rPr lang="en-US" sz="1400" spc="-2" dirty="0">
                <a:latin typeface="Calibri"/>
                <a:cs typeface="Calibri"/>
              </a:rPr>
              <a:t>panel</a:t>
            </a:r>
            <a:r>
              <a:rPr lang="en-US" sz="1400" spc="-5" dirty="0">
                <a:latin typeface="Calibri"/>
                <a:cs typeface="Calibri"/>
              </a:rPr>
              <a:t> </a:t>
            </a:r>
            <a:r>
              <a:rPr lang="en-US" sz="1400" dirty="0">
                <a:latin typeface="Calibri"/>
                <a:cs typeface="Calibri"/>
              </a:rPr>
              <a:t>out.</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76733" y="355192"/>
            <a:ext cx="7830030" cy="560168"/>
          </a:xfrm>
          <a:prstGeom prst="rect">
            <a:avLst/>
          </a:prstGeom>
        </p:spPr>
        <p:txBody>
          <a:bodyPr vert="horz" wrap="square" lIns="0" tIns="6111" rIns="0" bIns="0" rtlCol="0">
            <a:spAutoFit/>
          </a:bodyPr>
          <a:lstStyle/>
          <a:p>
            <a:pPr marL="6110">
              <a:spcBef>
                <a:spcPts val="48"/>
              </a:spcBef>
            </a:pPr>
            <a:r>
              <a:rPr sz="1800" dirty="0">
                <a:latin typeface="Calibri"/>
                <a:cs typeface="Calibri"/>
              </a:rPr>
              <a:t>Make</a:t>
            </a:r>
            <a:r>
              <a:rPr sz="1800" spc="-5" dirty="0">
                <a:latin typeface="Calibri"/>
                <a:cs typeface="Calibri"/>
              </a:rPr>
              <a:t> </a:t>
            </a:r>
            <a:r>
              <a:rPr sz="1800" spc="-2" dirty="0">
                <a:latin typeface="Calibri"/>
                <a:cs typeface="Calibri"/>
              </a:rPr>
              <a:t>sure </a:t>
            </a:r>
            <a:r>
              <a:rPr sz="1800" dirty="0">
                <a:latin typeface="Calibri"/>
                <a:cs typeface="Calibri"/>
              </a:rPr>
              <a:t>the</a:t>
            </a:r>
            <a:r>
              <a:rPr sz="1800" spc="5" dirty="0">
                <a:latin typeface="Calibri"/>
                <a:cs typeface="Calibri"/>
              </a:rPr>
              <a:t> </a:t>
            </a:r>
            <a:r>
              <a:rPr sz="1800" spc="-2" dirty="0">
                <a:latin typeface="Calibri"/>
                <a:cs typeface="Calibri"/>
              </a:rPr>
              <a:t>upholstery</a:t>
            </a:r>
            <a:r>
              <a:rPr sz="1800" spc="5" dirty="0">
                <a:latin typeface="Calibri"/>
                <a:cs typeface="Calibri"/>
              </a:rPr>
              <a:t> </a:t>
            </a:r>
            <a:r>
              <a:rPr sz="1800" spc="-2" dirty="0">
                <a:latin typeface="Calibri"/>
                <a:cs typeface="Calibri"/>
              </a:rPr>
              <a:t>around</a:t>
            </a:r>
            <a:r>
              <a:rPr sz="1800" dirty="0">
                <a:latin typeface="Calibri"/>
                <a:cs typeface="Calibri"/>
              </a:rPr>
              <a:t> the</a:t>
            </a:r>
            <a:r>
              <a:rPr sz="1800" spc="-2" dirty="0">
                <a:latin typeface="Calibri"/>
                <a:cs typeface="Calibri"/>
              </a:rPr>
              <a:t> </a:t>
            </a:r>
            <a:r>
              <a:rPr sz="1800" dirty="0">
                <a:latin typeface="Calibri"/>
                <a:cs typeface="Calibri"/>
              </a:rPr>
              <a:t>control</a:t>
            </a:r>
            <a:r>
              <a:rPr sz="1800" spc="2" dirty="0">
                <a:latin typeface="Calibri"/>
                <a:cs typeface="Calibri"/>
              </a:rPr>
              <a:t> </a:t>
            </a:r>
            <a:r>
              <a:rPr sz="1800" spc="-2" dirty="0">
                <a:latin typeface="Calibri"/>
                <a:cs typeface="Calibri"/>
              </a:rPr>
              <a:t>panel</a:t>
            </a:r>
            <a:r>
              <a:rPr sz="1800" spc="-5" dirty="0">
                <a:latin typeface="Calibri"/>
                <a:cs typeface="Calibri"/>
              </a:rPr>
              <a:t> </a:t>
            </a:r>
            <a:r>
              <a:rPr sz="1800" spc="-2" dirty="0">
                <a:latin typeface="Calibri"/>
                <a:cs typeface="Calibri"/>
              </a:rPr>
              <a:t>is</a:t>
            </a:r>
            <a:r>
              <a:rPr sz="1800" spc="-5" dirty="0">
                <a:latin typeface="Calibri"/>
                <a:cs typeface="Calibri"/>
              </a:rPr>
              <a:t> </a:t>
            </a:r>
            <a:r>
              <a:rPr sz="1800" dirty="0">
                <a:latin typeface="Calibri"/>
                <a:cs typeface="Calibri"/>
              </a:rPr>
              <a:t>without</a:t>
            </a:r>
            <a:r>
              <a:rPr sz="1800" spc="-2" dirty="0">
                <a:latin typeface="Calibri"/>
                <a:cs typeface="Calibri"/>
              </a:rPr>
              <a:t> wrinkles </a:t>
            </a:r>
            <a:r>
              <a:rPr sz="1800" dirty="0">
                <a:latin typeface="Calibri"/>
                <a:cs typeface="Calibri"/>
              </a:rPr>
              <a:t>or</a:t>
            </a:r>
            <a:r>
              <a:rPr sz="1800" spc="-2" dirty="0">
                <a:latin typeface="Calibri"/>
                <a:cs typeface="Calibri"/>
              </a:rPr>
              <a:t> visual</a:t>
            </a:r>
            <a:r>
              <a:rPr sz="1800" spc="2" dirty="0">
                <a:latin typeface="Calibri"/>
                <a:cs typeface="Calibri"/>
              </a:rPr>
              <a:t> </a:t>
            </a:r>
            <a:r>
              <a:rPr sz="1800" spc="-2" dirty="0">
                <a:latin typeface="Calibri"/>
                <a:cs typeface="Calibri"/>
              </a:rPr>
              <a:t>fibre.</a:t>
            </a:r>
            <a:endParaRPr sz="1800" dirty="0">
              <a:latin typeface="Calibri"/>
              <a:cs typeface="Calibri"/>
            </a:endParaRPr>
          </a:p>
        </p:txBody>
      </p:sp>
      <p:pic>
        <p:nvPicPr>
          <p:cNvPr id="5" name="object 5"/>
          <p:cNvPicPr/>
          <p:nvPr/>
        </p:nvPicPr>
        <p:blipFill>
          <a:blip r:embed="rId2" cstate="print"/>
          <a:stretch>
            <a:fillRect/>
          </a:stretch>
        </p:blipFill>
        <p:spPr>
          <a:xfrm>
            <a:off x="592917" y="1378092"/>
            <a:ext cx="5185476" cy="2663709"/>
          </a:xfrm>
          <a:prstGeom prst="rect">
            <a:avLst/>
          </a:prstGeom>
        </p:spPr>
      </p:pic>
      <p:grpSp>
        <p:nvGrpSpPr>
          <p:cNvPr id="19" name="object 19"/>
          <p:cNvGrpSpPr/>
          <p:nvPr/>
        </p:nvGrpSpPr>
        <p:grpSpPr>
          <a:xfrm>
            <a:off x="3746650" y="3017188"/>
            <a:ext cx="36663" cy="199510"/>
            <a:chOff x="2062867" y="6270835"/>
            <a:chExt cx="76200" cy="414655"/>
          </a:xfrm>
        </p:grpSpPr>
        <p:sp>
          <p:nvSpPr>
            <p:cNvPr id="20" name="object 20"/>
            <p:cNvSpPr/>
            <p:nvPr/>
          </p:nvSpPr>
          <p:spPr>
            <a:xfrm>
              <a:off x="2094231" y="6274010"/>
              <a:ext cx="6985" cy="348615"/>
            </a:xfrm>
            <a:custGeom>
              <a:avLst/>
              <a:gdLst/>
              <a:ahLst/>
              <a:cxnLst/>
              <a:rect l="l" t="t" r="r" b="b"/>
              <a:pathLst>
                <a:path w="6985" h="348615">
                  <a:moveTo>
                    <a:pt x="0" y="0"/>
                  </a:moveTo>
                  <a:lnTo>
                    <a:pt x="6985" y="347992"/>
                  </a:lnTo>
                </a:path>
              </a:pathLst>
            </a:custGeom>
            <a:ln w="6350">
              <a:solidFill>
                <a:srgbClr val="4471C4"/>
              </a:solidFill>
            </a:ln>
          </p:spPr>
          <p:txBody>
            <a:bodyPr wrap="square" lIns="0" tIns="0" rIns="0" bIns="0" rtlCol="0"/>
            <a:lstStyle/>
            <a:p>
              <a:endParaRPr sz="649"/>
            </a:p>
          </p:txBody>
        </p:sp>
        <p:sp>
          <p:nvSpPr>
            <p:cNvPr id="21" name="object 21"/>
            <p:cNvSpPr/>
            <p:nvPr/>
          </p:nvSpPr>
          <p:spPr>
            <a:xfrm>
              <a:off x="2062867" y="6608543"/>
              <a:ext cx="76200" cy="77470"/>
            </a:xfrm>
            <a:custGeom>
              <a:avLst/>
              <a:gdLst/>
              <a:ahLst/>
              <a:cxnLst/>
              <a:rect l="l" t="t" r="r" b="b"/>
              <a:pathLst>
                <a:path w="76200" h="77470">
                  <a:moveTo>
                    <a:pt x="76187" y="0"/>
                  </a:moveTo>
                  <a:lnTo>
                    <a:pt x="0" y="1524"/>
                  </a:lnTo>
                  <a:lnTo>
                    <a:pt x="39623" y="76949"/>
                  </a:lnTo>
                  <a:lnTo>
                    <a:pt x="76187" y="0"/>
                  </a:lnTo>
                  <a:close/>
                </a:path>
              </a:pathLst>
            </a:custGeom>
            <a:solidFill>
              <a:srgbClr val="4471C4"/>
            </a:solidFill>
          </p:spPr>
          <p:txBody>
            <a:bodyPr wrap="square" lIns="0" tIns="0" rIns="0" bIns="0" rtlCol="0"/>
            <a:lstStyle/>
            <a:p>
              <a:endParaRPr sz="649"/>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20F14B2-9CDC-456C-9067-D219AA535105}"/>
              </a:ext>
            </a:extLst>
          </p:cNvPr>
          <p:cNvSpPr>
            <a:spLocks noGrp="1"/>
          </p:cNvSpPr>
          <p:nvPr>
            <p:ph type="dt" sz="half" idx="6"/>
          </p:nvPr>
        </p:nvSpPr>
        <p:spPr/>
        <p:txBody>
          <a:bodyPr/>
          <a:lstStyle/>
          <a:p>
            <a:fld id="{AFB42A58-109F-46C8-8DCE-077DE10A98C0}" type="datetime1">
              <a:rPr lang="en-US" smtClean="0"/>
              <a:t>4/11/21</a:t>
            </a:fld>
            <a:endParaRPr lang="en-US"/>
          </a:p>
        </p:txBody>
      </p:sp>
      <p:sp>
        <p:nvSpPr>
          <p:cNvPr id="4" name="Slide Number Placeholder 3">
            <a:extLst>
              <a:ext uri="{FF2B5EF4-FFF2-40B4-BE49-F238E27FC236}">
                <a16:creationId xmlns:a16="http://schemas.microsoft.com/office/drawing/2014/main" id="{BD1AA241-AA9D-4C41-A719-70A0DDC7FE3D}"/>
              </a:ext>
            </a:extLst>
          </p:cNvPr>
          <p:cNvSpPr>
            <a:spLocks noGrp="1"/>
          </p:cNvSpPr>
          <p:nvPr>
            <p:ph type="sldNum" sz="quarter" idx="7"/>
          </p:nvPr>
        </p:nvSpPr>
        <p:spPr/>
        <p:txBody>
          <a:bodyPr/>
          <a:lstStyle/>
          <a:p>
            <a:fld id="{B6F15528-21DE-4FAA-801E-634DDDAF4B2B}" type="slidenum">
              <a:rPr lang="en-US" smtClean="0"/>
              <a:t>26</a:t>
            </a:fld>
            <a:endParaRPr lang="en-US"/>
          </a:p>
        </p:txBody>
      </p:sp>
      <p:sp>
        <p:nvSpPr>
          <p:cNvPr id="5" name="Rectangle 4">
            <a:extLst>
              <a:ext uri="{FF2B5EF4-FFF2-40B4-BE49-F238E27FC236}">
                <a16:creationId xmlns:a16="http://schemas.microsoft.com/office/drawing/2014/main" id="{CC36C5EC-609E-4E3C-B5DE-2C0FF676C29C}"/>
              </a:ext>
            </a:extLst>
          </p:cNvPr>
          <p:cNvSpPr/>
          <p:nvPr/>
        </p:nvSpPr>
        <p:spPr>
          <a:xfrm>
            <a:off x="553250" y="338097"/>
            <a:ext cx="6738898" cy="3693319"/>
          </a:xfrm>
          <a:prstGeom prst="rect">
            <a:avLst/>
          </a:prstGeom>
        </p:spPr>
        <p:txBody>
          <a:bodyPr wrap="square">
            <a:spAutoFit/>
          </a:bodyPr>
          <a:lstStyle/>
          <a:p>
            <a:pPr marR="0" lvl="0">
              <a:spcBef>
                <a:spcPts val="0"/>
              </a:spcBef>
              <a:spcAft>
                <a:spcPts val="0"/>
              </a:spcAft>
            </a:pPr>
            <a:r>
              <a:rPr lang="en-US" sz="1800" dirty="0">
                <a:latin typeface="Calibri" panose="020F0502020204030204" pitchFamily="34" charset="0"/>
                <a:ea typeface="Times New Roman" panose="02020603050405020304" pitchFamily="18" charset="0"/>
              </a:rPr>
              <a:t>Corroded buttons – In a few instances the buttons have a spotty or dirty appearance and won’t clean.  The cause is a faulty final-stage plating system at the supplier, so there’s no need for the dealer to try any solvent or cleaning.  We don’t want to risk damage to the face plate surrounding the buttons.  Factory QC says the defect was caught after the initial run and new production is corrected.  The defect from the initial batch does not show on every chair, as many have been delivered without flaw, so the corrosion appears random.  Replacements have been ordered for these and it is a claimable issue.  The corrosion does not affect the operation of the chair, so the product can be used with the part being replaced later.</a:t>
            </a:r>
            <a:endParaRPr lang="en-US" sz="1800" dirty="0">
              <a:latin typeface="Calibri" panose="020F0502020204030204" pitchFamily="34" charset="0"/>
              <a:ea typeface="Calibri" panose="020F0502020204030204" pitchFamily="34" charset="0"/>
            </a:endParaRPr>
          </a:p>
          <a:p>
            <a:pPr marL="457200" marR="0">
              <a:spcBef>
                <a:spcPts val="0"/>
              </a:spcBef>
              <a:spcAft>
                <a:spcPts val="0"/>
              </a:spcAft>
            </a:pPr>
            <a:r>
              <a:rPr lang="en-US" sz="1800" dirty="0">
                <a:latin typeface="Calibri" panose="020F0502020204030204" pitchFamily="34" charset="0"/>
                <a:ea typeface="Calibri" panose="020F0502020204030204" pitchFamily="34" charset="0"/>
              </a:rPr>
              <a:t>Here is a link to a video showing how to replace the buttons:</a:t>
            </a:r>
          </a:p>
          <a:p>
            <a:pPr marL="457200" marR="0">
              <a:spcBef>
                <a:spcPts val="0"/>
              </a:spcBef>
              <a:spcAft>
                <a:spcPts val="0"/>
              </a:spcAft>
            </a:pPr>
            <a:r>
              <a:rPr lang="en-GB" sz="1800" u="sng" dirty="0">
                <a:solidFill>
                  <a:srgbClr val="0563C1"/>
                </a:solidFill>
                <a:latin typeface="Calibri" panose="020F0502020204030204" pitchFamily="34" charset="0"/>
                <a:ea typeface="Calibri" panose="020F0502020204030204" pitchFamily="34" charset="0"/>
                <a:hlinkClick r:id="rId2"/>
              </a:rPr>
              <a:t>https://vimeo.com/429514267/cf69e21d30</a:t>
            </a:r>
            <a:endParaRPr lang="en-US"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40618013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80181CB-E9CC-49CD-BEDB-807E4FB43767}"/>
              </a:ext>
            </a:extLst>
          </p:cNvPr>
          <p:cNvSpPr>
            <a:spLocks noGrp="1"/>
          </p:cNvSpPr>
          <p:nvPr>
            <p:ph type="dt" sz="half" idx="6"/>
          </p:nvPr>
        </p:nvSpPr>
        <p:spPr/>
        <p:txBody>
          <a:bodyPr/>
          <a:lstStyle/>
          <a:p>
            <a:fld id="{C7141B29-1282-489B-9F74-0C27E0417070}" type="datetime1">
              <a:rPr lang="en-US" smtClean="0"/>
              <a:t>4/11/21</a:t>
            </a:fld>
            <a:endParaRPr lang="en-US"/>
          </a:p>
        </p:txBody>
      </p:sp>
      <p:sp>
        <p:nvSpPr>
          <p:cNvPr id="4" name="Slide Number Placeholder 3">
            <a:extLst>
              <a:ext uri="{FF2B5EF4-FFF2-40B4-BE49-F238E27FC236}">
                <a16:creationId xmlns:a16="http://schemas.microsoft.com/office/drawing/2014/main" id="{FF89609B-5370-4574-9B9B-D8B3295DB96A}"/>
              </a:ext>
            </a:extLst>
          </p:cNvPr>
          <p:cNvSpPr>
            <a:spLocks noGrp="1"/>
          </p:cNvSpPr>
          <p:nvPr>
            <p:ph type="sldNum" sz="quarter" idx="7"/>
          </p:nvPr>
        </p:nvSpPr>
        <p:spPr/>
        <p:txBody>
          <a:bodyPr/>
          <a:lstStyle/>
          <a:p>
            <a:fld id="{B6F15528-21DE-4FAA-801E-634DDDAF4B2B}" type="slidenum">
              <a:rPr lang="en-US" smtClean="0"/>
              <a:t>27</a:t>
            </a:fld>
            <a:endParaRPr lang="en-US"/>
          </a:p>
        </p:txBody>
      </p:sp>
      <p:sp>
        <p:nvSpPr>
          <p:cNvPr id="5" name="Rectangle 4">
            <a:extLst>
              <a:ext uri="{FF2B5EF4-FFF2-40B4-BE49-F238E27FC236}">
                <a16:creationId xmlns:a16="http://schemas.microsoft.com/office/drawing/2014/main" id="{4A492382-78FA-4E48-B1AF-488220D5EF18}"/>
              </a:ext>
            </a:extLst>
          </p:cNvPr>
          <p:cNvSpPr/>
          <p:nvPr/>
        </p:nvSpPr>
        <p:spPr>
          <a:xfrm>
            <a:off x="491778" y="315045"/>
            <a:ext cx="6366222" cy="4493538"/>
          </a:xfrm>
          <a:prstGeom prst="rect">
            <a:avLst/>
          </a:prstGeom>
        </p:spPr>
        <p:txBody>
          <a:bodyPr wrap="square">
            <a:spAutoFit/>
          </a:bodyPr>
          <a:lstStyle/>
          <a:p>
            <a:pPr marL="457200" marR="0">
              <a:spcBef>
                <a:spcPts val="0"/>
              </a:spcBef>
              <a:spcAft>
                <a:spcPts val="0"/>
              </a:spcAft>
            </a:pPr>
            <a:r>
              <a:rPr lang="en-US" sz="1600" dirty="0">
                <a:latin typeface="Calibri" panose="020F0502020204030204" pitchFamily="34" charset="0"/>
                <a:ea typeface="Calibri" panose="020F0502020204030204" pitchFamily="34" charset="0"/>
              </a:rPr>
              <a:t> </a:t>
            </a:r>
          </a:p>
          <a:p>
            <a:pPr marR="0" lvl="0">
              <a:spcBef>
                <a:spcPts val="0"/>
              </a:spcBef>
              <a:spcAft>
                <a:spcPts val="0"/>
              </a:spcAft>
            </a:pPr>
            <a:r>
              <a:rPr lang="en-US" sz="1800" dirty="0">
                <a:latin typeface="Calibri" panose="020F0502020204030204" pitchFamily="34" charset="0"/>
                <a:ea typeface="Times New Roman" panose="02020603050405020304" pitchFamily="18" charset="0"/>
              </a:rPr>
              <a:t>Headrest not articulating completely – A few chairs have been delivered with the headrest stuck in a single position or not reclining completely.  There is a fix for this as it was anticipated as a potential issue.  I included it on the presentation in the original launch kit.  Attached is a copy of the instruction sheet with this fix shown on </a:t>
            </a:r>
            <a:r>
              <a:rPr lang="en-US" sz="1800" dirty="0" err="1">
                <a:latin typeface="Calibri" panose="020F0502020204030204" pitchFamily="34" charset="0"/>
                <a:ea typeface="Times New Roman" panose="02020603050405020304" pitchFamily="18" charset="0"/>
              </a:rPr>
              <a:t>pg</a:t>
            </a:r>
            <a:r>
              <a:rPr lang="en-US" sz="1800" dirty="0">
                <a:latin typeface="Calibri" panose="020F0502020204030204" pitchFamily="34" charset="0"/>
                <a:ea typeface="Times New Roman" panose="02020603050405020304" pitchFamily="18" charset="0"/>
              </a:rPr>
              <a:t> 6.  Here are the steps:</a:t>
            </a:r>
            <a:endParaRPr lang="en-US" sz="18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800" dirty="0">
                <a:latin typeface="Calibri" panose="020F0502020204030204" pitchFamily="34" charset="0"/>
                <a:ea typeface="Times New Roman" panose="02020603050405020304" pitchFamily="18" charset="0"/>
              </a:rPr>
              <a:t>Press the HOME-button and the leg rest extension button at the same time for about 9 seconds until it starts flashing. </a:t>
            </a:r>
            <a:endParaRPr lang="en-US" sz="18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800" dirty="0">
                <a:latin typeface="Calibri" panose="020F0502020204030204" pitchFamily="34" charset="0"/>
                <a:ea typeface="Times New Roman" panose="02020603050405020304" pitchFamily="18" charset="0"/>
              </a:rPr>
              <a:t>Unplug the chair and plug it back in.</a:t>
            </a:r>
            <a:endParaRPr lang="en-US" sz="18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800" dirty="0">
                <a:latin typeface="Calibri" panose="020F0502020204030204" pitchFamily="34" charset="0"/>
                <a:ea typeface="Times New Roman" panose="02020603050405020304" pitchFamily="18" charset="0"/>
              </a:rPr>
              <a:t>Run a full cycle by pressing the “Home” button for 30 seconds until the chair stops moving. </a:t>
            </a:r>
            <a:endParaRPr lang="en-US" sz="18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800" dirty="0">
                <a:latin typeface="Calibri" panose="020F0502020204030204" pitchFamily="34" charset="0"/>
                <a:ea typeface="Times New Roman" panose="02020603050405020304" pitchFamily="18" charset="0"/>
              </a:rPr>
              <a:t>This procedure also resets the buttons if they stop responding.  If this does not fix the issue, contact customer service or sales manager for next steps.</a:t>
            </a:r>
            <a:endParaRPr lang="en-US" sz="18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41538416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AB798D7-397C-4D67-AF4B-F310EFAA9842}"/>
              </a:ext>
            </a:extLst>
          </p:cNvPr>
          <p:cNvSpPr>
            <a:spLocks noGrp="1"/>
          </p:cNvSpPr>
          <p:nvPr>
            <p:ph type="dt" sz="half" idx="6"/>
          </p:nvPr>
        </p:nvSpPr>
        <p:spPr/>
        <p:txBody>
          <a:bodyPr/>
          <a:lstStyle/>
          <a:p>
            <a:fld id="{9FD33446-902A-4AD0-8DAE-C2CD52FFC37E}" type="datetime1">
              <a:rPr lang="en-US" smtClean="0"/>
              <a:t>4/11/21</a:t>
            </a:fld>
            <a:endParaRPr lang="en-US"/>
          </a:p>
        </p:txBody>
      </p:sp>
      <p:sp>
        <p:nvSpPr>
          <p:cNvPr id="4" name="Slide Number Placeholder 3">
            <a:extLst>
              <a:ext uri="{FF2B5EF4-FFF2-40B4-BE49-F238E27FC236}">
                <a16:creationId xmlns:a16="http://schemas.microsoft.com/office/drawing/2014/main" id="{262F3DD5-F313-46A0-A926-9DB61AEF76B6}"/>
              </a:ext>
            </a:extLst>
          </p:cNvPr>
          <p:cNvSpPr>
            <a:spLocks noGrp="1"/>
          </p:cNvSpPr>
          <p:nvPr>
            <p:ph type="sldNum" sz="quarter" idx="7"/>
          </p:nvPr>
        </p:nvSpPr>
        <p:spPr/>
        <p:txBody>
          <a:bodyPr/>
          <a:lstStyle/>
          <a:p>
            <a:fld id="{B6F15528-21DE-4FAA-801E-634DDDAF4B2B}" type="slidenum">
              <a:rPr lang="en-US" smtClean="0"/>
              <a:t>28</a:t>
            </a:fld>
            <a:endParaRPr lang="en-US"/>
          </a:p>
        </p:txBody>
      </p:sp>
      <p:sp>
        <p:nvSpPr>
          <p:cNvPr id="5" name="Rectangle 4">
            <a:extLst>
              <a:ext uri="{FF2B5EF4-FFF2-40B4-BE49-F238E27FC236}">
                <a16:creationId xmlns:a16="http://schemas.microsoft.com/office/drawing/2014/main" id="{82CADCDC-45F7-4154-89B4-5F4B55C59600}"/>
              </a:ext>
            </a:extLst>
          </p:cNvPr>
          <p:cNvSpPr/>
          <p:nvPr/>
        </p:nvSpPr>
        <p:spPr>
          <a:xfrm>
            <a:off x="860611" y="445674"/>
            <a:ext cx="6777317" cy="4154984"/>
          </a:xfrm>
          <a:prstGeom prst="rect">
            <a:avLst/>
          </a:prstGeom>
        </p:spPr>
        <p:txBody>
          <a:bodyPr wrap="square">
            <a:spAutoFit/>
          </a:bodyPr>
          <a:lstStyle/>
          <a:p>
            <a:pPr marR="0" lvl="0">
              <a:spcBef>
                <a:spcPts val="0"/>
              </a:spcBef>
              <a:spcAft>
                <a:spcPts val="0"/>
              </a:spcAft>
            </a:pPr>
            <a:r>
              <a:rPr lang="en-US" sz="2400" dirty="0">
                <a:latin typeface="Calibri" panose="020F0502020204030204" pitchFamily="34" charset="0"/>
                <a:ea typeface="Times New Roman" panose="02020603050405020304" pitchFamily="18" charset="0"/>
              </a:rPr>
              <a:t>Arm panel attachment – The leather arm panels should never be used to lift or move the chair.  Lifting should ONLY be done from underneath each arm by two people.  The leather panels are attached by sliding into a keyhole on the top of the arm itself.  There is nothing to keep them from popping out or ripping if force is applied.  This engineering is done in order to easily replace the leather and to attach them to the arm without tools being used.  A loose leather arm panel is not a claim.  It can be seated right back in place and used without defect.</a:t>
            </a:r>
            <a:endParaRPr lang="en-US" sz="24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5905451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E5D3839-B861-44FB-A1F4-10BEF3364148}"/>
              </a:ext>
            </a:extLst>
          </p:cNvPr>
          <p:cNvSpPr>
            <a:spLocks noGrp="1"/>
          </p:cNvSpPr>
          <p:nvPr>
            <p:ph type="ftr" sz="quarter" idx="5"/>
          </p:nvPr>
        </p:nvSpPr>
        <p:spPr/>
        <p:txBody>
          <a:bodyPr/>
          <a:lstStyle/>
          <a:p>
            <a:endParaRPr lang="en-US"/>
          </a:p>
        </p:txBody>
      </p:sp>
      <p:sp>
        <p:nvSpPr>
          <p:cNvPr id="3" name="Date Placeholder 2">
            <a:extLst>
              <a:ext uri="{FF2B5EF4-FFF2-40B4-BE49-F238E27FC236}">
                <a16:creationId xmlns:a16="http://schemas.microsoft.com/office/drawing/2014/main" id="{2B172295-E659-40C3-81F6-401A5F1E62C2}"/>
              </a:ext>
            </a:extLst>
          </p:cNvPr>
          <p:cNvSpPr>
            <a:spLocks noGrp="1"/>
          </p:cNvSpPr>
          <p:nvPr>
            <p:ph type="dt" sz="half" idx="6"/>
          </p:nvPr>
        </p:nvSpPr>
        <p:spPr/>
        <p:txBody>
          <a:bodyPr/>
          <a:lstStyle/>
          <a:p>
            <a:fld id="{AAE2C19A-ECD8-4148-8CCC-30683B64F913}" type="datetime1">
              <a:rPr lang="en-US" smtClean="0"/>
              <a:t>4/11/21</a:t>
            </a:fld>
            <a:endParaRPr lang="en-US"/>
          </a:p>
        </p:txBody>
      </p:sp>
      <p:sp>
        <p:nvSpPr>
          <p:cNvPr id="4" name="Slide Number Placeholder 3">
            <a:extLst>
              <a:ext uri="{FF2B5EF4-FFF2-40B4-BE49-F238E27FC236}">
                <a16:creationId xmlns:a16="http://schemas.microsoft.com/office/drawing/2014/main" id="{0ADE6C39-4281-4916-A8CE-423D6AC38B1E}"/>
              </a:ext>
            </a:extLst>
          </p:cNvPr>
          <p:cNvSpPr>
            <a:spLocks noGrp="1"/>
          </p:cNvSpPr>
          <p:nvPr>
            <p:ph type="sldNum" sz="quarter" idx="7"/>
          </p:nvPr>
        </p:nvSpPr>
        <p:spPr/>
        <p:txBody>
          <a:bodyPr/>
          <a:lstStyle/>
          <a:p>
            <a:fld id="{B6F15528-21DE-4FAA-801E-634DDDAF4B2B}" type="slidenum">
              <a:rPr lang="en-US" smtClean="0"/>
              <a:t>29</a:t>
            </a:fld>
            <a:endParaRPr lang="en-US"/>
          </a:p>
        </p:txBody>
      </p:sp>
      <p:sp>
        <p:nvSpPr>
          <p:cNvPr id="5" name="Rectangle 4">
            <a:extLst>
              <a:ext uri="{FF2B5EF4-FFF2-40B4-BE49-F238E27FC236}">
                <a16:creationId xmlns:a16="http://schemas.microsoft.com/office/drawing/2014/main" id="{899A9D3C-4548-4655-A9B2-424D5D55BE0F}"/>
              </a:ext>
            </a:extLst>
          </p:cNvPr>
          <p:cNvSpPr/>
          <p:nvPr/>
        </p:nvSpPr>
        <p:spPr>
          <a:xfrm>
            <a:off x="153681" y="0"/>
            <a:ext cx="7430460" cy="3416320"/>
          </a:xfrm>
          <a:prstGeom prst="rect">
            <a:avLst/>
          </a:prstGeom>
        </p:spPr>
        <p:txBody>
          <a:bodyPr wrap="square">
            <a:spAutoFit/>
          </a:bodyPr>
          <a:lstStyle/>
          <a:p>
            <a:pPr marL="457200" marR="0">
              <a:spcBef>
                <a:spcPts val="0"/>
              </a:spcBef>
              <a:spcAft>
                <a:spcPts val="0"/>
              </a:spcAft>
            </a:pPr>
            <a:r>
              <a:rPr lang="en-US" sz="2400" dirty="0">
                <a:latin typeface="Calibri" panose="020F0502020204030204" pitchFamily="34" charset="0"/>
                <a:ea typeface="Calibri" panose="020F0502020204030204" pitchFamily="34" charset="0"/>
              </a:rPr>
              <a:t> </a:t>
            </a:r>
          </a:p>
          <a:p>
            <a:pPr marR="0" lvl="0">
              <a:spcBef>
                <a:spcPts val="0"/>
              </a:spcBef>
              <a:spcAft>
                <a:spcPts val="0"/>
              </a:spcAft>
            </a:pPr>
            <a:r>
              <a:rPr lang="en-US" sz="2400" dirty="0">
                <a:latin typeface="Calibri" panose="020F0502020204030204" pitchFamily="34" charset="0"/>
                <a:ea typeface="Times New Roman" panose="02020603050405020304" pitchFamily="18" charset="0"/>
              </a:rPr>
              <a:t>Leather imprinting – two cases have been reported where the corrugated divider left an imprint on Paloma.  The imprinting is primarily along the bottom of the footrest from a packaging divider panel.  Heat from a hair dryer may be enough to let the leather release, but it may take some massaging to get it smoothed out.  Obviously, claims for this would be on a case-by-case basis depending on severity.</a:t>
            </a:r>
            <a:endParaRPr lang="en-US" sz="24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6285944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659AB9F1-5728-4A0F-89AD-69715D13E46B}"/>
              </a:ext>
            </a:extLst>
          </p:cNvPr>
          <p:cNvSpPr>
            <a:spLocks noGrp="1"/>
          </p:cNvSpPr>
          <p:nvPr>
            <p:ph idx="1"/>
          </p:nvPr>
        </p:nvSpPr>
        <p:spPr>
          <a:xfrm>
            <a:off x="218586" y="136144"/>
            <a:ext cx="8600639" cy="3774449"/>
          </a:xfrm>
        </p:spPr>
        <p:txBody>
          <a:bodyPr>
            <a:normAutofit/>
          </a:bodyPr>
          <a:lstStyle/>
          <a:p>
            <a:pPr marL="0" indent="0">
              <a:buNone/>
            </a:pPr>
            <a:r>
              <a:rPr lang="nb-NO" sz="1600" b="1" dirty="0"/>
              <a:t>STRESSLESS®MAX</a:t>
            </a:r>
          </a:p>
        </p:txBody>
      </p:sp>
      <p:sp>
        <p:nvSpPr>
          <p:cNvPr id="4" name="Plassholder for dato 3">
            <a:extLst>
              <a:ext uri="{FF2B5EF4-FFF2-40B4-BE49-F238E27FC236}">
                <a16:creationId xmlns:a16="http://schemas.microsoft.com/office/drawing/2014/main" id="{DC513B2F-DBE1-4D50-9539-2D35B3EE4806}"/>
              </a:ext>
            </a:extLst>
          </p:cNvPr>
          <p:cNvSpPr>
            <a:spLocks noGrp="1"/>
          </p:cNvSpPr>
          <p:nvPr>
            <p:ph type="dt" sz="half" idx="10"/>
          </p:nvPr>
        </p:nvSpPr>
        <p:spPr/>
        <p:txBody>
          <a:bodyPr/>
          <a:lstStyle/>
          <a:p>
            <a:fld id="{BB89791D-CE44-464E-A88F-A2CBD6315B0C}" type="datetime1">
              <a:rPr lang="en-US" smtClean="0"/>
              <a:t>4/11/21</a:t>
            </a:fld>
            <a:endParaRPr lang="en-US"/>
          </a:p>
        </p:txBody>
      </p:sp>
      <p:sp>
        <p:nvSpPr>
          <p:cNvPr id="5" name="Plassholder for bunntekst 4">
            <a:extLst>
              <a:ext uri="{FF2B5EF4-FFF2-40B4-BE49-F238E27FC236}">
                <a16:creationId xmlns:a16="http://schemas.microsoft.com/office/drawing/2014/main" id="{DA513C59-E04F-4072-8862-8D32EFF31F10}"/>
              </a:ext>
            </a:extLst>
          </p:cNvPr>
          <p:cNvSpPr>
            <a:spLocks noGrp="1"/>
          </p:cNvSpPr>
          <p:nvPr>
            <p:ph type="ftr" sz="quarter" idx="11"/>
          </p:nvPr>
        </p:nvSpPr>
        <p:spPr/>
        <p:txBody>
          <a:bodyPr/>
          <a:lstStyle/>
          <a:p>
            <a:endParaRPr lang="en-US"/>
          </a:p>
        </p:txBody>
      </p:sp>
      <p:sp>
        <p:nvSpPr>
          <p:cNvPr id="6" name="Plassholder for lysbildenummer 5">
            <a:extLst>
              <a:ext uri="{FF2B5EF4-FFF2-40B4-BE49-F238E27FC236}">
                <a16:creationId xmlns:a16="http://schemas.microsoft.com/office/drawing/2014/main" id="{2A4891F5-49CB-4ECC-8601-80E60D83B7C3}"/>
              </a:ext>
            </a:extLst>
          </p:cNvPr>
          <p:cNvSpPr>
            <a:spLocks noGrp="1"/>
          </p:cNvSpPr>
          <p:nvPr>
            <p:ph type="sldNum" sz="quarter" idx="12"/>
          </p:nvPr>
        </p:nvSpPr>
        <p:spPr/>
        <p:txBody>
          <a:bodyPr/>
          <a:lstStyle/>
          <a:p>
            <a:fld id="{F4563387-511E-4A7C-A128-2A5764207573}" type="slidenum">
              <a:rPr lang="en-US" smtClean="0"/>
              <a:t>3</a:t>
            </a:fld>
            <a:endParaRPr lang="en-US"/>
          </a:p>
        </p:txBody>
      </p:sp>
      <p:pic>
        <p:nvPicPr>
          <p:cNvPr id="2" name="Bilde 1">
            <a:extLst>
              <a:ext uri="{FF2B5EF4-FFF2-40B4-BE49-F238E27FC236}">
                <a16:creationId xmlns:a16="http://schemas.microsoft.com/office/drawing/2014/main" id="{2C4D1452-0BA9-4852-AF19-C69092E209CD}"/>
              </a:ext>
            </a:extLst>
          </p:cNvPr>
          <p:cNvPicPr>
            <a:picLocks noChangeAspect="1"/>
          </p:cNvPicPr>
          <p:nvPr/>
        </p:nvPicPr>
        <p:blipFill rotWithShape="1">
          <a:blip r:embed="rId2"/>
          <a:srcRect l="2968" r="53483"/>
          <a:stretch/>
        </p:blipFill>
        <p:spPr>
          <a:xfrm>
            <a:off x="2187163" y="168933"/>
            <a:ext cx="4663483" cy="2531156"/>
          </a:xfrm>
          <a:prstGeom prst="rect">
            <a:avLst/>
          </a:prstGeom>
        </p:spPr>
      </p:pic>
      <p:pic>
        <p:nvPicPr>
          <p:cNvPr id="9" name="Bilde 8">
            <a:extLst>
              <a:ext uri="{FF2B5EF4-FFF2-40B4-BE49-F238E27FC236}">
                <a16:creationId xmlns:a16="http://schemas.microsoft.com/office/drawing/2014/main" id="{A07C8F50-19D5-413C-A77E-194D6951DA61}"/>
              </a:ext>
            </a:extLst>
          </p:cNvPr>
          <p:cNvPicPr>
            <a:picLocks noChangeAspect="1"/>
          </p:cNvPicPr>
          <p:nvPr/>
        </p:nvPicPr>
        <p:blipFill rotWithShape="1">
          <a:blip r:embed="rId2"/>
          <a:srcRect l="54451" t="8408" r="2001"/>
          <a:stretch/>
        </p:blipFill>
        <p:spPr>
          <a:xfrm>
            <a:off x="2145793" y="2611016"/>
            <a:ext cx="4746221" cy="2359456"/>
          </a:xfrm>
          <a:prstGeom prst="rect">
            <a:avLst/>
          </a:prstGeom>
        </p:spPr>
      </p:pic>
    </p:spTree>
    <p:extLst>
      <p:ext uri="{BB962C8B-B14F-4D97-AF65-F5344CB8AC3E}">
        <p14:creationId xmlns:p14="http://schemas.microsoft.com/office/powerpoint/2010/main" val="41628026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1" name="Object 220" hidden="1">
            <a:extLst>
              <a:ext uri="{FF2B5EF4-FFF2-40B4-BE49-F238E27FC236}">
                <a16:creationId xmlns:a16="http://schemas.microsoft.com/office/drawing/2014/main" id="{C4C7AD5E-1518-472B-AC91-C924B6024C7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9" name="think-cell Slide" r:id="rId5" imgW="359" imgH="358" progId="TCLayout.ActiveDocument.1">
                  <p:embed/>
                </p:oleObj>
              </mc:Choice>
              <mc:Fallback>
                <p:oleObj name="think-cell Slide" r:id="rId5" imgW="359" imgH="358" progId="TCLayout.ActiveDocument.1">
                  <p:embed/>
                  <p:pic>
                    <p:nvPicPr>
                      <p:cNvPr id="221" name="Object 220" hidden="1">
                        <a:extLst>
                          <a:ext uri="{FF2B5EF4-FFF2-40B4-BE49-F238E27FC236}">
                            <a16:creationId xmlns:a16="http://schemas.microsoft.com/office/drawing/2014/main" id="{C4C7AD5E-1518-472B-AC91-C924B6024C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0" name="Rectangle 219" hidden="1">
            <a:extLst>
              <a:ext uri="{FF2B5EF4-FFF2-40B4-BE49-F238E27FC236}">
                <a16:creationId xmlns:a16="http://schemas.microsoft.com/office/drawing/2014/main" id="{CB08D4DB-70BA-4E63-AD85-256793657DE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b="1">
              <a:latin typeface="Lato Regular"/>
              <a:ea typeface="+mj-ea"/>
              <a:cs typeface="+mj-cs"/>
              <a:sym typeface="Lato Regular"/>
            </a:endParaRPr>
          </a:p>
        </p:txBody>
      </p:sp>
      <p:cxnSp>
        <p:nvCxnSpPr>
          <p:cNvPr id="217" name="Straight Connector 216">
            <a:extLst>
              <a:ext uri="{FF2B5EF4-FFF2-40B4-BE49-F238E27FC236}">
                <a16:creationId xmlns:a16="http://schemas.microsoft.com/office/drawing/2014/main" id="{6D02D161-22FD-440B-9F1E-1A488DF40CC4}"/>
              </a:ext>
            </a:extLst>
          </p:cNvPr>
          <p:cNvCxnSpPr>
            <a:cxnSpLocks/>
          </p:cNvCxnSpPr>
          <p:nvPr/>
        </p:nvCxnSpPr>
        <p:spPr>
          <a:xfrm>
            <a:off x="1657240" y="3985657"/>
            <a:ext cx="724010" cy="4021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E3BE79D2-E9F9-4F8B-B106-5EF7B07CB9CF}"/>
              </a:ext>
            </a:extLst>
          </p:cNvPr>
          <p:cNvSpPr>
            <a:spLocks noGrp="1"/>
          </p:cNvSpPr>
          <p:nvPr>
            <p:ph type="dt" sz="half" idx="10"/>
          </p:nvPr>
        </p:nvSpPr>
        <p:spPr/>
        <p:txBody>
          <a:bodyPr/>
          <a:lstStyle/>
          <a:p>
            <a:fld id="{9C820927-FCAE-4D61-8CD8-0648BB0309B5}" type="datetime1">
              <a:rPr lang="en-US" smtClean="0"/>
              <a:pPr/>
              <a:t>4/11/21</a:t>
            </a:fld>
            <a:endParaRPr lang="en-US"/>
          </a:p>
        </p:txBody>
      </p:sp>
      <p:sp>
        <p:nvSpPr>
          <p:cNvPr id="5" name="Footer Placeholder 4">
            <a:extLst>
              <a:ext uri="{FF2B5EF4-FFF2-40B4-BE49-F238E27FC236}">
                <a16:creationId xmlns:a16="http://schemas.microsoft.com/office/drawing/2014/main" id="{2981EF46-E075-4F79-9F53-1A40E3BEE9CE}"/>
              </a:ext>
            </a:extLst>
          </p:cNvPr>
          <p:cNvSpPr>
            <a:spLocks noGrp="1"/>
          </p:cNvSpPr>
          <p:nvPr>
            <p:ph type="ftr" sz="quarter" idx="11"/>
          </p:nvPr>
        </p:nvSpPr>
        <p:spPr>
          <a:xfrm>
            <a:off x="776288" y="4932000"/>
            <a:ext cx="4647989" cy="76944"/>
          </a:xfrm>
        </p:spPr>
        <p:txBody>
          <a:bodyPr/>
          <a:lstStyle/>
          <a:p>
            <a:r>
              <a:rPr lang="en-US"/>
              <a:t>/  Footer</a:t>
            </a:r>
          </a:p>
        </p:txBody>
      </p:sp>
      <p:sp>
        <p:nvSpPr>
          <p:cNvPr id="6" name="Slide Number Placeholder 5">
            <a:extLst>
              <a:ext uri="{FF2B5EF4-FFF2-40B4-BE49-F238E27FC236}">
                <a16:creationId xmlns:a16="http://schemas.microsoft.com/office/drawing/2014/main" id="{C6D89918-079E-4091-8F29-EFCE18177331}"/>
              </a:ext>
            </a:extLst>
          </p:cNvPr>
          <p:cNvSpPr>
            <a:spLocks noGrp="1"/>
          </p:cNvSpPr>
          <p:nvPr>
            <p:ph type="sldNum" sz="quarter" idx="12"/>
          </p:nvPr>
        </p:nvSpPr>
        <p:spPr/>
        <p:txBody>
          <a:bodyPr/>
          <a:lstStyle/>
          <a:p>
            <a:fld id="{7BE74CFF-2C60-4519-94DA-E8FC82378F73}" type="slidenum">
              <a:rPr lang="en-US" smtClean="0"/>
              <a:pPr/>
              <a:t>4</a:t>
            </a:fld>
            <a:endParaRPr lang="en-US"/>
          </a:p>
        </p:txBody>
      </p:sp>
      <p:pic>
        <p:nvPicPr>
          <p:cNvPr id="83" name="Picture 82">
            <a:extLst>
              <a:ext uri="{FF2B5EF4-FFF2-40B4-BE49-F238E27FC236}">
                <a16:creationId xmlns:a16="http://schemas.microsoft.com/office/drawing/2014/main" id="{7E064A9F-3781-486A-9A2D-B644C71BDC55}"/>
              </a:ext>
            </a:extLst>
          </p:cNvPr>
          <p:cNvPicPr>
            <a:picLocks noChangeAspect="1"/>
          </p:cNvPicPr>
          <p:nvPr/>
        </p:nvPicPr>
        <p:blipFill>
          <a:blip r:embed="rId7">
            <a:duotone>
              <a:schemeClr val="accent3">
                <a:shade val="45000"/>
                <a:satMod val="135000"/>
              </a:schemeClr>
              <a:prstClr val="white"/>
            </a:duotone>
          </a:blip>
          <a:stretch>
            <a:fillRect/>
          </a:stretch>
        </p:blipFill>
        <p:spPr>
          <a:xfrm>
            <a:off x="2519064" y="3257601"/>
            <a:ext cx="440228" cy="451612"/>
          </a:xfrm>
          <a:prstGeom prst="rect">
            <a:avLst/>
          </a:prstGeom>
        </p:spPr>
      </p:pic>
      <p:pic>
        <p:nvPicPr>
          <p:cNvPr id="84" name="Picture 83">
            <a:extLst>
              <a:ext uri="{FF2B5EF4-FFF2-40B4-BE49-F238E27FC236}">
                <a16:creationId xmlns:a16="http://schemas.microsoft.com/office/drawing/2014/main" id="{94DDA87F-8169-4063-AAEF-7D80AEAC92C8}"/>
              </a:ext>
            </a:extLst>
          </p:cNvPr>
          <p:cNvPicPr>
            <a:picLocks noChangeAspect="1"/>
          </p:cNvPicPr>
          <p:nvPr/>
        </p:nvPicPr>
        <p:blipFill>
          <a:blip r:embed="rId8">
            <a:duotone>
              <a:schemeClr val="accent3">
                <a:shade val="45000"/>
                <a:satMod val="135000"/>
              </a:schemeClr>
              <a:prstClr val="white"/>
            </a:duotone>
          </a:blip>
          <a:stretch>
            <a:fillRect/>
          </a:stretch>
        </p:blipFill>
        <p:spPr>
          <a:xfrm>
            <a:off x="2435057" y="1317673"/>
            <a:ext cx="561908" cy="480475"/>
          </a:xfrm>
          <a:prstGeom prst="rect">
            <a:avLst/>
          </a:prstGeom>
        </p:spPr>
      </p:pic>
      <p:pic>
        <p:nvPicPr>
          <p:cNvPr id="85" name="Picture 21" descr="Relatert bilde">
            <a:extLst>
              <a:ext uri="{FF2B5EF4-FFF2-40B4-BE49-F238E27FC236}">
                <a16:creationId xmlns:a16="http://schemas.microsoft.com/office/drawing/2014/main" id="{9A15534B-486B-47B7-8D8B-F9CF66CC8743}"/>
              </a:ext>
            </a:extLst>
          </p:cNvPr>
          <p:cNvPicPr>
            <a:picLocks noChangeAspect="1" noChangeArrowheads="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526191" y="2654905"/>
            <a:ext cx="379639" cy="379639"/>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6" descr="Image result for paint brush icon .png">
            <a:extLst>
              <a:ext uri="{FF2B5EF4-FFF2-40B4-BE49-F238E27FC236}">
                <a16:creationId xmlns:a16="http://schemas.microsoft.com/office/drawing/2014/main" id="{4A0CBF99-6EDE-4A23-AB14-C50EA74F60F3}"/>
              </a:ext>
            </a:extLst>
          </p:cNvPr>
          <p:cNvPicPr>
            <a:picLocks noChangeAspect="1" noChangeArrowheads="1"/>
          </p:cNvPicPr>
          <p:nvPr/>
        </p:nvPicPr>
        <p:blipFill>
          <a:blip r:embed="rId10">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2561677" y="2030201"/>
            <a:ext cx="387544" cy="387544"/>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1" descr="Image result for paint brush icon .png">
            <a:extLst>
              <a:ext uri="{FF2B5EF4-FFF2-40B4-BE49-F238E27FC236}">
                <a16:creationId xmlns:a16="http://schemas.microsoft.com/office/drawing/2014/main" id="{BF4913EE-46FA-4F0B-872E-BD9639F561E9}"/>
              </a:ext>
            </a:extLst>
          </p:cNvPr>
          <p:cNvPicPr>
            <a:picLocks noChangeAspect="1" noChangeArrowheads="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95303" y="3838447"/>
            <a:ext cx="492291" cy="492291"/>
          </a:xfrm>
          <a:prstGeom prst="rect">
            <a:avLst/>
          </a:prstGeom>
          <a:noFill/>
          <a:extLst>
            <a:ext uri="{909E8E84-426E-40DD-AFC4-6F175D3DCCD1}">
              <a14:hiddenFill xmlns:a14="http://schemas.microsoft.com/office/drawing/2010/main">
                <a:solidFill>
                  <a:srgbClr val="FFFFFF"/>
                </a:solidFill>
              </a14:hiddenFill>
            </a:ext>
          </a:extLst>
        </p:spPr>
      </p:pic>
      <p:sp>
        <p:nvSpPr>
          <p:cNvPr id="89" name="Rectangle 88">
            <a:extLst>
              <a:ext uri="{FF2B5EF4-FFF2-40B4-BE49-F238E27FC236}">
                <a16:creationId xmlns:a16="http://schemas.microsoft.com/office/drawing/2014/main" id="{9FDE628D-5749-4DB6-8CE1-65F4664110FE}"/>
              </a:ext>
            </a:extLst>
          </p:cNvPr>
          <p:cNvSpPr/>
          <p:nvPr/>
        </p:nvSpPr>
        <p:spPr>
          <a:xfrm>
            <a:off x="2387735" y="1279157"/>
            <a:ext cx="700142" cy="56985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45262508-CFE3-4455-AA0F-63E29431C730}"/>
              </a:ext>
            </a:extLst>
          </p:cNvPr>
          <p:cNvSpPr/>
          <p:nvPr/>
        </p:nvSpPr>
        <p:spPr>
          <a:xfrm>
            <a:off x="2386622" y="1915685"/>
            <a:ext cx="700142" cy="56985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FAF53225-969B-4C4B-B0B6-CBB282041AF9}"/>
              </a:ext>
            </a:extLst>
          </p:cNvPr>
          <p:cNvSpPr/>
          <p:nvPr/>
        </p:nvSpPr>
        <p:spPr>
          <a:xfrm>
            <a:off x="2385509" y="2549360"/>
            <a:ext cx="700142" cy="56985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a:extLst>
              <a:ext uri="{FF2B5EF4-FFF2-40B4-BE49-F238E27FC236}">
                <a16:creationId xmlns:a16="http://schemas.microsoft.com/office/drawing/2014/main" id="{4A301905-28F6-4B54-98EF-71CFEF799BBE}"/>
              </a:ext>
            </a:extLst>
          </p:cNvPr>
          <p:cNvSpPr/>
          <p:nvPr/>
        </p:nvSpPr>
        <p:spPr>
          <a:xfrm>
            <a:off x="2384396" y="3185885"/>
            <a:ext cx="700142" cy="56985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7DD9C698-8C85-456D-B67B-BC8FD70B20F6}"/>
              </a:ext>
            </a:extLst>
          </p:cNvPr>
          <p:cNvSpPr/>
          <p:nvPr/>
        </p:nvSpPr>
        <p:spPr>
          <a:xfrm>
            <a:off x="2383283" y="3827380"/>
            <a:ext cx="700142" cy="56985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1" name="Bilde 9" descr="Et bilde som inneholder tekst, kart&#10;&#10;Beskrivelse som er generert med svært høy visshet">
            <a:extLst>
              <a:ext uri="{FF2B5EF4-FFF2-40B4-BE49-F238E27FC236}">
                <a16:creationId xmlns:a16="http://schemas.microsoft.com/office/drawing/2014/main" id="{27CF8F21-C6C0-4721-BE73-BDE7AC5F36CE}"/>
              </a:ext>
            </a:extLst>
          </p:cNvPr>
          <p:cNvPicPr>
            <a:picLocks noChangeAspect="1"/>
          </p:cNvPicPr>
          <p:nvPr/>
        </p:nvPicPr>
        <p:blipFill rotWithShape="1">
          <a:blip r:embed="rId12"/>
          <a:srcRect l="37113" t="44619" r="33933" b="49608"/>
          <a:stretch/>
        </p:blipFill>
        <p:spPr>
          <a:xfrm>
            <a:off x="4540638" y="1616152"/>
            <a:ext cx="1416190" cy="212391"/>
          </a:xfrm>
          <a:prstGeom prst="rect">
            <a:avLst/>
          </a:prstGeom>
        </p:spPr>
      </p:pic>
      <p:pic>
        <p:nvPicPr>
          <p:cNvPr id="102" name="Bilde 9" descr="Et bilde som inneholder tekst, kart&#10;&#10;Beskrivelse som er generert med svært høy visshet">
            <a:extLst>
              <a:ext uri="{FF2B5EF4-FFF2-40B4-BE49-F238E27FC236}">
                <a16:creationId xmlns:a16="http://schemas.microsoft.com/office/drawing/2014/main" id="{F155ED34-8D8F-45E4-81BC-7CB322CF1930}"/>
              </a:ext>
            </a:extLst>
          </p:cNvPr>
          <p:cNvPicPr>
            <a:picLocks noChangeAspect="1"/>
          </p:cNvPicPr>
          <p:nvPr/>
        </p:nvPicPr>
        <p:blipFill rotWithShape="1">
          <a:blip r:embed="rId13"/>
          <a:srcRect l="12078" t="47622" r="60006" b="46264"/>
          <a:stretch/>
        </p:blipFill>
        <p:spPr>
          <a:xfrm>
            <a:off x="5857564" y="1610202"/>
            <a:ext cx="1368003" cy="224290"/>
          </a:xfrm>
          <a:prstGeom prst="rect">
            <a:avLst/>
          </a:prstGeom>
        </p:spPr>
      </p:pic>
      <p:sp>
        <p:nvSpPr>
          <p:cNvPr id="109" name="Rectangle 108">
            <a:extLst>
              <a:ext uri="{FF2B5EF4-FFF2-40B4-BE49-F238E27FC236}">
                <a16:creationId xmlns:a16="http://schemas.microsoft.com/office/drawing/2014/main" id="{4223A9E0-129B-49F4-B00D-4487BE2370DA}"/>
              </a:ext>
            </a:extLst>
          </p:cNvPr>
          <p:cNvSpPr/>
          <p:nvPr/>
        </p:nvSpPr>
        <p:spPr>
          <a:xfrm>
            <a:off x="3078973" y="1279157"/>
            <a:ext cx="1198754" cy="569858"/>
          </a:xfrm>
          <a:prstGeom prst="rect">
            <a:avLst/>
          </a:prstGeom>
          <a:solidFill>
            <a:srgbClr val="1D366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2 Bases</a:t>
            </a:r>
          </a:p>
        </p:txBody>
      </p:sp>
      <p:sp>
        <p:nvSpPr>
          <p:cNvPr id="110" name="Rectangle 109">
            <a:extLst>
              <a:ext uri="{FF2B5EF4-FFF2-40B4-BE49-F238E27FC236}">
                <a16:creationId xmlns:a16="http://schemas.microsoft.com/office/drawing/2014/main" id="{F804591E-11EF-4C6C-A503-7E3E55F7C6BE}"/>
              </a:ext>
            </a:extLst>
          </p:cNvPr>
          <p:cNvSpPr/>
          <p:nvPr/>
        </p:nvSpPr>
        <p:spPr>
          <a:xfrm>
            <a:off x="3078973" y="1915685"/>
            <a:ext cx="1198754" cy="569858"/>
          </a:xfrm>
          <a:prstGeom prst="rect">
            <a:avLst/>
          </a:prstGeom>
          <a:solidFill>
            <a:srgbClr val="1D366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9 base colors</a:t>
            </a:r>
          </a:p>
        </p:txBody>
      </p:sp>
      <p:sp>
        <p:nvSpPr>
          <p:cNvPr id="111" name="Rectangle 110">
            <a:extLst>
              <a:ext uri="{FF2B5EF4-FFF2-40B4-BE49-F238E27FC236}">
                <a16:creationId xmlns:a16="http://schemas.microsoft.com/office/drawing/2014/main" id="{CC6D8A99-882C-4F72-9BA2-EBA31700684D}"/>
              </a:ext>
            </a:extLst>
          </p:cNvPr>
          <p:cNvSpPr/>
          <p:nvPr/>
        </p:nvSpPr>
        <p:spPr>
          <a:xfrm>
            <a:off x="3078973" y="2549360"/>
            <a:ext cx="1198754" cy="569858"/>
          </a:xfrm>
          <a:prstGeom prst="rect">
            <a:avLst/>
          </a:prstGeom>
          <a:solidFill>
            <a:srgbClr val="1D366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3 Sizes</a:t>
            </a:r>
          </a:p>
        </p:txBody>
      </p:sp>
      <p:sp>
        <p:nvSpPr>
          <p:cNvPr id="112" name="Rectangle 111">
            <a:extLst>
              <a:ext uri="{FF2B5EF4-FFF2-40B4-BE49-F238E27FC236}">
                <a16:creationId xmlns:a16="http://schemas.microsoft.com/office/drawing/2014/main" id="{C1A10972-08D3-4EA0-87F8-77DC011EE027}"/>
              </a:ext>
            </a:extLst>
          </p:cNvPr>
          <p:cNvSpPr/>
          <p:nvPr/>
        </p:nvSpPr>
        <p:spPr>
          <a:xfrm>
            <a:off x="3078973" y="3185885"/>
            <a:ext cx="1198754" cy="569858"/>
          </a:xfrm>
          <a:prstGeom prst="rect">
            <a:avLst/>
          </a:prstGeom>
          <a:solidFill>
            <a:srgbClr val="1D366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2 Cover materials</a:t>
            </a:r>
          </a:p>
        </p:txBody>
      </p:sp>
      <p:sp>
        <p:nvSpPr>
          <p:cNvPr id="113" name="Rectangle 112">
            <a:extLst>
              <a:ext uri="{FF2B5EF4-FFF2-40B4-BE49-F238E27FC236}">
                <a16:creationId xmlns:a16="http://schemas.microsoft.com/office/drawing/2014/main" id="{D59668B1-B7DE-43F1-9F45-CD707BE03DE3}"/>
              </a:ext>
            </a:extLst>
          </p:cNvPr>
          <p:cNvSpPr/>
          <p:nvPr/>
        </p:nvSpPr>
        <p:spPr>
          <a:xfrm>
            <a:off x="3078973" y="3827380"/>
            <a:ext cx="1198754" cy="569858"/>
          </a:xfrm>
          <a:prstGeom prst="rect">
            <a:avLst/>
          </a:prstGeom>
          <a:solidFill>
            <a:srgbClr val="1D366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36 Cover colors</a:t>
            </a:r>
          </a:p>
        </p:txBody>
      </p:sp>
      <p:sp>
        <p:nvSpPr>
          <p:cNvPr id="114" name="Rectangle 113">
            <a:extLst>
              <a:ext uri="{FF2B5EF4-FFF2-40B4-BE49-F238E27FC236}">
                <a16:creationId xmlns:a16="http://schemas.microsoft.com/office/drawing/2014/main" id="{FD5E1AA1-4A52-4045-8EBD-938279DB3AF3}"/>
              </a:ext>
            </a:extLst>
          </p:cNvPr>
          <p:cNvSpPr/>
          <p:nvPr/>
        </p:nvSpPr>
        <p:spPr>
          <a:xfrm>
            <a:off x="4278373" y="1279157"/>
            <a:ext cx="3168502" cy="56985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sp>
        <p:nvSpPr>
          <p:cNvPr id="115" name="Rectangle 114">
            <a:extLst>
              <a:ext uri="{FF2B5EF4-FFF2-40B4-BE49-F238E27FC236}">
                <a16:creationId xmlns:a16="http://schemas.microsoft.com/office/drawing/2014/main" id="{D14AD735-AD51-4DA6-AE45-53B5AB950CDB}"/>
              </a:ext>
            </a:extLst>
          </p:cNvPr>
          <p:cNvSpPr/>
          <p:nvPr/>
        </p:nvSpPr>
        <p:spPr>
          <a:xfrm>
            <a:off x="4278373" y="1915685"/>
            <a:ext cx="3168502" cy="56985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sp>
        <p:nvSpPr>
          <p:cNvPr id="116" name="Rectangle 115">
            <a:extLst>
              <a:ext uri="{FF2B5EF4-FFF2-40B4-BE49-F238E27FC236}">
                <a16:creationId xmlns:a16="http://schemas.microsoft.com/office/drawing/2014/main" id="{D625162E-8257-4DE9-A597-1BE9B3E20435}"/>
              </a:ext>
            </a:extLst>
          </p:cNvPr>
          <p:cNvSpPr/>
          <p:nvPr/>
        </p:nvSpPr>
        <p:spPr>
          <a:xfrm>
            <a:off x="4278373" y="2549360"/>
            <a:ext cx="3168502" cy="56985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sp>
        <p:nvSpPr>
          <p:cNvPr id="117" name="Rectangle 116">
            <a:extLst>
              <a:ext uri="{FF2B5EF4-FFF2-40B4-BE49-F238E27FC236}">
                <a16:creationId xmlns:a16="http://schemas.microsoft.com/office/drawing/2014/main" id="{1161D422-F04E-4714-8152-8881A6751BC2}"/>
              </a:ext>
            </a:extLst>
          </p:cNvPr>
          <p:cNvSpPr/>
          <p:nvPr/>
        </p:nvSpPr>
        <p:spPr>
          <a:xfrm>
            <a:off x="4278373" y="3185885"/>
            <a:ext cx="3168502" cy="56985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sp>
        <p:nvSpPr>
          <p:cNvPr id="118" name="Rectangle 117">
            <a:extLst>
              <a:ext uri="{FF2B5EF4-FFF2-40B4-BE49-F238E27FC236}">
                <a16:creationId xmlns:a16="http://schemas.microsoft.com/office/drawing/2014/main" id="{A7F852E8-5D00-440C-958E-3D229DDC8803}"/>
              </a:ext>
            </a:extLst>
          </p:cNvPr>
          <p:cNvSpPr/>
          <p:nvPr/>
        </p:nvSpPr>
        <p:spPr>
          <a:xfrm>
            <a:off x="4278373" y="3827380"/>
            <a:ext cx="3168502" cy="569858"/>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sp>
        <p:nvSpPr>
          <p:cNvPr id="119" name="TextBox 118">
            <a:extLst>
              <a:ext uri="{FF2B5EF4-FFF2-40B4-BE49-F238E27FC236}">
                <a16:creationId xmlns:a16="http://schemas.microsoft.com/office/drawing/2014/main" id="{F47762EB-CF3B-49FC-B5EC-7C55950049E0}"/>
              </a:ext>
            </a:extLst>
          </p:cNvPr>
          <p:cNvSpPr txBox="1"/>
          <p:nvPr/>
        </p:nvSpPr>
        <p:spPr>
          <a:xfrm>
            <a:off x="4717301" y="1374883"/>
            <a:ext cx="979606" cy="132037"/>
          </a:xfrm>
          <a:prstGeom prst="rect">
            <a:avLst/>
          </a:prstGeom>
          <a:noFill/>
        </p:spPr>
        <p:txBody>
          <a:bodyPr wrap="square" l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Lato Regular"/>
                <a:ea typeface="+mn-ea"/>
                <a:cs typeface="+mn-cs"/>
              </a:rPr>
              <a:t>Wood</a:t>
            </a:r>
          </a:p>
        </p:txBody>
      </p:sp>
      <p:sp>
        <p:nvSpPr>
          <p:cNvPr id="120" name="TextBox 119">
            <a:extLst>
              <a:ext uri="{FF2B5EF4-FFF2-40B4-BE49-F238E27FC236}">
                <a16:creationId xmlns:a16="http://schemas.microsoft.com/office/drawing/2014/main" id="{8F4CF37A-B290-42BC-AC85-02E6B18044DA}"/>
              </a:ext>
            </a:extLst>
          </p:cNvPr>
          <p:cNvSpPr txBox="1"/>
          <p:nvPr/>
        </p:nvSpPr>
        <p:spPr>
          <a:xfrm>
            <a:off x="6051762" y="1379252"/>
            <a:ext cx="979606" cy="132037"/>
          </a:xfrm>
          <a:prstGeom prst="rect">
            <a:avLst/>
          </a:prstGeom>
          <a:noFill/>
        </p:spPr>
        <p:txBody>
          <a:bodyPr wrap="square" l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Lato Regular"/>
                <a:ea typeface="+mn-ea"/>
                <a:cs typeface="+mn-cs"/>
              </a:rPr>
              <a:t>Steel</a:t>
            </a:r>
          </a:p>
        </p:txBody>
      </p:sp>
      <p:cxnSp>
        <p:nvCxnSpPr>
          <p:cNvPr id="122" name="Straight Connector 121">
            <a:extLst>
              <a:ext uri="{FF2B5EF4-FFF2-40B4-BE49-F238E27FC236}">
                <a16:creationId xmlns:a16="http://schemas.microsoft.com/office/drawing/2014/main" id="{EC0617D3-3B05-4112-A601-39260B6E69C3}"/>
              </a:ext>
            </a:extLst>
          </p:cNvPr>
          <p:cNvCxnSpPr>
            <a:cxnSpLocks/>
          </p:cNvCxnSpPr>
          <p:nvPr/>
        </p:nvCxnSpPr>
        <p:spPr>
          <a:xfrm flipH="1">
            <a:off x="4547210" y="1565970"/>
            <a:ext cx="184879" cy="6580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180CB6DB-0CC0-4791-8D41-4656A6A7EC72}"/>
              </a:ext>
            </a:extLst>
          </p:cNvPr>
          <p:cNvCxnSpPr>
            <a:cxnSpLocks/>
          </p:cNvCxnSpPr>
          <p:nvPr/>
        </p:nvCxnSpPr>
        <p:spPr>
          <a:xfrm>
            <a:off x="5658055" y="1533051"/>
            <a:ext cx="183022" cy="6448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38" name="Picture 137">
            <a:extLst>
              <a:ext uri="{FF2B5EF4-FFF2-40B4-BE49-F238E27FC236}">
                <a16:creationId xmlns:a16="http://schemas.microsoft.com/office/drawing/2014/main" id="{71DD5F1F-2EE5-477C-BC9A-A0E4BF4E8E80}"/>
              </a:ext>
            </a:extLst>
          </p:cNvPr>
          <p:cNvPicPr>
            <a:picLocks noChangeAspect="1"/>
          </p:cNvPicPr>
          <p:nvPr/>
        </p:nvPicPr>
        <p:blipFill rotWithShape="1">
          <a:blip r:embed="rId14"/>
          <a:srcRect b="56770"/>
          <a:stretch/>
        </p:blipFill>
        <p:spPr>
          <a:xfrm>
            <a:off x="4695380" y="2050987"/>
            <a:ext cx="1033232" cy="168738"/>
          </a:xfrm>
          <a:prstGeom prst="rect">
            <a:avLst/>
          </a:prstGeom>
        </p:spPr>
      </p:pic>
      <p:pic>
        <p:nvPicPr>
          <p:cNvPr id="139" name="Picture 138">
            <a:extLst>
              <a:ext uri="{FF2B5EF4-FFF2-40B4-BE49-F238E27FC236}">
                <a16:creationId xmlns:a16="http://schemas.microsoft.com/office/drawing/2014/main" id="{E065DE30-EA18-416E-A255-018C21577FA9}"/>
              </a:ext>
            </a:extLst>
          </p:cNvPr>
          <p:cNvPicPr>
            <a:picLocks noChangeAspect="1"/>
          </p:cNvPicPr>
          <p:nvPr/>
        </p:nvPicPr>
        <p:blipFill rotWithShape="1">
          <a:blip r:embed="rId14"/>
          <a:srcRect t="56686"/>
          <a:stretch/>
        </p:blipFill>
        <p:spPr>
          <a:xfrm>
            <a:off x="4669457" y="2289907"/>
            <a:ext cx="1069654" cy="180060"/>
          </a:xfrm>
          <a:prstGeom prst="rect">
            <a:avLst/>
          </a:prstGeom>
        </p:spPr>
      </p:pic>
      <p:sp>
        <p:nvSpPr>
          <p:cNvPr id="140" name="Rectangle 139">
            <a:extLst>
              <a:ext uri="{FF2B5EF4-FFF2-40B4-BE49-F238E27FC236}">
                <a16:creationId xmlns:a16="http://schemas.microsoft.com/office/drawing/2014/main" id="{E4412248-01B3-437F-A7FE-428C6DE210AF}"/>
              </a:ext>
            </a:extLst>
          </p:cNvPr>
          <p:cNvSpPr/>
          <p:nvPr/>
        </p:nvSpPr>
        <p:spPr>
          <a:xfrm>
            <a:off x="4488963" y="1925293"/>
            <a:ext cx="610132" cy="18718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6420"/>
            <a:r>
              <a:rPr lang="en-US" sz="600" b="1">
                <a:solidFill>
                  <a:prstClr val="black">
                    <a:lumMod val="50000"/>
                    <a:lumOff val="50000"/>
                  </a:prstClr>
                </a:solidFill>
                <a:latin typeface="Abadi" panose="020B0604020202020204" pitchFamily="34" charset="0"/>
              </a:rPr>
              <a:t>Whitewash</a:t>
            </a:r>
          </a:p>
        </p:txBody>
      </p:sp>
      <p:sp>
        <p:nvSpPr>
          <p:cNvPr id="141" name="Rectangle 140">
            <a:extLst>
              <a:ext uri="{FF2B5EF4-FFF2-40B4-BE49-F238E27FC236}">
                <a16:creationId xmlns:a16="http://schemas.microsoft.com/office/drawing/2014/main" id="{DBDA5CB0-CA9B-4468-AABA-E8326FE85313}"/>
              </a:ext>
            </a:extLst>
          </p:cNvPr>
          <p:cNvSpPr/>
          <p:nvPr/>
        </p:nvSpPr>
        <p:spPr>
          <a:xfrm>
            <a:off x="4769099" y="1925293"/>
            <a:ext cx="610132" cy="18718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6420"/>
            <a:r>
              <a:rPr lang="en-US" sz="600" b="1">
                <a:solidFill>
                  <a:prstClr val="black">
                    <a:lumMod val="50000"/>
                    <a:lumOff val="50000"/>
                  </a:prstClr>
                </a:solidFill>
                <a:latin typeface="Abadi" panose="020B0604020202020204" pitchFamily="34" charset="0"/>
              </a:rPr>
              <a:t>Oak</a:t>
            </a:r>
          </a:p>
        </p:txBody>
      </p:sp>
      <p:sp>
        <p:nvSpPr>
          <p:cNvPr id="142" name="Rectangle 141">
            <a:extLst>
              <a:ext uri="{FF2B5EF4-FFF2-40B4-BE49-F238E27FC236}">
                <a16:creationId xmlns:a16="http://schemas.microsoft.com/office/drawing/2014/main" id="{60A35E70-EFB2-4229-83E7-B3394E0884C7}"/>
              </a:ext>
            </a:extLst>
          </p:cNvPr>
          <p:cNvSpPr/>
          <p:nvPr/>
        </p:nvSpPr>
        <p:spPr>
          <a:xfrm>
            <a:off x="5042144" y="1925293"/>
            <a:ext cx="610132" cy="18718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6420"/>
            <a:r>
              <a:rPr lang="en-US" sz="600" b="1">
                <a:solidFill>
                  <a:prstClr val="black">
                    <a:lumMod val="50000"/>
                    <a:lumOff val="50000"/>
                  </a:prstClr>
                </a:solidFill>
                <a:latin typeface="Abadi" panose="020B0604020202020204" pitchFamily="34" charset="0"/>
              </a:rPr>
              <a:t>Teak</a:t>
            </a:r>
          </a:p>
        </p:txBody>
      </p:sp>
      <p:sp>
        <p:nvSpPr>
          <p:cNvPr id="143" name="Rectangle 142">
            <a:extLst>
              <a:ext uri="{FF2B5EF4-FFF2-40B4-BE49-F238E27FC236}">
                <a16:creationId xmlns:a16="http://schemas.microsoft.com/office/drawing/2014/main" id="{595C3949-8B96-4DA2-A128-AA2E3F28406E}"/>
              </a:ext>
            </a:extLst>
          </p:cNvPr>
          <p:cNvSpPr/>
          <p:nvPr/>
        </p:nvSpPr>
        <p:spPr>
          <a:xfrm>
            <a:off x="5329368" y="1925293"/>
            <a:ext cx="610132" cy="18718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6420"/>
            <a:r>
              <a:rPr lang="en-US" sz="600" b="1">
                <a:solidFill>
                  <a:prstClr val="black">
                    <a:lumMod val="50000"/>
                    <a:lumOff val="50000"/>
                  </a:prstClr>
                </a:solidFill>
                <a:latin typeface="Abadi" panose="020B0604020202020204" pitchFamily="34" charset="0"/>
              </a:rPr>
              <a:t>Walnut</a:t>
            </a:r>
          </a:p>
        </p:txBody>
      </p:sp>
      <p:sp>
        <p:nvSpPr>
          <p:cNvPr id="144" name="Rectangle 143">
            <a:extLst>
              <a:ext uri="{FF2B5EF4-FFF2-40B4-BE49-F238E27FC236}">
                <a16:creationId xmlns:a16="http://schemas.microsoft.com/office/drawing/2014/main" id="{43466A93-2251-435C-A73E-0C3068C9F951}"/>
              </a:ext>
            </a:extLst>
          </p:cNvPr>
          <p:cNvSpPr/>
          <p:nvPr/>
        </p:nvSpPr>
        <p:spPr>
          <a:xfrm>
            <a:off x="4491287" y="2177939"/>
            <a:ext cx="610132" cy="18718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6420"/>
            <a:r>
              <a:rPr lang="en-US" sz="600" b="1">
                <a:solidFill>
                  <a:prstClr val="black">
                    <a:lumMod val="50000"/>
                    <a:lumOff val="50000"/>
                  </a:prstClr>
                </a:solidFill>
                <a:latin typeface="Abadi" panose="020B0604020202020204" pitchFamily="34" charset="0"/>
              </a:rPr>
              <a:t>Brown</a:t>
            </a:r>
          </a:p>
        </p:txBody>
      </p:sp>
      <p:sp>
        <p:nvSpPr>
          <p:cNvPr id="145" name="Rectangle 144">
            <a:extLst>
              <a:ext uri="{FF2B5EF4-FFF2-40B4-BE49-F238E27FC236}">
                <a16:creationId xmlns:a16="http://schemas.microsoft.com/office/drawing/2014/main" id="{8A3DA13D-4FFF-4C88-9FAD-00FCD78F69A5}"/>
              </a:ext>
            </a:extLst>
          </p:cNvPr>
          <p:cNvSpPr/>
          <p:nvPr/>
        </p:nvSpPr>
        <p:spPr>
          <a:xfrm>
            <a:off x="4771423" y="2177939"/>
            <a:ext cx="610132" cy="18718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6420"/>
            <a:r>
              <a:rPr lang="en-US" sz="600" b="1">
                <a:solidFill>
                  <a:prstClr val="black">
                    <a:lumMod val="50000"/>
                    <a:lumOff val="50000"/>
                  </a:prstClr>
                </a:solidFill>
                <a:latin typeface="Abadi" panose="020B0604020202020204" pitchFamily="34" charset="0"/>
              </a:rPr>
              <a:t>Grey</a:t>
            </a:r>
          </a:p>
        </p:txBody>
      </p:sp>
      <p:sp>
        <p:nvSpPr>
          <p:cNvPr id="146" name="Rectangle 145">
            <a:extLst>
              <a:ext uri="{FF2B5EF4-FFF2-40B4-BE49-F238E27FC236}">
                <a16:creationId xmlns:a16="http://schemas.microsoft.com/office/drawing/2014/main" id="{E143FDC2-8625-466A-A343-50C880A595F8}"/>
              </a:ext>
            </a:extLst>
          </p:cNvPr>
          <p:cNvSpPr/>
          <p:nvPr/>
        </p:nvSpPr>
        <p:spPr>
          <a:xfrm>
            <a:off x="5051560" y="2177939"/>
            <a:ext cx="610132" cy="18718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6420"/>
            <a:r>
              <a:rPr lang="en-US" sz="600" b="1" err="1">
                <a:solidFill>
                  <a:prstClr val="black">
                    <a:lumMod val="50000"/>
                    <a:lumOff val="50000"/>
                  </a:prstClr>
                </a:solidFill>
                <a:latin typeface="Abadi" panose="020B0604020202020204" pitchFamily="34" charset="0"/>
              </a:rPr>
              <a:t>Wenge</a:t>
            </a:r>
            <a:endParaRPr lang="en-US" sz="600" b="1">
              <a:solidFill>
                <a:prstClr val="black">
                  <a:lumMod val="50000"/>
                  <a:lumOff val="50000"/>
                </a:prstClr>
              </a:solidFill>
              <a:latin typeface="Abadi" panose="020B0604020202020204" pitchFamily="34" charset="0"/>
            </a:endParaRPr>
          </a:p>
        </p:txBody>
      </p:sp>
      <p:sp>
        <p:nvSpPr>
          <p:cNvPr id="147" name="Rectangle 146">
            <a:extLst>
              <a:ext uri="{FF2B5EF4-FFF2-40B4-BE49-F238E27FC236}">
                <a16:creationId xmlns:a16="http://schemas.microsoft.com/office/drawing/2014/main" id="{E629048B-42AD-4333-9705-32E424D10C2E}"/>
              </a:ext>
            </a:extLst>
          </p:cNvPr>
          <p:cNvSpPr/>
          <p:nvPr/>
        </p:nvSpPr>
        <p:spPr>
          <a:xfrm>
            <a:off x="5331694" y="2177939"/>
            <a:ext cx="610132" cy="18718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6420"/>
            <a:r>
              <a:rPr lang="en-US" sz="600" b="1">
                <a:solidFill>
                  <a:prstClr val="black">
                    <a:lumMod val="50000"/>
                    <a:lumOff val="50000"/>
                  </a:prstClr>
                </a:solidFill>
                <a:latin typeface="Abadi" panose="020B0604020202020204" pitchFamily="34" charset="0"/>
              </a:rPr>
              <a:t>Black</a:t>
            </a:r>
          </a:p>
        </p:txBody>
      </p:sp>
      <p:pic>
        <p:nvPicPr>
          <p:cNvPr id="151" name="Picture 150">
            <a:extLst>
              <a:ext uri="{FF2B5EF4-FFF2-40B4-BE49-F238E27FC236}">
                <a16:creationId xmlns:a16="http://schemas.microsoft.com/office/drawing/2014/main" id="{4935CA40-99DE-46AB-A424-23145C6DADB3}"/>
              </a:ext>
            </a:extLst>
          </p:cNvPr>
          <p:cNvPicPr>
            <a:picLocks noChangeAspect="1"/>
          </p:cNvPicPr>
          <p:nvPr/>
        </p:nvPicPr>
        <p:blipFill rotWithShape="1">
          <a:blip r:embed="rId15"/>
          <a:srcRect l="6475" t="12239" r="12442" b="5390"/>
          <a:stretch/>
        </p:blipFill>
        <p:spPr>
          <a:xfrm>
            <a:off x="4788424" y="2692004"/>
            <a:ext cx="297088" cy="297088"/>
          </a:xfrm>
          <a:prstGeom prst="rect">
            <a:avLst/>
          </a:prstGeom>
        </p:spPr>
      </p:pic>
      <p:pic>
        <p:nvPicPr>
          <p:cNvPr id="152" name="Picture 151">
            <a:extLst>
              <a:ext uri="{FF2B5EF4-FFF2-40B4-BE49-F238E27FC236}">
                <a16:creationId xmlns:a16="http://schemas.microsoft.com/office/drawing/2014/main" id="{DF2F160A-1DA9-43DC-8A37-67514A86ED1E}"/>
              </a:ext>
            </a:extLst>
          </p:cNvPr>
          <p:cNvPicPr>
            <a:picLocks noChangeAspect="1"/>
          </p:cNvPicPr>
          <p:nvPr/>
        </p:nvPicPr>
        <p:blipFill rotWithShape="1">
          <a:blip r:embed="rId16"/>
          <a:srcRect l="7251" t="7376" r="10517" b="7652"/>
          <a:stretch/>
        </p:blipFill>
        <p:spPr>
          <a:xfrm>
            <a:off x="6625088" y="2689551"/>
            <a:ext cx="291876" cy="291876"/>
          </a:xfrm>
          <a:prstGeom prst="rect">
            <a:avLst/>
          </a:prstGeom>
        </p:spPr>
      </p:pic>
      <p:pic>
        <p:nvPicPr>
          <p:cNvPr id="153" name="Picture 152">
            <a:extLst>
              <a:ext uri="{FF2B5EF4-FFF2-40B4-BE49-F238E27FC236}">
                <a16:creationId xmlns:a16="http://schemas.microsoft.com/office/drawing/2014/main" id="{F284B32A-E2A9-4721-BB3A-11EB468FB69A}"/>
              </a:ext>
            </a:extLst>
          </p:cNvPr>
          <p:cNvPicPr>
            <a:picLocks noChangeAspect="1"/>
          </p:cNvPicPr>
          <p:nvPr/>
        </p:nvPicPr>
        <p:blipFill rotWithShape="1">
          <a:blip r:embed="rId17"/>
          <a:srcRect l="3158" t="6061" r="4174" b="7606"/>
          <a:stretch/>
        </p:blipFill>
        <p:spPr>
          <a:xfrm>
            <a:off x="5706756" y="2698692"/>
            <a:ext cx="297088" cy="286664"/>
          </a:xfrm>
          <a:prstGeom prst="rect">
            <a:avLst/>
          </a:prstGeom>
        </p:spPr>
      </p:pic>
      <p:pic>
        <p:nvPicPr>
          <p:cNvPr id="155" name="Picture 154">
            <a:extLst>
              <a:ext uri="{FF2B5EF4-FFF2-40B4-BE49-F238E27FC236}">
                <a16:creationId xmlns:a16="http://schemas.microsoft.com/office/drawing/2014/main" id="{3F83EAFE-2866-448A-8723-3D9CD9E96CB9}"/>
              </a:ext>
            </a:extLst>
          </p:cNvPr>
          <p:cNvPicPr>
            <a:picLocks noChangeAspect="1"/>
          </p:cNvPicPr>
          <p:nvPr/>
        </p:nvPicPr>
        <p:blipFill>
          <a:blip r:embed="rId18"/>
          <a:stretch>
            <a:fillRect/>
          </a:stretch>
        </p:blipFill>
        <p:spPr>
          <a:xfrm>
            <a:off x="6405768" y="2174217"/>
            <a:ext cx="218113" cy="155266"/>
          </a:xfrm>
          <a:prstGeom prst="rect">
            <a:avLst/>
          </a:prstGeom>
        </p:spPr>
      </p:pic>
      <p:sp>
        <p:nvSpPr>
          <p:cNvPr id="156" name="Rectangle 155">
            <a:extLst>
              <a:ext uri="{FF2B5EF4-FFF2-40B4-BE49-F238E27FC236}">
                <a16:creationId xmlns:a16="http://schemas.microsoft.com/office/drawing/2014/main" id="{49B40AF8-7961-42E9-B1F9-BD4612D8943B}"/>
              </a:ext>
            </a:extLst>
          </p:cNvPr>
          <p:cNvSpPr/>
          <p:nvPr/>
        </p:nvSpPr>
        <p:spPr>
          <a:xfrm>
            <a:off x="6176794" y="2010394"/>
            <a:ext cx="677914" cy="18718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6420"/>
            <a:r>
              <a:rPr lang="en-US" sz="600" b="1">
                <a:solidFill>
                  <a:prstClr val="black">
                    <a:lumMod val="50000"/>
                    <a:lumOff val="50000"/>
                  </a:prstClr>
                </a:solidFill>
                <a:latin typeface="Abadi" panose="020B0604020202020204" pitchFamily="34" charset="0"/>
              </a:rPr>
              <a:t>Brushed steel</a:t>
            </a:r>
          </a:p>
        </p:txBody>
      </p:sp>
      <p:pic>
        <p:nvPicPr>
          <p:cNvPr id="157" name="Picture 156">
            <a:extLst>
              <a:ext uri="{FF2B5EF4-FFF2-40B4-BE49-F238E27FC236}">
                <a16:creationId xmlns:a16="http://schemas.microsoft.com/office/drawing/2014/main" id="{B2B9C052-EE66-4DA4-A2EE-8F36C68C1BB1}"/>
              </a:ext>
            </a:extLst>
          </p:cNvPr>
          <p:cNvPicPr>
            <a:picLocks noChangeAspect="1"/>
          </p:cNvPicPr>
          <p:nvPr/>
        </p:nvPicPr>
        <p:blipFill>
          <a:blip r:embed="rId7"/>
          <a:stretch>
            <a:fillRect/>
          </a:stretch>
        </p:blipFill>
        <p:spPr>
          <a:xfrm>
            <a:off x="4748667" y="3394562"/>
            <a:ext cx="316452" cy="324636"/>
          </a:xfrm>
          <a:prstGeom prst="rect">
            <a:avLst/>
          </a:prstGeom>
        </p:spPr>
      </p:pic>
      <p:sp>
        <p:nvSpPr>
          <p:cNvPr id="159" name="TextBox 158">
            <a:extLst>
              <a:ext uri="{FF2B5EF4-FFF2-40B4-BE49-F238E27FC236}">
                <a16:creationId xmlns:a16="http://schemas.microsoft.com/office/drawing/2014/main" id="{455DACFA-7CDB-46B6-97E3-4E5FFBBB62E2}"/>
              </a:ext>
            </a:extLst>
          </p:cNvPr>
          <p:cNvSpPr txBox="1"/>
          <p:nvPr/>
        </p:nvSpPr>
        <p:spPr>
          <a:xfrm>
            <a:off x="4450905" y="3260330"/>
            <a:ext cx="979606" cy="132037"/>
          </a:xfrm>
          <a:prstGeom prst="rect">
            <a:avLst/>
          </a:prstGeom>
          <a:noFill/>
        </p:spPr>
        <p:txBody>
          <a:bodyPr wrap="square" lIns="0" rtlCol="0" anchor="ctr">
            <a:noAutofit/>
          </a:bodyPr>
          <a:lstStyle/>
          <a:p>
            <a:pPr algn="ctr">
              <a:defRPr/>
            </a:pPr>
            <a:r>
              <a:rPr kumimoji="0" lang="en-US" sz="800" b="1" i="0" u="none" strike="noStrike" kern="1200" cap="none" spc="0" normalizeH="0" baseline="0" noProof="0">
                <a:ln>
                  <a:noFill/>
                </a:ln>
                <a:effectLst/>
                <a:uLnTx/>
                <a:uFillTx/>
                <a:latin typeface="Lato Regular"/>
                <a:ea typeface="+mn-ea"/>
                <a:cs typeface="+mn-cs"/>
              </a:rPr>
              <a:t>Leather</a:t>
            </a:r>
            <a:r>
              <a:rPr lang="en-US" sz="800" b="1">
                <a:latin typeface="Lato Regular"/>
              </a:rPr>
              <a:t> </a:t>
            </a:r>
            <a:r>
              <a:rPr lang="en-US" sz="800" b="1" err="1">
                <a:latin typeface="Lato Regular"/>
              </a:rPr>
              <a:t>Paloama</a:t>
            </a:r>
            <a:endParaRPr lang="en-US" sz="800" b="1" i="0" u="none" strike="noStrike" kern="1200" cap="none" spc="0" normalizeH="0" baseline="0" noProof="0" err="1">
              <a:ln>
                <a:noFill/>
              </a:ln>
              <a:effectLst/>
              <a:uLnTx/>
              <a:uFillTx/>
              <a:latin typeface="Lato Regular"/>
            </a:endParaRPr>
          </a:p>
        </p:txBody>
      </p:sp>
      <p:sp>
        <p:nvSpPr>
          <p:cNvPr id="160" name="TextBox 159">
            <a:extLst>
              <a:ext uri="{FF2B5EF4-FFF2-40B4-BE49-F238E27FC236}">
                <a16:creationId xmlns:a16="http://schemas.microsoft.com/office/drawing/2014/main" id="{3FEDA5F3-E470-4A21-B7C2-6DE1200CD251}"/>
              </a:ext>
            </a:extLst>
          </p:cNvPr>
          <p:cNvSpPr txBox="1"/>
          <p:nvPr/>
        </p:nvSpPr>
        <p:spPr>
          <a:xfrm>
            <a:off x="6061810" y="3264699"/>
            <a:ext cx="979606" cy="132037"/>
          </a:xfrm>
          <a:prstGeom prst="rect">
            <a:avLst/>
          </a:prstGeom>
          <a:noFill/>
        </p:spPr>
        <p:txBody>
          <a:bodyPr wrap="square" lIns="0" rtlCol="0" anchor="ctr">
            <a:noAutofit/>
          </a:bodyPr>
          <a:lstStyle/>
          <a:p>
            <a:pPr algn="ctr">
              <a:defRPr/>
            </a:pPr>
            <a:r>
              <a:rPr lang="en-US" sz="800" b="1">
                <a:latin typeface="Lato Regular"/>
              </a:rPr>
              <a:t>Leather Pioneer</a:t>
            </a:r>
            <a:endParaRPr kumimoji="0" lang="en-US" sz="800" b="1" i="0" u="none" strike="noStrike" kern="1200" cap="none" spc="0" normalizeH="0" baseline="0" noProof="0">
              <a:ln>
                <a:noFill/>
              </a:ln>
              <a:effectLst/>
              <a:uLnTx/>
              <a:uFillTx/>
              <a:latin typeface="Lato Regular"/>
              <a:ea typeface="+mn-ea"/>
              <a:cs typeface="+mn-cs"/>
            </a:endParaRPr>
          </a:p>
        </p:txBody>
      </p:sp>
      <p:sp>
        <p:nvSpPr>
          <p:cNvPr id="161" name="Rectangle 160">
            <a:extLst>
              <a:ext uri="{FF2B5EF4-FFF2-40B4-BE49-F238E27FC236}">
                <a16:creationId xmlns:a16="http://schemas.microsoft.com/office/drawing/2014/main" id="{4C2931B4-257C-4736-A736-96DFF957DA48}"/>
              </a:ext>
            </a:extLst>
          </p:cNvPr>
          <p:cNvSpPr/>
          <p:nvPr/>
        </p:nvSpPr>
        <p:spPr>
          <a:xfrm>
            <a:off x="4650064" y="3875097"/>
            <a:ext cx="556832" cy="18718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6420"/>
            <a:r>
              <a:rPr lang="en-US" sz="700" b="1">
                <a:solidFill>
                  <a:prstClr val="black">
                    <a:lumMod val="50000"/>
                    <a:lumOff val="50000"/>
                  </a:prstClr>
                </a:solidFill>
                <a:latin typeface="Abadi" panose="020B0604020202020204" pitchFamily="34" charset="0"/>
              </a:rPr>
              <a:t>Paloma</a:t>
            </a:r>
            <a:r>
              <a:rPr lang="en-US" sz="700">
                <a:solidFill>
                  <a:prstClr val="black">
                    <a:lumMod val="50000"/>
                    <a:lumOff val="50000"/>
                  </a:prstClr>
                </a:solidFill>
                <a:latin typeface="Abadi" panose="020B0604020202020204" pitchFamily="34" charset="0"/>
              </a:rPr>
              <a:t> </a:t>
            </a:r>
            <a:r>
              <a:rPr lang="en-US" sz="500">
                <a:solidFill>
                  <a:prstClr val="black">
                    <a:lumMod val="50000"/>
                    <a:lumOff val="50000"/>
                  </a:prstClr>
                </a:solidFill>
                <a:latin typeface="Abadi" panose="020B0604020202020204" pitchFamily="34" charset="0"/>
              </a:rPr>
              <a:t>(26)</a:t>
            </a:r>
            <a:endParaRPr lang="en-US" sz="700">
              <a:solidFill>
                <a:prstClr val="black">
                  <a:lumMod val="50000"/>
                  <a:lumOff val="50000"/>
                </a:prstClr>
              </a:solidFill>
              <a:latin typeface="Abadi" panose="020B0604020202020204" pitchFamily="34" charset="0"/>
            </a:endParaRPr>
          </a:p>
        </p:txBody>
      </p:sp>
      <p:sp>
        <p:nvSpPr>
          <p:cNvPr id="162" name="Rectangle 161">
            <a:extLst>
              <a:ext uri="{FF2B5EF4-FFF2-40B4-BE49-F238E27FC236}">
                <a16:creationId xmlns:a16="http://schemas.microsoft.com/office/drawing/2014/main" id="{1F1324B5-0938-4A8D-84B2-D650B32593CD}"/>
              </a:ext>
            </a:extLst>
          </p:cNvPr>
          <p:cNvSpPr/>
          <p:nvPr/>
        </p:nvSpPr>
        <p:spPr>
          <a:xfrm>
            <a:off x="4753852" y="3875097"/>
            <a:ext cx="610132" cy="18718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6420"/>
            <a:br>
              <a:rPr lang="en-US" sz="700">
                <a:latin typeface="Abadi" panose="020B0604020202020204" pitchFamily="34" charset="0"/>
              </a:rPr>
            </a:br>
            <a:r>
              <a:rPr lang="en-US" sz="500">
                <a:latin typeface="Abadi"/>
              </a:rPr>
              <a:t>(13)</a:t>
            </a:r>
            <a:endParaRPr lang="en-US" sz="700">
              <a:latin typeface="Abadi"/>
            </a:endParaRPr>
          </a:p>
        </p:txBody>
      </p:sp>
      <p:sp>
        <p:nvSpPr>
          <p:cNvPr id="176" name="Rectangle 175">
            <a:extLst>
              <a:ext uri="{FF2B5EF4-FFF2-40B4-BE49-F238E27FC236}">
                <a16:creationId xmlns:a16="http://schemas.microsoft.com/office/drawing/2014/main" id="{9CEAC71E-1CE3-4BD5-85B8-BD5B23F59913}"/>
              </a:ext>
            </a:extLst>
          </p:cNvPr>
          <p:cNvSpPr/>
          <p:nvPr/>
        </p:nvSpPr>
        <p:spPr>
          <a:xfrm>
            <a:off x="6176200" y="3892813"/>
            <a:ext cx="610132" cy="18718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6420"/>
            <a:r>
              <a:rPr lang="en-US" sz="700" b="1">
                <a:solidFill>
                  <a:prstClr val="black">
                    <a:lumMod val="50000"/>
                    <a:lumOff val="50000"/>
                  </a:prstClr>
                </a:solidFill>
                <a:latin typeface="Abadi" panose="020B0604020202020204" pitchFamily="34" charset="0"/>
              </a:rPr>
              <a:t>Pioneer</a:t>
            </a:r>
            <a:br>
              <a:rPr lang="en-US" sz="700">
                <a:solidFill>
                  <a:prstClr val="black">
                    <a:lumMod val="50000"/>
                    <a:lumOff val="50000"/>
                  </a:prstClr>
                </a:solidFill>
                <a:latin typeface="Abadi" panose="020B0604020202020204" pitchFamily="34" charset="0"/>
              </a:rPr>
            </a:br>
            <a:r>
              <a:rPr lang="en-US" sz="500">
                <a:solidFill>
                  <a:prstClr val="black">
                    <a:lumMod val="50000"/>
                    <a:lumOff val="50000"/>
                  </a:prstClr>
                </a:solidFill>
                <a:latin typeface="Abadi" panose="020B0604020202020204" pitchFamily="34" charset="0"/>
              </a:rPr>
              <a:t>(10)</a:t>
            </a:r>
            <a:endParaRPr lang="en-US" sz="700">
              <a:solidFill>
                <a:prstClr val="black">
                  <a:lumMod val="50000"/>
                  <a:lumOff val="50000"/>
                </a:prstClr>
              </a:solidFill>
              <a:latin typeface="Abadi" panose="020B0604020202020204" pitchFamily="34" charset="0"/>
            </a:endParaRPr>
          </a:p>
        </p:txBody>
      </p:sp>
      <p:cxnSp>
        <p:nvCxnSpPr>
          <p:cNvPr id="178" name="Straight Connector 177">
            <a:extLst>
              <a:ext uri="{FF2B5EF4-FFF2-40B4-BE49-F238E27FC236}">
                <a16:creationId xmlns:a16="http://schemas.microsoft.com/office/drawing/2014/main" id="{C2902569-6568-4EE6-A348-6EC610586631}"/>
              </a:ext>
            </a:extLst>
          </p:cNvPr>
          <p:cNvCxnSpPr>
            <a:cxnSpLocks/>
          </p:cNvCxnSpPr>
          <p:nvPr/>
        </p:nvCxnSpPr>
        <p:spPr>
          <a:xfrm>
            <a:off x="5086447" y="3444552"/>
            <a:ext cx="396949" cy="75136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D07B2A32-8B16-447C-8879-69F3CBBD725A}"/>
              </a:ext>
            </a:extLst>
          </p:cNvPr>
          <p:cNvCxnSpPr>
            <a:cxnSpLocks/>
          </p:cNvCxnSpPr>
          <p:nvPr/>
        </p:nvCxnSpPr>
        <p:spPr>
          <a:xfrm flipH="1">
            <a:off x="4405963" y="3437464"/>
            <a:ext cx="304800" cy="76554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FC4EE0FE-09A4-4B88-BD34-ACF3E82D3312}"/>
              </a:ext>
            </a:extLst>
          </p:cNvPr>
          <p:cNvCxnSpPr>
            <a:cxnSpLocks/>
          </p:cNvCxnSpPr>
          <p:nvPr/>
        </p:nvCxnSpPr>
        <p:spPr>
          <a:xfrm>
            <a:off x="6726099" y="3461817"/>
            <a:ext cx="678269" cy="7761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BC676CC-8B40-4ED7-A48E-AE7C8B90FB2E}"/>
              </a:ext>
            </a:extLst>
          </p:cNvPr>
          <p:cNvCxnSpPr>
            <a:cxnSpLocks/>
          </p:cNvCxnSpPr>
          <p:nvPr/>
        </p:nvCxnSpPr>
        <p:spPr>
          <a:xfrm flipH="1">
            <a:off x="5841647" y="3461616"/>
            <a:ext cx="473328" cy="6307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3" name="Rectangle 202">
            <a:extLst>
              <a:ext uri="{FF2B5EF4-FFF2-40B4-BE49-F238E27FC236}">
                <a16:creationId xmlns:a16="http://schemas.microsoft.com/office/drawing/2014/main" id="{B24D7741-F311-4F94-8029-5D1566D2D522}"/>
              </a:ext>
            </a:extLst>
          </p:cNvPr>
          <p:cNvSpPr/>
          <p:nvPr/>
        </p:nvSpPr>
        <p:spPr>
          <a:xfrm>
            <a:off x="364929" y="1801896"/>
            <a:ext cx="1291644" cy="2185444"/>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tx1"/>
              </a:solidFill>
            </a:endParaRPr>
          </a:p>
        </p:txBody>
      </p:sp>
      <p:sp>
        <p:nvSpPr>
          <p:cNvPr id="212" name="Rectangle 211">
            <a:extLst>
              <a:ext uri="{FF2B5EF4-FFF2-40B4-BE49-F238E27FC236}">
                <a16:creationId xmlns:a16="http://schemas.microsoft.com/office/drawing/2014/main" id="{B2AA604C-A06A-44DD-B873-BBAEBDEEFF0E}"/>
              </a:ext>
            </a:extLst>
          </p:cNvPr>
          <p:cNvSpPr/>
          <p:nvPr/>
        </p:nvSpPr>
        <p:spPr>
          <a:xfrm>
            <a:off x="364929" y="1571800"/>
            <a:ext cx="1292935" cy="226697"/>
          </a:xfrm>
          <a:prstGeom prst="rect">
            <a:avLst/>
          </a:prstGeom>
          <a:solidFill>
            <a:srgbClr val="1D366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rPr>
              <a:t>2 Product Models</a:t>
            </a:r>
          </a:p>
        </p:txBody>
      </p:sp>
      <p:sp>
        <p:nvSpPr>
          <p:cNvPr id="213" name="TextBox 212">
            <a:extLst>
              <a:ext uri="{FF2B5EF4-FFF2-40B4-BE49-F238E27FC236}">
                <a16:creationId xmlns:a16="http://schemas.microsoft.com/office/drawing/2014/main" id="{CF5CFFB6-E0C0-48CA-90D7-2D91283E29AE}"/>
              </a:ext>
            </a:extLst>
          </p:cNvPr>
          <p:cNvSpPr txBox="1"/>
          <p:nvPr/>
        </p:nvSpPr>
        <p:spPr>
          <a:xfrm>
            <a:off x="368769" y="1872621"/>
            <a:ext cx="1296000" cy="132037"/>
          </a:xfrm>
          <a:prstGeom prst="rect">
            <a:avLst/>
          </a:prstGeom>
          <a:noFill/>
        </p:spPr>
        <p:txBody>
          <a:bodyPr wrap="square" l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Lato Regular"/>
                <a:ea typeface="+mn-ea"/>
                <a:cs typeface="+mn-cs"/>
              </a:rPr>
              <a:t>Max</a:t>
            </a:r>
          </a:p>
        </p:txBody>
      </p:sp>
      <p:sp>
        <p:nvSpPr>
          <p:cNvPr id="214" name="TextBox 213">
            <a:extLst>
              <a:ext uri="{FF2B5EF4-FFF2-40B4-BE49-F238E27FC236}">
                <a16:creationId xmlns:a16="http://schemas.microsoft.com/office/drawing/2014/main" id="{D945B47C-1DA4-4094-A5E7-63F8A9D2B37D}"/>
              </a:ext>
            </a:extLst>
          </p:cNvPr>
          <p:cNvSpPr txBox="1"/>
          <p:nvPr/>
        </p:nvSpPr>
        <p:spPr>
          <a:xfrm>
            <a:off x="368769" y="2950511"/>
            <a:ext cx="1296000" cy="132037"/>
          </a:xfrm>
          <a:prstGeom prst="rect">
            <a:avLst/>
          </a:prstGeom>
          <a:noFill/>
        </p:spPr>
        <p:txBody>
          <a:bodyPr wrap="square" lIns="0" rtlCol="0" anchor="ctr">
            <a:noAutofit/>
          </a:bodyPr>
          <a:lstStyle/>
          <a:p>
            <a:pPr lvl="0" algn="ctr">
              <a:defRPr/>
            </a:pPr>
            <a:r>
              <a:rPr lang="en-US" sz="800" b="1"/>
              <a:t>Mike</a:t>
            </a:r>
            <a:endParaRPr kumimoji="0" lang="en-US" sz="800" b="1" i="0" u="none" strike="noStrike" kern="1200" cap="none" spc="0" normalizeH="0" baseline="0" noProof="0">
              <a:ln>
                <a:noFill/>
              </a:ln>
              <a:effectLst/>
              <a:uLnTx/>
              <a:uFillTx/>
              <a:latin typeface="Lato Regular"/>
              <a:ea typeface="+mn-ea"/>
              <a:cs typeface="+mn-cs"/>
            </a:endParaRPr>
          </a:p>
        </p:txBody>
      </p:sp>
      <p:cxnSp>
        <p:nvCxnSpPr>
          <p:cNvPr id="215" name="Straight Connector 214">
            <a:extLst>
              <a:ext uri="{FF2B5EF4-FFF2-40B4-BE49-F238E27FC236}">
                <a16:creationId xmlns:a16="http://schemas.microsoft.com/office/drawing/2014/main" id="{8728CAA6-20BC-4EBB-AC33-8339F8328A4A}"/>
              </a:ext>
            </a:extLst>
          </p:cNvPr>
          <p:cNvCxnSpPr>
            <a:cxnSpLocks/>
          </p:cNvCxnSpPr>
          <p:nvPr/>
        </p:nvCxnSpPr>
        <p:spPr>
          <a:xfrm flipH="1">
            <a:off x="1658511" y="1279157"/>
            <a:ext cx="737212" cy="2998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2" name="Title 1">
            <a:extLst>
              <a:ext uri="{FF2B5EF4-FFF2-40B4-BE49-F238E27FC236}">
                <a16:creationId xmlns:a16="http://schemas.microsoft.com/office/drawing/2014/main" id="{C1125709-E544-4248-A7DC-E314CA1D6119}"/>
              </a:ext>
            </a:extLst>
          </p:cNvPr>
          <p:cNvSpPr txBox="1">
            <a:spLocks/>
          </p:cNvSpPr>
          <p:nvPr/>
        </p:nvSpPr>
        <p:spPr>
          <a:xfrm>
            <a:off x="362287" y="540506"/>
            <a:ext cx="7643030" cy="307777"/>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2000" b="1" i="0" kern="1200" cap="all" baseline="0">
                <a:solidFill>
                  <a:schemeClr val="dk2"/>
                </a:solidFill>
                <a:latin typeface="+mj-lt"/>
                <a:ea typeface="+mj-ea"/>
                <a:cs typeface="+mj-cs"/>
              </a:defRPr>
            </a:lvl1pPr>
          </a:lstStyle>
          <a:p>
            <a:r>
              <a:rPr lang="en-US" dirty="0"/>
              <a:t>Configurations</a:t>
            </a:r>
          </a:p>
        </p:txBody>
      </p:sp>
      <p:sp>
        <p:nvSpPr>
          <p:cNvPr id="96" name="Footer Placeholder 2">
            <a:extLst>
              <a:ext uri="{FF2B5EF4-FFF2-40B4-BE49-F238E27FC236}">
                <a16:creationId xmlns:a16="http://schemas.microsoft.com/office/drawing/2014/main" id="{2E220A78-0EB6-47FC-B8A8-1960C7578902}"/>
              </a:ext>
            </a:extLst>
          </p:cNvPr>
          <p:cNvSpPr txBox="1">
            <a:spLocks/>
          </p:cNvSpPr>
          <p:nvPr/>
        </p:nvSpPr>
        <p:spPr>
          <a:xfrm>
            <a:off x="362287" y="3987800"/>
            <a:ext cx="1294286" cy="314522"/>
          </a:xfrm>
          <a:prstGeom prst="rect">
            <a:avLst/>
          </a:prstGeom>
        </p:spPr>
        <p:txBody>
          <a:bodyPr anchor="ctr"/>
          <a:lstStyle>
            <a:defPPr>
              <a:defRPr lang="nb-N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536420"/>
            <a:r>
              <a:rPr lang="en-US" sz="900" i="1" dirty="0">
                <a:solidFill>
                  <a:prstClr val="black">
                    <a:tint val="75000"/>
                  </a:prstClr>
                </a:solidFill>
                <a:latin typeface="Calibri Light"/>
              </a:rPr>
              <a:t>Battery offered as an add-on </a:t>
            </a:r>
          </a:p>
        </p:txBody>
      </p:sp>
      <p:pic>
        <p:nvPicPr>
          <p:cNvPr id="88" name="Picture 156">
            <a:extLst>
              <a:ext uri="{FF2B5EF4-FFF2-40B4-BE49-F238E27FC236}">
                <a16:creationId xmlns:a16="http://schemas.microsoft.com/office/drawing/2014/main" id="{9A8E4B6D-7FC4-471A-A3AA-734E84338408}"/>
              </a:ext>
            </a:extLst>
          </p:cNvPr>
          <p:cNvPicPr>
            <a:picLocks noChangeAspect="1"/>
          </p:cNvPicPr>
          <p:nvPr/>
        </p:nvPicPr>
        <p:blipFill>
          <a:blip r:embed="rId7"/>
          <a:stretch>
            <a:fillRect/>
          </a:stretch>
        </p:blipFill>
        <p:spPr>
          <a:xfrm>
            <a:off x="6354013" y="3401447"/>
            <a:ext cx="316452" cy="324636"/>
          </a:xfrm>
          <a:prstGeom prst="rect">
            <a:avLst/>
          </a:prstGeom>
        </p:spPr>
      </p:pic>
      <p:sp>
        <p:nvSpPr>
          <p:cNvPr id="72" name="Plassholder for innhold 2">
            <a:extLst>
              <a:ext uri="{FF2B5EF4-FFF2-40B4-BE49-F238E27FC236}">
                <a16:creationId xmlns:a16="http://schemas.microsoft.com/office/drawing/2014/main" id="{8E6E2C21-C8C6-4DA9-BA6E-C3DEE308CF71}"/>
              </a:ext>
            </a:extLst>
          </p:cNvPr>
          <p:cNvSpPr>
            <a:spLocks noGrp="1"/>
          </p:cNvSpPr>
          <p:nvPr>
            <p:ph idx="1"/>
          </p:nvPr>
        </p:nvSpPr>
        <p:spPr>
          <a:xfrm>
            <a:off x="368769" y="942080"/>
            <a:ext cx="8281035" cy="3744000"/>
          </a:xfrm>
        </p:spPr>
        <p:txBody>
          <a:bodyPr>
            <a:normAutofit/>
          </a:bodyPr>
          <a:lstStyle/>
          <a:p>
            <a:pPr marL="0" indent="0">
              <a:buNone/>
            </a:pPr>
            <a:endParaRPr lang="en-US" dirty="0"/>
          </a:p>
          <a:p>
            <a:pPr>
              <a:buFont typeface="Wingdings" panose="05000000000000000000" pitchFamily="2" charset="2"/>
              <a:buChar char="§"/>
            </a:pPr>
            <a:endParaRPr lang="en-US" dirty="0"/>
          </a:p>
        </p:txBody>
      </p:sp>
      <p:pic>
        <p:nvPicPr>
          <p:cNvPr id="73" name="Bilde 72">
            <a:extLst>
              <a:ext uri="{FF2B5EF4-FFF2-40B4-BE49-F238E27FC236}">
                <a16:creationId xmlns:a16="http://schemas.microsoft.com/office/drawing/2014/main" id="{48028602-5D2C-4F39-B2C6-90579E6ECC73}"/>
              </a:ext>
            </a:extLst>
          </p:cNvPr>
          <p:cNvPicPr>
            <a:picLocks noChangeAspect="1"/>
          </p:cNvPicPr>
          <p:nvPr/>
        </p:nvPicPr>
        <p:blipFill rotWithShape="1">
          <a:blip r:embed="rId19"/>
          <a:srcRect t="-1" b="665"/>
          <a:stretch/>
        </p:blipFill>
        <p:spPr>
          <a:xfrm>
            <a:off x="621113" y="3063577"/>
            <a:ext cx="809656" cy="900628"/>
          </a:xfrm>
          <a:prstGeom prst="rect">
            <a:avLst/>
          </a:prstGeom>
        </p:spPr>
      </p:pic>
      <p:pic>
        <p:nvPicPr>
          <p:cNvPr id="74" name="Bilde 73">
            <a:extLst>
              <a:ext uri="{FF2B5EF4-FFF2-40B4-BE49-F238E27FC236}">
                <a16:creationId xmlns:a16="http://schemas.microsoft.com/office/drawing/2014/main" id="{FB0A9072-8F5A-442D-8335-1F5724FFDCB7}"/>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36321" y="2063364"/>
            <a:ext cx="834888" cy="864012"/>
          </a:xfrm>
          <a:prstGeom prst="rect">
            <a:avLst/>
          </a:prstGeom>
        </p:spPr>
      </p:pic>
    </p:spTree>
    <p:extLst>
      <p:ext uri="{BB962C8B-B14F-4D97-AF65-F5344CB8AC3E}">
        <p14:creationId xmlns:p14="http://schemas.microsoft.com/office/powerpoint/2010/main" val="8261000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2D44FDC-C1C9-458B-A346-79ED4FB150F8}"/>
              </a:ext>
            </a:extLst>
          </p:cNvPr>
          <p:cNvSpPr>
            <a:spLocks noGrp="1"/>
          </p:cNvSpPr>
          <p:nvPr>
            <p:ph type="title"/>
          </p:nvPr>
        </p:nvSpPr>
        <p:spPr>
          <a:xfrm>
            <a:off x="432055" y="379643"/>
            <a:ext cx="8281035" cy="307777"/>
          </a:xfrm>
        </p:spPr>
        <p:txBody>
          <a:bodyPr/>
          <a:lstStyle/>
          <a:p>
            <a:r>
              <a:rPr lang="en-US" dirty="0"/>
              <a:t>Size story</a:t>
            </a:r>
          </a:p>
        </p:txBody>
      </p:sp>
      <p:sp>
        <p:nvSpPr>
          <p:cNvPr id="7" name="Plassholder for lysbildenummer 6">
            <a:extLst>
              <a:ext uri="{FF2B5EF4-FFF2-40B4-BE49-F238E27FC236}">
                <a16:creationId xmlns:a16="http://schemas.microsoft.com/office/drawing/2014/main" id="{45F42EC0-0811-4D4F-8535-4C7FB7FF1117}"/>
              </a:ext>
            </a:extLst>
          </p:cNvPr>
          <p:cNvSpPr>
            <a:spLocks noGrp="1"/>
          </p:cNvSpPr>
          <p:nvPr>
            <p:ph type="sldNum" sz="quarter" idx="12"/>
          </p:nvPr>
        </p:nvSpPr>
        <p:spPr/>
        <p:txBody>
          <a:bodyPr/>
          <a:lstStyle/>
          <a:p>
            <a:fld id="{7BE74CFF-2C60-4519-94DA-E8FC82378F73}" type="slidenum">
              <a:rPr lang="en-GB" smtClean="0"/>
              <a:pPr/>
              <a:t>5</a:t>
            </a:fld>
            <a:endParaRPr lang="en-GB"/>
          </a:p>
        </p:txBody>
      </p:sp>
      <p:sp>
        <p:nvSpPr>
          <p:cNvPr id="10" name="Plassholder for innhold 9">
            <a:extLst>
              <a:ext uri="{FF2B5EF4-FFF2-40B4-BE49-F238E27FC236}">
                <a16:creationId xmlns:a16="http://schemas.microsoft.com/office/drawing/2014/main" id="{6D1B5CF0-1773-4E94-8518-0639AE7A1975}"/>
              </a:ext>
            </a:extLst>
          </p:cNvPr>
          <p:cNvSpPr>
            <a:spLocks noGrp="1"/>
          </p:cNvSpPr>
          <p:nvPr>
            <p:ph idx="1"/>
          </p:nvPr>
        </p:nvSpPr>
        <p:spPr>
          <a:xfrm>
            <a:off x="355958" y="945554"/>
            <a:ext cx="7371992" cy="3762967"/>
          </a:xfrm>
        </p:spPr>
        <p:txBody>
          <a:bodyPr>
            <a:normAutofit/>
          </a:bodyPr>
          <a:lstStyle/>
          <a:p>
            <a:pPr marL="0" indent="0">
              <a:buNone/>
            </a:pPr>
            <a:r>
              <a:rPr lang="en-GB" sz="1000" dirty="0"/>
              <a:t>Our most tailored fit – for the ultimate comfort experience.</a:t>
            </a:r>
          </a:p>
          <a:p>
            <a:pPr marL="0" indent="0">
              <a:buNone/>
            </a:pPr>
            <a:r>
              <a:rPr lang="en-GB" sz="1000" dirty="0"/>
              <a:t>Complete small, medium and large size story.</a:t>
            </a:r>
          </a:p>
          <a:p>
            <a:pPr marL="0" indent="0">
              <a:buNone/>
            </a:pPr>
            <a:r>
              <a:rPr lang="en-GB" sz="1000" dirty="0"/>
              <a:t>                     </a:t>
            </a:r>
          </a:p>
          <a:p>
            <a:pPr marL="0" indent="0">
              <a:buNone/>
            </a:pPr>
            <a:r>
              <a:rPr lang="en-GB" sz="1000" dirty="0"/>
              <a:t>                     </a:t>
            </a:r>
            <a:r>
              <a:rPr lang="en-GB" sz="800" dirty="0"/>
              <a:t> </a:t>
            </a:r>
            <a:r>
              <a:rPr lang="en-GB" sz="800" b="1" dirty="0"/>
              <a:t>MEASUREMENTS		        CUSTOM SEAT HEIGHT	                   TAILORED FUNCTIONS</a:t>
            </a:r>
            <a:endParaRPr lang="en-GB" sz="1000" b="1" dirty="0"/>
          </a:p>
          <a:p>
            <a:pPr marL="0" indent="0">
              <a:buNone/>
            </a:pPr>
            <a:endParaRPr lang="en-GB" sz="1000" dirty="0"/>
          </a:p>
          <a:p>
            <a:pPr marL="0" indent="0">
              <a:buNone/>
            </a:pPr>
            <a:endParaRPr lang="en-GB" sz="1000" dirty="0"/>
          </a:p>
          <a:p>
            <a:pPr marL="0" indent="0">
              <a:buNone/>
            </a:pPr>
            <a:endParaRPr lang="en-GB" sz="1000" dirty="0"/>
          </a:p>
          <a:p>
            <a:pPr marL="0" indent="0">
              <a:buNone/>
            </a:pPr>
            <a:endParaRPr lang="en-GB" sz="1000" dirty="0"/>
          </a:p>
          <a:p>
            <a:pPr marL="0" indent="0">
              <a:buNone/>
            </a:pPr>
            <a:endParaRPr lang="en-GB" sz="1000" dirty="0"/>
          </a:p>
          <a:p>
            <a:pPr marL="0" indent="0">
              <a:buNone/>
            </a:pPr>
            <a:endParaRPr lang="en-GB" sz="1000" dirty="0"/>
          </a:p>
          <a:p>
            <a:pPr marL="0" indent="0">
              <a:buNone/>
            </a:pPr>
            <a:endParaRPr lang="en-GB" sz="1000" dirty="0"/>
          </a:p>
          <a:p>
            <a:pPr marL="0" indent="0">
              <a:buNone/>
            </a:pPr>
            <a:endParaRPr lang="en-GB" sz="1000" dirty="0"/>
          </a:p>
          <a:p>
            <a:pPr marL="0" indent="0">
              <a:buNone/>
            </a:pPr>
            <a:endParaRPr lang="en-GB" sz="1000" dirty="0"/>
          </a:p>
          <a:p>
            <a:pPr marL="0" indent="0">
              <a:buNone/>
            </a:pPr>
            <a:r>
              <a:rPr lang="en-GB" sz="1000" dirty="0"/>
              <a:t>			Custom seat height on (S)(M)(L)</a:t>
            </a:r>
          </a:p>
          <a:p>
            <a:pPr marL="0" indent="0">
              <a:buNone/>
            </a:pPr>
            <a:r>
              <a:rPr lang="en-GB" sz="1000" dirty="0"/>
              <a:t>			Available in small, medium, </a:t>
            </a:r>
          </a:p>
          <a:p>
            <a:pPr marL="0" indent="0">
              <a:buNone/>
            </a:pPr>
            <a:r>
              <a:rPr lang="en-GB" sz="1000" dirty="0"/>
              <a:t>			large and XL seat height. </a:t>
            </a:r>
          </a:p>
        </p:txBody>
      </p:sp>
      <p:pic>
        <p:nvPicPr>
          <p:cNvPr id="3" name="Bilde 2" descr="Et bilde som inneholder innendørs, møbler, sete, bord&#10;&#10;Automatisk generert beskrivelse">
            <a:extLst>
              <a:ext uri="{FF2B5EF4-FFF2-40B4-BE49-F238E27FC236}">
                <a16:creationId xmlns:a16="http://schemas.microsoft.com/office/drawing/2014/main" id="{43E446E2-CB00-41E6-A721-4DC8438A48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3991" y="1575128"/>
            <a:ext cx="2297822" cy="3133393"/>
          </a:xfrm>
          <a:prstGeom prst="rect">
            <a:avLst/>
          </a:prstGeom>
        </p:spPr>
      </p:pic>
      <p:cxnSp>
        <p:nvCxnSpPr>
          <p:cNvPr id="9" name="Rett linje 8">
            <a:extLst>
              <a:ext uri="{FF2B5EF4-FFF2-40B4-BE49-F238E27FC236}">
                <a16:creationId xmlns:a16="http://schemas.microsoft.com/office/drawing/2014/main" id="{D47CEA35-6CF1-4A31-89EE-9D883ECEC39C}"/>
              </a:ext>
            </a:extLst>
          </p:cNvPr>
          <p:cNvCxnSpPr>
            <a:cxnSpLocks/>
          </p:cNvCxnSpPr>
          <p:nvPr/>
        </p:nvCxnSpPr>
        <p:spPr>
          <a:xfrm flipV="1">
            <a:off x="6299620" y="2301410"/>
            <a:ext cx="366283" cy="4765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Rett linje 13">
            <a:extLst>
              <a:ext uri="{FF2B5EF4-FFF2-40B4-BE49-F238E27FC236}">
                <a16:creationId xmlns:a16="http://schemas.microsoft.com/office/drawing/2014/main" id="{D4A8E271-DA48-4D06-B44C-FEEE13D8C72D}"/>
              </a:ext>
            </a:extLst>
          </p:cNvPr>
          <p:cNvCxnSpPr>
            <a:cxnSpLocks/>
          </p:cNvCxnSpPr>
          <p:nvPr/>
        </p:nvCxnSpPr>
        <p:spPr>
          <a:xfrm flipV="1">
            <a:off x="6420849" y="3141824"/>
            <a:ext cx="366283" cy="4765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Rett linje 14">
            <a:extLst>
              <a:ext uri="{FF2B5EF4-FFF2-40B4-BE49-F238E27FC236}">
                <a16:creationId xmlns:a16="http://schemas.microsoft.com/office/drawing/2014/main" id="{BB1784E4-E472-47F4-8275-757A8F758C9C}"/>
              </a:ext>
            </a:extLst>
          </p:cNvPr>
          <p:cNvCxnSpPr>
            <a:cxnSpLocks/>
          </p:cNvCxnSpPr>
          <p:nvPr/>
        </p:nvCxnSpPr>
        <p:spPr>
          <a:xfrm flipV="1">
            <a:off x="6482762" y="3412597"/>
            <a:ext cx="366283" cy="4765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Rett linje 16">
            <a:extLst>
              <a:ext uri="{FF2B5EF4-FFF2-40B4-BE49-F238E27FC236}">
                <a16:creationId xmlns:a16="http://schemas.microsoft.com/office/drawing/2014/main" id="{8B22DC0B-00C3-4ED2-9598-C5616553CFD3}"/>
              </a:ext>
            </a:extLst>
          </p:cNvPr>
          <p:cNvCxnSpPr/>
          <p:nvPr/>
        </p:nvCxnSpPr>
        <p:spPr>
          <a:xfrm>
            <a:off x="6482762" y="2187871"/>
            <a:ext cx="183141" cy="1328737"/>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Rett linje 17">
            <a:extLst>
              <a:ext uri="{FF2B5EF4-FFF2-40B4-BE49-F238E27FC236}">
                <a16:creationId xmlns:a16="http://schemas.microsoft.com/office/drawing/2014/main" id="{13F46794-80E5-4C6F-8AD0-518D6CD32DFB}"/>
              </a:ext>
            </a:extLst>
          </p:cNvPr>
          <p:cNvCxnSpPr>
            <a:cxnSpLocks/>
          </p:cNvCxnSpPr>
          <p:nvPr/>
        </p:nvCxnSpPr>
        <p:spPr>
          <a:xfrm flipH="1">
            <a:off x="6454109" y="2259112"/>
            <a:ext cx="91571" cy="10877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Rett linje 20">
            <a:extLst>
              <a:ext uri="{FF2B5EF4-FFF2-40B4-BE49-F238E27FC236}">
                <a16:creationId xmlns:a16="http://schemas.microsoft.com/office/drawing/2014/main" id="{1FB89FC2-5AB7-4E0E-9C9C-2900F975764C}"/>
              </a:ext>
            </a:extLst>
          </p:cNvPr>
          <p:cNvCxnSpPr>
            <a:cxnSpLocks/>
          </p:cNvCxnSpPr>
          <p:nvPr/>
        </p:nvCxnSpPr>
        <p:spPr>
          <a:xfrm flipH="1">
            <a:off x="6574332" y="3111263"/>
            <a:ext cx="91571" cy="10877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Rett linje 21">
            <a:extLst>
              <a:ext uri="{FF2B5EF4-FFF2-40B4-BE49-F238E27FC236}">
                <a16:creationId xmlns:a16="http://schemas.microsoft.com/office/drawing/2014/main" id="{A3774125-9FCF-4C5E-8A7C-D7F3ADC07BBD}"/>
              </a:ext>
            </a:extLst>
          </p:cNvPr>
          <p:cNvCxnSpPr>
            <a:cxnSpLocks/>
          </p:cNvCxnSpPr>
          <p:nvPr/>
        </p:nvCxnSpPr>
        <p:spPr>
          <a:xfrm flipH="1">
            <a:off x="6616979" y="3382036"/>
            <a:ext cx="91571" cy="10877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3" name="TekstSylinder 22">
            <a:extLst>
              <a:ext uri="{FF2B5EF4-FFF2-40B4-BE49-F238E27FC236}">
                <a16:creationId xmlns:a16="http://schemas.microsoft.com/office/drawing/2014/main" id="{E028FE65-CE73-4555-BBDD-EFD9504E0351}"/>
              </a:ext>
            </a:extLst>
          </p:cNvPr>
          <p:cNvSpPr txBox="1"/>
          <p:nvPr/>
        </p:nvSpPr>
        <p:spPr>
          <a:xfrm>
            <a:off x="5527686" y="2591557"/>
            <a:ext cx="912429" cy="446276"/>
          </a:xfrm>
          <a:prstGeom prst="rect">
            <a:avLst/>
          </a:prstGeom>
          <a:noFill/>
          <a:ln>
            <a:solidFill>
              <a:schemeClr val="bg1">
                <a:lumMod val="85000"/>
              </a:schemeClr>
            </a:solidFill>
          </a:ln>
        </p:spPr>
        <p:txBody>
          <a:bodyPr wrap="none" rtlCol="0">
            <a:spAutoFit/>
          </a:bodyPr>
          <a:lstStyle/>
          <a:p>
            <a:r>
              <a:rPr lang="nb-NO" sz="500" b="1" dirty="0"/>
              <a:t>NECK ROTATION POINT</a:t>
            </a:r>
            <a:endParaRPr lang="nb-NO" sz="600" b="1" dirty="0"/>
          </a:p>
          <a:p>
            <a:r>
              <a:rPr lang="nb-NO" sz="600" dirty="0"/>
              <a:t>Large        ~ +1 inch</a:t>
            </a:r>
          </a:p>
          <a:p>
            <a:r>
              <a:rPr lang="nb-NO" sz="600" dirty="0"/>
              <a:t>Medium	</a:t>
            </a:r>
          </a:p>
          <a:p>
            <a:r>
              <a:rPr lang="nb-NO" sz="600" dirty="0"/>
              <a:t>Small        ~ -1 inch</a:t>
            </a:r>
          </a:p>
        </p:txBody>
      </p:sp>
      <p:sp>
        <p:nvSpPr>
          <p:cNvPr id="24" name="TekstSylinder 23">
            <a:extLst>
              <a:ext uri="{FF2B5EF4-FFF2-40B4-BE49-F238E27FC236}">
                <a16:creationId xmlns:a16="http://schemas.microsoft.com/office/drawing/2014/main" id="{26A936B5-1752-412E-84A3-20CE7B0BF935}"/>
              </a:ext>
            </a:extLst>
          </p:cNvPr>
          <p:cNvSpPr txBox="1"/>
          <p:nvPr/>
        </p:nvSpPr>
        <p:spPr>
          <a:xfrm>
            <a:off x="5536870" y="3165650"/>
            <a:ext cx="869149" cy="353943"/>
          </a:xfrm>
          <a:prstGeom prst="rect">
            <a:avLst/>
          </a:prstGeom>
          <a:noFill/>
          <a:ln>
            <a:solidFill>
              <a:schemeClr val="bg1">
                <a:lumMod val="85000"/>
              </a:schemeClr>
            </a:solidFill>
          </a:ln>
        </p:spPr>
        <p:txBody>
          <a:bodyPr wrap="none" rtlCol="0">
            <a:spAutoFit/>
          </a:bodyPr>
          <a:lstStyle/>
          <a:p>
            <a:r>
              <a:rPr lang="nb-NO" sz="500" b="1" dirty="0"/>
              <a:t>LUMBAR SUPPORT</a:t>
            </a:r>
            <a:endParaRPr lang="nb-NO" sz="600" b="1" dirty="0"/>
          </a:p>
          <a:p>
            <a:r>
              <a:rPr lang="nb-NO" sz="600" dirty="0"/>
              <a:t>Large        ~ +1 inch</a:t>
            </a:r>
          </a:p>
          <a:p>
            <a:r>
              <a:rPr lang="nb-NO" sz="600" dirty="0"/>
              <a:t>Medium / Small</a:t>
            </a:r>
          </a:p>
        </p:txBody>
      </p:sp>
      <p:pic>
        <p:nvPicPr>
          <p:cNvPr id="25" name="Bilde 24">
            <a:extLst>
              <a:ext uri="{FF2B5EF4-FFF2-40B4-BE49-F238E27FC236}">
                <a16:creationId xmlns:a16="http://schemas.microsoft.com/office/drawing/2014/main" id="{8D56CB78-45CE-4C3B-B497-45ACEB75A61F}"/>
              </a:ext>
            </a:extLst>
          </p:cNvPr>
          <p:cNvPicPr>
            <a:picLocks noChangeAspect="1"/>
          </p:cNvPicPr>
          <p:nvPr/>
        </p:nvPicPr>
        <p:blipFill rotWithShape="1">
          <a:blip r:embed="rId3"/>
          <a:srcRect t="5371"/>
          <a:stretch/>
        </p:blipFill>
        <p:spPr>
          <a:xfrm>
            <a:off x="242187" y="1816099"/>
            <a:ext cx="2580817" cy="1977807"/>
          </a:xfrm>
          <a:prstGeom prst="rect">
            <a:avLst/>
          </a:prstGeom>
        </p:spPr>
      </p:pic>
      <p:pic>
        <p:nvPicPr>
          <p:cNvPr id="26" name="Bilde 25">
            <a:extLst>
              <a:ext uri="{FF2B5EF4-FFF2-40B4-BE49-F238E27FC236}">
                <a16:creationId xmlns:a16="http://schemas.microsoft.com/office/drawing/2014/main" id="{A5106C90-9C42-4F24-ACA0-7B3AAA0F2E92}"/>
              </a:ext>
            </a:extLst>
          </p:cNvPr>
          <p:cNvPicPr>
            <a:picLocks noChangeAspect="1"/>
          </p:cNvPicPr>
          <p:nvPr/>
        </p:nvPicPr>
        <p:blipFill>
          <a:blip r:embed="rId4"/>
          <a:stretch>
            <a:fillRect/>
          </a:stretch>
        </p:blipFill>
        <p:spPr>
          <a:xfrm>
            <a:off x="800354" y="3793907"/>
            <a:ext cx="1167931" cy="1249891"/>
          </a:xfrm>
          <a:prstGeom prst="rect">
            <a:avLst/>
          </a:prstGeom>
        </p:spPr>
      </p:pic>
      <p:pic>
        <p:nvPicPr>
          <p:cNvPr id="27" name="Bilde 26">
            <a:extLst>
              <a:ext uri="{FF2B5EF4-FFF2-40B4-BE49-F238E27FC236}">
                <a16:creationId xmlns:a16="http://schemas.microsoft.com/office/drawing/2014/main" id="{2ED6605F-5C0A-4600-8A99-82EBB059F773}"/>
              </a:ext>
            </a:extLst>
          </p:cNvPr>
          <p:cNvPicPr>
            <a:picLocks noChangeAspect="1"/>
          </p:cNvPicPr>
          <p:nvPr/>
        </p:nvPicPr>
        <p:blipFill>
          <a:blip r:embed="rId5"/>
          <a:stretch>
            <a:fillRect/>
          </a:stretch>
        </p:blipFill>
        <p:spPr>
          <a:xfrm>
            <a:off x="1817234" y="3869713"/>
            <a:ext cx="261151" cy="887914"/>
          </a:xfrm>
          <a:prstGeom prst="rect">
            <a:avLst/>
          </a:prstGeom>
        </p:spPr>
      </p:pic>
      <p:cxnSp>
        <p:nvCxnSpPr>
          <p:cNvPr id="29" name="Rett linje 28">
            <a:extLst>
              <a:ext uri="{FF2B5EF4-FFF2-40B4-BE49-F238E27FC236}">
                <a16:creationId xmlns:a16="http://schemas.microsoft.com/office/drawing/2014/main" id="{E9150681-A7DE-461E-B3A8-DE27BC689A78}"/>
              </a:ext>
            </a:extLst>
          </p:cNvPr>
          <p:cNvCxnSpPr>
            <a:cxnSpLocks/>
          </p:cNvCxnSpPr>
          <p:nvPr/>
        </p:nvCxnSpPr>
        <p:spPr>
          <a:xfrm>
            <a:off x="2971800" y="1703849"/>
            <a:ext cx="0" cy="3004672"/>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Rett linje 30">
            <a:extLst>
              <a:ext uri="{FF2B5EF4-FFF2-40B4-BE49-F238E27FC236}">
                <a16:creationId xmlns:a16="http://schemas.microsoft.com/office/drawing/2014/main" id="{7F80933F-89CF-4446-8D86-A5730C8F82AF}"/>
              </a:ext>
            </a:extLst>
          </p:cNvPr>
          <p:cNvCxnSpPr>
            <a:cxnSpLocks/>
          </p:cNvCxnSpPr>
          <p:nvPr/>
        </p:nvCxnSpPr>
        <p:spPr>
          <a:xfrm>
            <a:off x="4940300" y="1703849"/>
            <a:ext cx="0" cy="3004672"/>
          </a:xfrm>
          <a:prstGeom prst="line">
            <a:avLst/>
          </a:prstGeom>
        </p:spPr>
        <p:style>
          <a:lnRef idx="1">
            <a:schemeClr val="accent1"/>
          </a:lnRef>
          <a:fillRef idx="0">
            <a:schemeClr val="accent1"/>
          </a:fillRef>
          <a:effectRef idx="0">
            <a:schemeClr val="accent1"/>
          </a:effectRef>
          <a:fontRef idx="minor">
            <a:schemeClr val="tx1"/>
          </a:fontRef>
        </p:style>
      </p:cxnSp>
      <p:pic>
        <p:nvPicPr>
          <p:cNvPr id="32" name="Bilde 31">
            <a:extLst>
              <a:ext uri="{FF2B5EF4-FFF2-40B4-BE49-F238E27FC236}">
                <a16:creationId xmlns:a16="http://schemas.microsoft.com/office/drawing/2014/main" id="{6D4C38D0-A8CE-47FC-B3BC-CB2D3C76A2A8}"/>
              </a:ext>
            </a:extLst>
          </p:cNvPr>
          <p:cNvPicPr>
            <a:picLocks noChangeAspect="1"/>
          </p:cNvPicPr>
          <p:nvPr/>
        </p:nvPicPr>
        <p:blipFill>
          <a:blip r:embed="rId6"/>
          <a:stretch>
            <a:fillRect/>
          </a:stretch>
        </p:blipFill>
        <p:spPr>
          <a:xfrm>
            <a:off x="3168188" y="2014023"/>
            <a:ext cx="1515958" cy="1626028"/>
          </a:xfrm>
          <a:prstGeom prst="rect">
            <a:avLst/>
          </a:prstGeom>
        </p:spPr>
      </p:pic>
    </p:spTree>
    <p:extLst>
      <p:ext uri="{BB962C8B-B14F-4D97-AF65-F5344CB8AC3E}">
        <p14:creationId xmlns:p14="http://schemas.microsoft.com/office/powerpoint/2010/main" val="1607162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2D44FDC-C1C9-458B-A346-79ED4FB150F8}"/>
              </a:ext>
            </a:extLst>
          </p:cNvPr>
          <p:cNvSpPr>
            <a:spLocks noGrp="1"/>
          </p:cNvSpPr>
          <p:nvPr>
            <p:ph type="title"/>
          </p:nvPr>
        </p:nvSpPr>
        <p:spPr>
          <a:xfrm>
            <a:off x="432055" y="379643"/>
            <a:ext cx="8281035" cy="307777"/>
          </a:xfrm>
        </p:spPr>
        <p:txBody>
          <a:bodyPr/>
          <a:lstStyle/>
          <a:p>
            <a:r>
              <a:rPr lang="en-US" dirty="0"/>
              <a:t>Construction</a:t>
            </a:r>
          </a:p>
        </p:txBody>
      </p:sp>
      <p:sp>
        <p:nvSpPr>
          <p:cNvPr id="5" name="Plassholder for dato 4">
            <a:extLst>
              <a:ext uri="{FF2B5EF4-FFF2-40B4-BE49-F238E27FC236}">
                <a16:creationId xmlns:a16="http://schemas.microsoft.com/office/drawing/2014/main" id="{1E7EAA8A-421A-43EF-9AF6-48D5767CB9E1}"/>
              </a:ext>
            </a:extLst>
          </p:cNvPr>
          <p:cNvSpPr>
            <a:spLocks noGrp="1"/>
          </p:cNvSpPr>
          <p:nvPr>
            <p:ph type="dt" sz="half" idx="10"/>
          </p:nvPr>
        </p:nvSpPr>
        <p:spPr/>
        <p:txBody>
          <a:bodyPr/>
          <a:lstStyle/>
          <a:p>
            <a:fld id="{C39B8948-4766-4E42-BDE8-94B582EE4F23}" type="datetime1">
              <a:rPr lang="nb-NO" smtClean="0"/>
              <a:pPr/>
              <a:t>11.04.2021</a:t>
            </a:fld>
            <a:endParaRPr lang="en-GB"/>
          </a:p>
        </p:txBody>
      </p:sp>
      <p:sp>
        <p:nvSpPr>
          <p:cNvPr id="6" name="Plassholder for bunntekst 5">
            <a:extLst>
              <a:ext uri="{FF2B5EF4-FFF2-40B4-BE49-F238E27FC236}">
                <a16:creationId xmlns:a16="http://schemas.microsoft.com/office/drawing/2014/main" id="{10708DE1-F335-4402-9A54-5FFDA3D747F8}"/>
              </a:ext>
            </a:extLst>
          </p:cNvPr>
          <p:cNvSpPr>
            <a:spLocks noGrp="1"/>
          </p:cNvSpPr>
          <p:nvPr>
            <p:ph type="ftr" sz="quarter" idx="11"/>
          </p:nvPr>
        </p:nvSpPr>
        <p:spPr/>
        <p:txBody>
          <a:bodyPr/>
          <a:lstStyle/>
          <a:p>
            <a:r>
              <a:rPr lang="en-GB"/>
              <a:t>Footer</a:t>
            </a:r>
          </a:p>
        </p:txBody>
      </p:sp>
      <p:sp>
        <p:nvSpPr>
          <p:cNvPr id="7" name="Plassholder for lysbildenummer 6">
            <a:extLst>
              <a:ext uri="{FF2B5EF4-FFF2-40B4-BE49-F238E27FC236}">
                <a16:creationId xmlns:a16="http://schemas.microsoft.com/office/drawing/2014/main" id="{45F42EC0-0811-4D4F-8535-4C7FB7FF1117}"/>
              </a:ext>
            </a:extLst>
          </p:cNvPr>
          <p:cNvSpPr>
            <a:spLocks noGrp="1"/>
          </p:cNvSpPr>
          <p:nvPr>
            <p:ph type="sldNum" sz="quarter" idx="12"/>
          </p:nvPr>
        </p:nvSpPr>
        <p:spPr/>
        <p:txBody>
          <a:bodyPr/>
          <a:lstStyle/>
          <a:p>
            <a:fld id="{7BE74CFF-2C60-4519-94DA-E8FC82378F73}" type="slidenum">
              <a:rPr lang="en-GB" smtClean="0"/>
              <a:pPr/>
              <a:t>6</a:t>
            </a:fld>
            <a:endParaRPr lang="en-GB"/>
          </a:p>
        </p:txBody>
      </p:sp>
      <p:sp>
        <p:nvSpPr>
          <p:cNvPr id="10" name="Plassholder for innhold 9">
            <a:extLst>
              <a:ext uri="{FF2B5EF4-FFF2-40B4-BE49-F238E27FC236}">
                <a16:creationId xmlns:a16="http://schemas.microsoft.com/office/drawing/2014/main" id="{6D1B5CF0-1773-4E94-8518-0639AE7A1975}"/>
              </a:ext>
            </a:extLst>
          </p:cNvPr>
          <p:cNvSpPr>
            <a:spLocks noGrp="1"/>
          </p:cNvSpPr>
          <p:nvPr>
            <p:ph idx="1"/>
          </p:nvPr>
        </p:nvSpPr>
        <p:spPr>
          <a:xfrm>
            <a:off x="355958" y="945554"/>
            <a:ext cx="4734395" cy="3762967"/>
          </a:xfrm>
        </p:spPr>
        <p:txBody>
          <a:bodyPr>
            <a:normAutofit/>
          </a:bodyPr>
          <a:lstStyle/>
          <a:p>
            <a:pPr marL="0" indent="0">
              <a:buNone/>
            </a:pPr>
            <a:r>
              <a:rPr lang="en-GB" sz="1000" dirty="0"/>
              <a:t>Soft parts		Foam, fibre and leather</a:t>
            </a:r>
          </a:p>
          <a:p>
            <a:pPr marL="0" indent="0">
              <a:buNone/>
            </a:pPr>
            <a:r>
              <a:rPr lang="en-GB" sz="1000" dirty="0"/>
              <a:t>		Ekornes production</a:t>
            </a:r>
          </a:p>
          <a:p>
            <a:pPr marL="0" indent="0">
              <a:buNone/>
            </a:pPr>
            <a:r>
              <a:rPr lang="en-GB" sz="1000" dirty="0"/>
              <a:t>------------------------------------------------------------------------------	</a:t>
            </a:r>
          </a:p>
          <a:p>
            <a:pPr marL="0" indent="0">
              <a:buNone/>
            </a:pPr>
            <a:r>
              <a:rPr lang="en-GB" sz="1000" dirty="0"/>
              <a:t>Steel		Back and seat frame</a:t>
            </a:r>
          </a:p>
          <a:p>
            <a:pPr marL="0" indent="0">
              <a:buNone/>
            </a:pPr>
            <a:r>
              <a:rPr lang="en-GB" sz="1000" dirty="0"/>
              <a:t>		Ekornes production</a:t>
            </a:r>
          </a:p>
          <a:p>
            <a:pPr marL="0" indent="0">
              <a:buNone/>
            </a:pPr>
            <a:r>
              <a:rPr lang="en-GB" sz="1000" dirty="0"/>
              <a:t>------------------------------------------------------------------------------ </a:t>
            </a:r>
          </a:p>
          <a:p>
            <a:pPr marL="0" indent="0">
              <a:buNone/>
            </a:pPr>
            <a:r>
              <a:rPr lang="en-GB" sz="1000" dirty="0"/>
              <a:t>Wood		Plywood</a:t>
            </a:r>
          </a:p>
          <a:p>
            <a:pPr marL="0" indent="0">
              <a:buNone/>
            </a:pPr>
            <a:r>
              <a:rPr lang="en-GB" sz="1000" dirty="0"/>
              <a:t>		Solid beech (Max wood detail)</a:t>
            </a:r>
          </a:p>
          <a:p>
            <a:pPr marL="0" indent="0">
              <a:buNone/>
            </a:pPr>
            <a:r>
              <a:rPr lang="en-GB" sz="1000" dirty="0"/>
              <a:t>		Ekornes production</a:t>
            </a:r>
          </a:p>
          <a:p>
            <a:pPr marL="0" indent="0">
              <a:buNone/>
            </a:pPr>
            <a:r>
              <a:rPr lang="en-GB" sz="1000" dirty="0"/>
              <a:t>------------------------------------------------------------------------------ </a:t>
            </a:r>
          </a:p>
          <a:p>
            <a:pPr marL="0" indent="0">
              <a:buNone/>
            </a:pPr>
            <a:r>
              <a:rPr lang="en-GB" sz="1000" dirty="0"/>
              <a:t>Mechanism 		Developed with Leggett &amp; Platt / Kintec</a:t>
            </a:r>
          </a:p>
          <a:p>
            <a:pPr marL="0" indent="0">
              <a:buNone/>
            </a:pPr>
            <a:r>
              <a:rPr lang="en-GB" sz="1000" dirty="0"/>
              <a:t>------------------------------------------------------------------------------ </a:t>
            </a:r>
          </a:p>
          <a:p>
            <a:pPr marL="0" indent="0">
              <a:buNone/>
            </a:pPr>
            <a:r>
              <a:rPr lang="en-GB" sz="1000" dirty="0"/>
              <a:t>Electronic components	Motors, control box, batteries and control panel </a:t>
            </a:r>
          </a:p>
          <a:p>
            <a:pPr marL="0" indent="0">
              <a:buNone/>
            </a:pPr>
            <a:r>
              <a:rPr lang="en-GB" sz="1000" dirty="0"/>
              <a:t>		Supplier, Kintec</a:t>
            </a:r>
          </a:p>
          <a:p>
            <a:pPr marL="0" indent="0">
              <a:buNone/>
            </a:pPr>
            <a:r>
              <a:rPr lang="en-GB" sz="1000" dirty="0"/>
              <a:t>------------------------------------------------------------------------------ </a:t>
            </a:r>
          </a:p>
          <a:p>
            <a:pPr marL="0" indent="0">
              <a:buNone/>
            </a:pPr>
            <a:r>
              <a:rPr lang="en-GB" sz="1000" dirty="0"/>
              <a:t>Base		Wood – Ekornes production</a:t>
            </a:r>
          </a:p>
          <a:p>
            <a:pPr marL="0" indent="0">
              <a:buNone/>
            </a:pPr>
            <a:r>
              <a:rPr lang="en-GB" sz="1000" dirty="0"/>
              <a:t>		Steel – Supplier, Kintec</a:t>
            </a:r>
          </a:p>
        </p:txBody>
      </p:sp>
      <p:pic>
        <p:nvPicPr>
          <p:cNvPr id="3" name="Bilde 2" descr="Et bilde som inneholder innendørs, møbler, sete, bord&#10;&#10;Automatisk generert beskrivelse">
            <a:extLst>
              <a:ext uri="{FF2B5EF4-FFF2-40B4-BE49-F238E27FC236}">
                <a16:creationId xmlns:a16="http://schemas.microsoft.com/office/drawing/2014/main" id="{43E446E2-CB00-41E6-A721-4DC8438A48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72074" y="402410"/>
            <a:ext cx="3157815" cy="4306111"/>
          </a:xfrm>
          <a:prstGeom prst="rect">
            <a:avLst/>
          </a:prstGeom>
        </p:spPr>
      </p:pic>
    </p:spTree>
    <p:extLst>
      <p:ext uri="{BB962C8B-B14F-4D97-AF65-F5344CB8AC3E}">
        <p14:creationId xmlns:p14="http://schemas.microsoft.com/office/powerpoint/2010/main" val="7074962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e 12">
            <a:extLst>
              <a:ext uri="{FF2B5EF4-FFF2-40B4-BE49-F238E27FC236}">
                <a16:creationId xmlns:a16="http://schemas.microsoft.com/office/drawing/2014/main" id="{50C30B64-047B-459D-B714-68D3CF1AF035}"/>
              </a:ext>
            </a:extLst>
          </p:cNvPr>
          <p:cNvPicPr>
            <a:picLocks noChangeAspect="1"/>
          </p:cNvPicPr>
          <p:nvPr/>
        </p:nvPicPr>
        <p:blipFill rotWithShape="1">
          <a:blip r:embed="rId6"/>
          <a:srcRect t="-1" b="665"/>
          <a:stretch/>
        </p:blipFill>
        <p:spPr>
          <a:xfrm>
            <a:off x="5430124" y="920092"/>
            <a:ext cx="3281819" cy="3650557"/>
          </a:xfrm>
          <a:prstGeom prst="rect">
            <a:avLst/>
          </a:prstGeom>
        </p:spPr>
      </p:pic>
      <p:graphicFrame>
        <p:nvGraphicFramePr>
          <p:cNvPr id="9" name="Object 8" hidden="1">
            <a:extLst>
              <a:ext uri="{FF2B5EF4-FFF2-40B4-BE49-F238E27FC236}">
                <a16:creationId xmlns:a16="http://schemas.microsoft.com/office/drawing/2014/main" id="{119BBEBF-544D-4EEC-8BA4-405A52D48752}"/>
              </a:ext>
            </a:extLst>
          </p:cNvPr>
          <p:cNvGraphicFramePr>
            <a:graphicFrameLocks noChangeAspect="1"/>
          </p:cNvGraphicFramePr>
          <p:nvPr>
            <p:custDataLst>
              <p:tags r:id="rId2"/>
            </p:custDataLst>
            <p:extLst>
              <p:ext uri="{D42A27DB-BD31-4B8C-83A1-F6EECF244321}">
                <p14:modId xmlns:p14="http://schemas.microsoft.com/office/powerpoint/2010/main" val="1430795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3" name="think-cell Slide" r:id="rId7" imgW="353" imgH="353" progId="TCLayout.ActiveDocument.1">
                  <p:embed/>
                </p:oleObj>
              </mc:Choice>
              <mc:Fallback>
                <p:oleObj name="think-cell Slide" r:id="rId7" imgW="353" imgH="353" progId="TCLayout.ActiveDocument.1">
                  <p:embed/>
                  <p:pic>
                    <p:nvPicPr>
                      <p:cNvPr id="9" name="Object 8" hidden="1">
                        <a:extLst>
                          <a:ext uri="{FF2B5EF4-FFF2-40B4-BE49-F238E27FC236}">
                            <a16:creationId xmlns:a16="http://schemas.microsoft.com/office/drawing/2014/main" id="{119BBEBF-544D-4EEC-8BA4-405A52D4875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57A43C8-B701-460B-BEE5-5BC7599717F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b="1">
              <a:latin typeface="Lato Regular"/>
              <a:ea typeface="+mj-ea"/>
              <a:cs typeface="+mj-cs"/>
              <a:sym typeface="Lato Regular"/>
            </a:endParaRPr>
          </a:p>
        </p:txBody>
      </p:sp>
      <p:sp>
        <p:nvSpPr>
          <p:cNvPr id="3" name="Tittel 2">
            <a:extLst>
              <a:ext uri="{FF2B5EF4-FFF2-40B4-BE49-F238E27FC236}">
                <a16:creationId xmlns:a16="http://schemas.microsoft.com/office/drawing/2014/main" id="{80BDEA9D-71BD-4F11-AEB5-1A975A1E0426}"/>
              </a:ext>
            </a:extLst>
          </p:cNvPr>
          <p:cNvSpPr>
            <a:spLocks noGrp="1"/>
          </p:cNvSpPr>
          <p:nvPr>
            <p:ph type="title"/>
          </p:nvPr>
        </p:nvSpPr>
        <p:spPr/>
        <p:txBody>
          <a:bodyPr/>
          <a:lstStyle/>
          <a:p>
            <a:r>
              <a:rPr lang="en-US" dirty="0"/>
              <a:t>functionality &amp; control panel</a:t>
            </a:r>
          </a:p>
        </p:txBody>
      </p:sp>
      <p:sp>
        <p:nvSpPr>
          <p:cNvPr id="4" name="Plassholder for dato 3">
            <a:extLst>
              <a:ext uri="{FF2B5EF4-FFF2-40B4-BE49-F238E27FC236}">
                <a16:creationId xmlns:a16="http://schemas.microsoft.com/office/drawing/2014/main" id="{784B5BDB-B176-497E-B758-48083AFF0A5F}"/>
              </a:ext>
            </a:extLst>
          </p:cNvPr>
          <p:cNvSpPr>
            <a:spLocks noGrp="1"/>
          </p:cNvSpPr>
          <p:nvPr>
            <p:ph type="dt" sz="half" idx="1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58970512-AFCF-461A-ACB5-D6A6EB013EA8}" type="datetime1">
              <a:rPr kumimoji="0" lang="en-US" sz="500" b="0" i="0" u="none" strike="noStrike" kern="1200" cap="none" spc="0" normalizeH="0" baseline="0" noProof="0" smtClean="0">
                <a:ln>
                  <a:noFill/>
                </a:ln>
                <a:solidFill>
                  <a:srgbClr val="000000"/>
                </a:solidFill>
                <a:effectLst/>
                <a:uLnTx/>
                <a:uFillTx/>
                <a:latin typeface="Lato Regular"/>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11/21</a:t>
            </a:fld>
            <a:endParaRPr kumimoji="0" lang="en-US" sz="500" b="0" i="0" u="none" strike="noStrike" kern="1200" cap="none" spc="0" normalizeH="0" baseline="0" noProof="0">
              <a:ln>
                <a:noFill/>
              </a:ln>
              <a:solidFill>
                <a:srgbClr val="000000"/>
              </a:solidFill>
              <a:effectLst/>
              <a:uLnTx/>
              <a:uFillTx/>
              <a:latin typeface="Lato Regular"/>
              <a:ea typeface="+mn-ea"/>
              <a:cs typeface="+mn-cs"/>
            </a:endParaRPr>
          </a:p>
        </p:txBody>
      </p:sp>
      <p:sp>
        <p:nvSpPr>
          <p:cNvPr id="5" name="Plassholder for bunntekst 4">
            <a:extLst>
              <a:ext uri="{FF2B5EF4-FFF2-40B4-BE49-F238E27FC236}">
                <a16:creationId xmlns:a16="http://schemas.microsoft.com/office/drawing/2014/main" id="{B6A093F4-AB30-4A1E-ACA5-61B16A44AB6A}"/>
              </a:ext>
            </a:extLst>
          </p:cNvPr>
          <p:cNvSpPr>
            <a:spLocks noGrp="1"/>
          </p:cNvSpPr>
          <p:nvPr>
            <p:ph type="ftr" sz="quarter" idx="15"/>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Lato Regular"/>
                <a:ea typeface="+mn-ea"/>
                <a:cs typeface="+mn-cs"/>
              </a:rPr>
              <a:t>/  Footer</a:t>
            </a:r>
          </a:p>
        </p:txBody>
      </p:sp>
      <p:sp>
        <p:nvSpPr>
          <p:cNvPr id="6" name="Plassholder for lysbildenummer 5">
            <a:extLst>
              <a:ext uri="{FF2B5EF4-FFF2-40B4-BE49-F238E27FC236}">
                <a16:creationId xmlns:a16="http://schemas.microsoft.com/office/drawing/2014/main" id="{F4CCC6F6-2E0F-47E6-BFB0-CBC6E03C66FE}"/>
              </a:ext>
            </a:extLst>
          </p:cNvPr>
          <p:cNvSpPr>
            <a:spLocks noGrp="1"/>
          </p:cNvSpPr>
          <p:nvPr>
            <p:ph type="sldNum" sz="quarter" idx="16"/>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BE74CFF-2C60-4519-94DA-E8FC82378F73}" type="slidenum">
              <a:rPr kumimoji="0" lang="en-US" sz="500" b="0" i="0" u="none" strike="noStrike" kern="1200" cap="none" spc="0" normalizeH="0" baseline="0" noProof="0" smtClean="0">
                <a:ln>
                  <a:noFill/>
                </a:ln>
                <a:solidFill>
                  <a:srgbClr val="000000"/>
                </a:solidFill>
                <a:effectLst/>
                <a:uLnTx/>
                <a:uFillTx/>
                <a:latin typeface="Lato Regular"/>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US" sz="500" b="0" i="0" u="none" strike="noStrike" kern="1200" cap="none" spc="0" normalizeH="0" baseline="0" noProof="0">
              <a:ln>
                <a:noFill/>
              </a:ln>
              <a:solidFill>
                <a:srgbClr val="000000"/>
              </a:solidFill>
              <a:effectLst/>
              <a:uLnTx/>
              <a:uFillTx/>
              <a:latin typeface="Lato Regular"/>
              <a:ea typeface="+mn-ea"/>
              <a:cs typeface="+mn-cs"/>
            </a:endParaRPr>
          </a:p>
        </p:txBody>
      </p:sp>
      <p:sp>
        <p:nvSpPr>
          <p:cNvPr id="7" name="Plassholder for innhold 6">
            <a:extLst>
              <a:ext uri="{FF2B5EF4-FFF2-40B4-BE49-F238E27FC236}">
                <a16:creationId xmlns:a16="http://schemas.microsoft.com/office/drawing/2014/main" id="{F140D386-C8C2-486F-9228-AC4ED36F2B31}"/>
              </a:ext>
            </a:extLst>
          </p:cNvPr>
          <p:cNvSpPr>
            <a:spLocks noGrp="1"/>
          </p:cNvSpPr>
          <p:nvPr>
            <p:ph idx="17"/>
          </p:nvPr>
        </p:nvSpPr>
        <p:spPr>
          <a:xfrm>
            <a:off x="432054" y="1410121"/>
            <a:ext cx="5270941" cy="3744000"/>
          </a:xfrm>
        </p:spPr>
        <p:txBody>
          <a:bodyPr vert="horz" lIns="0" tIns="0" rIns="0" bIns="0" rtlCol="0" anchor="t">
            <a:normAutofit/>
          </a:bodyPr>
          <a:lstStyle/>
          <a:p>
            <a:pPr marL="0" indent="0">
              <a:buNone/>
            </a:pPr>
            <a:r>
              <a:rPr lang="en-US" sz="1200" dirty="0"/>
              <a:t>Mike &amp; Max functionality</a:t>
            </a:r>
          </a:p>
          <a:p>
            <a:pPr marL="179705" indent="-179705"/>
            <a:r>
              <a:rPr lang="en-US" sz="1200" dirty="0"/>
              <a:t>Individual adjustable footrest</a:t>
            </a:r>
          </a:p>
          <a:p>
            <a:pPr marL="179705" indent="-179705"/>
            <a:r>
              <a:rPr lang="en-US" sz="1200" dirty="0"/>
              <a:t>Individual adjustable backrest with new updated </a:t>
            </a:r>
            <a:r>
              <a:rPr lang="nb-NO" sz="1200" dirty="0"/>
              <a:t>Plus™-system</a:t>
            </a:r>
          </a:p>
          <a:p>
            <a:pPr marL="649505" lvl="1" indent="-179705"/>
            <a:r>
              <a:rPr lang="nb-NO" sz="1200" dirty="0" err="1"/>
              <a:t>Synchronized</a:t>
            </a:r>
            <a:r>
              <a:rPr lang="nb-NO" sz="1200" dirty="0"/>
              <a:t> </a:t>
            </a:r>
            <a:r>
              <a:rPr lang="nb-NO" sz="1200" dirty="0" err="1"/>
              <a:t>movement</a:t>
            </a:r>
            <a:r>
              <a:rPr lang="nb-NO" sz="1200" dirty="0"/>
              <a:t> </a:t>
            </a:r>
            <a:r>
              <a:rPr lang="nb-NO" sz="1200" dirty="0" err="1"/>
              <a:t>of</a:t>
            </a:r>
            <a:r>
              <a:rPr lang="nb-NO" sz="1200" dirty="0"/>
              <a:t> back, </a:t>
            </a:r>
            <a:r>
              <a:rPr lang="nb-NO" sz="1200" dirty="0" err="1"/>
              <a:t>lumbar</a:t>
            </a:r>
            <a:r>
              <a:rPr lang="nb-NO" sz="1200" dirty="0"/>
              <a:t>, </a:t>
            </a:r>
            <a:r>
              <a:rPr lang="nb-NO" sz="1200" dirty="0" err="1"/>
              <a:t>headrest</a:t>
            </a:r>
            <a:r>
              <a:rPr lang="nb-NO" sz="1200" dirty="0"/>
              <a:t> and </a:t>
            </a:r>
            <a:r>
              <a:rPr lang="nb-NO" sz="1200" dirty="0" err="1"/>
              <a:t>footrest</a:t>
            </a:r>
            <a:r>
              <a:rPr lang="nb-NO" sz="1200" dirty="0"/>
              <a:t> in </a:t>
            </a:r>
            <a:r>
              <a:rPr lang="nb-NO" sz="1200" dirty="0" err="1"/>
              <a:t>one</a:t>
            </a:r>
            <a:r>
              <a:rPr lang="nb-NO" sz="1200" dirty="0"/>
              <a:t> </a:t>
            </a:r>
            <a:r>
              <a:rPr lang="nb-NO" sz="1200" dirty="0" err="1"/>
              <a:t>button</a:t>
            </a:r>
            <a:endParaRPr lang="en-US" sz="1200" dirty="0"/>
          </a:p>
          <a:p>
            <a:pPr marL="179705" indent="-179705"/>
            <a:r>
              <a:rPr lang="en-US" sz="1200" dirty="0">
                <a:solidFill>
                  <a:schemeClr val="tx1"/>
                </a:solidFill>
              </a:rPr>
              <a:t>Individual motorized headrest</a:t>
            </a:r>
          </a:p>
          <a:p>
            <a:pPr marL="179705" indent="-179705"/>
            <a:r>
              <a:rPr lang="en-US" sz="1200" dirty="0"/>
              <a:t>Home</a:t>
            </a:r>
          </a:p>
          <a:p>
            <a:pPr marL="0" indent="0">
              <a:buNone/>
            </a:pPr>
            <a:endParaRPr lang="en-US" sz="1200" i="1" dirty="0">
              <a:solidFill>
                <a:schemeClr val="accent2"/>
              </a:solidFill>
            </a:endParaRPr>
          </a:p>
          <a:p>
            <a:pPr marL="0" indent="0">
              <a:buNone/>
            </a:pPr>
            <a:endParaRPr lang="en-US" sz="1200" dirty="0"/>
          </a:p>
          <a:p>
            <a:pPr marL="0" indent="0">
              <a:buNone/>
            </a:pPr>
            <a:endParaRPr lang="en-US" sz="1000" dirty="0"/>
          </a:p>
          <a:p>
            <a:pPr marL="179705" indent="-179705"/>
            <a:endParaRPr lang="en-US" sz="1000" dirty="0"/>
          </a:p>
        </p:txBody>
      </p:sp>
      <p:cxnSp>
        <p:nvCxnSpPr>
          <p:cNvPr id="16" name="Rett linje 15">
            <a:extLst>
              <a:ext uri="{FF2B5EF4-FFF2-40B4-BE49-F238E27FC236}">
                <a16:creationId xmlns:a16="http://schemas.microsoft.com/office/drawing/2014/main" id="{BD318E10-3E19-451D-90FE-24EE56494D4A}"/>
              </a:ext>
            </a:extLst>
          </p:cNvPr>
          <p:cNvCxnSpPr>
            <a:cxnSpLocks/>
          </p:cNvCxnSpPr>
          <p:nvPr/>
        </p:nvCxnSpPr>
        <p:spPr>
          <a:xfrm flipV="1">
            <a:off x="6297562" y="2857415"/>
            <a:ext cx="0" cy="1345638"/>
          </a:xfrm>
          <a:prstGeom prst="line">
            <a:avLst/>
          </a:prstGeom>
        </p:spPr>
        <p:style>
          <a:lnRef idx="3">
            <a:schemeClr val="accent6"/>
          </a:lnRef>
          <a:fillRef idx="0">
            <a:schemeClr val="accent6"/>
          </a:fillRef>
          <a:effectRef idx="2">
            <a:schemeClr val="accent6"/>
          </a:effectRef>
          <a:fontRef idx="minor">
            <a:schemeClr val="tx1"/>
          </a:fontRef>
        </p:style>
      </p:cxnSp>
      <p:cxnSp>
        <p:nvCxnSpPr>
          <p:cNvPr id="18" name="Rett pilkobling 17">
            <a:extLst>
              <a:ext uri="{FF2B5EF4-FFF2-40B4-BE49-F238E27FC236}">
                <a16:creationId xmlns:a16="http://schemas.microsoft.com/office/drawing/2014/main" id="{5A11A44F-8A8E-4056-AAEB-0FCA7B7AD18B}"/>
              </a:ext>
            </a:extLst>
          </p:cNvPr>
          <p:cNvCxnSpPr/>
          <p:nvPr/>
        </p:nvCxnSpPr>
        <p:spPr>
          <a:xfrm flipH="1">
            <a:off x="5486401" y="4208035"/>
            <a:ext cx="811161" cy="0"/>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pic>
        <p:nvPicPr>
          <p:cNvPr id="14" name="Bilde 13">
            <a:extLst>
              <a:ext uri="{FF2B5EF4-FFF2-40B4-BE49-F238E27FC236}">
                <a16:creationId xmlns:a16="http://schemas.microsoft.com/office/drawing/2014/main" id="{55EBFD38-2D0B-48BB-B7DE-6FAE46ECA75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76288" y="3473672"/>
            <a:ext cx="4647989" cy="1458761"/>
          </a:xfrm>
          <a:prstGeom prst="rect">
            <a:avLst/>
          </a:prstGeom>
        </p:spPr>
      </p:pic>
      <p:cxnSp>
        <p:nvCxnSpPr>
          <p:cNvPr id="10" name="Rett linje 9">
            <a:extLst>
              <a:ext uri="{FF2B5EF4-FFF2-40B4-BE49-F238E27FC236}">
                <a16:creationId xmlns:a16="http://schemas.microsoft.com/office/drawing/2014/main" id="{084B40B4-ACB5-4D37-9A8E-64B603B11723}"/>
              </a:ext>
            </a:extLst>
          </p:cNvPr>
          <p:cNvCxnSpPr>
            <a:cxnSpLocks/>
          </p:cNvCxnSpPr>
          <p:nvPr/>
        </p:nvCxnSpPr>
        <p:spPr>
          <a:xfrm flipV="1">
            <a:off x="3171825" y="4131469"/>
            <a:ext cx="138113" cy="71584"/>
          </a:xfrm>
          <a:prstGeom prst="line">
            <a:avLst/>
          </a:prstGeom>
        </p:spPr>
        <p:style>
          <a:lnRef idx="1">
            <a:schemeClr val="dk1"/>
          </a:lnRef>
          <a:fillRef idx="0">
            <a:schemeClr val="dk1"/>
          </a:fillRef>
          <a:effectRef idx="0">
            <a:schemeClr val="dk1"/>
          </a:effectRef>
          <a:fontRef idx="minor">
            <a:schemeClr val="tx1"/>
          </a:fontRef>
        </p:style>
      </p:cxnSp>
      <p:cxnSp>
        <p:nvCxnSpPr>
          <p:cNvPr id="15" name="Rett linje 14">
            <a:extLst>
              <a:ext uri="{FF2B5EF4-FFF2-40B4-BE49-F238E27FC236}">
                <a16:creationId xmlns:a16="http://schemas.microsoft.com/office/drawing/2014/main" id="{5990FB36-0B1A-4472-AE6B-70DC94D99A46}"/>
              </a:ext>
            </a:extLst>
          </p:cNvPr>
          <p:cNvCxnSpPr>
            <a:cxnSpLocks/>
          </p:cNvCxnSpPr>
          <p:nvPr/>
        </p:nvCxnSpPr>
        <p:spPr>
          <a:xfrm>
            <a:off x="3171825" y="4221956"/>
            <a:ext cx="138113" cy="54769"/>
          </a:xfrm>
          <a:prstGeom prst="line">
            <a:avLst/>
          </a:prstGeom>
        </p:spPr>
        <p:style>
          <a:lnRef idx="1">
            <a:schemeClr val="dk1"/>
          </a:lnRef>
          <a:fillRef idx="0">
            <a:schemeClr val="dk1"/>
          </a:fillRef>
          <a:effectRef idx="0">
            <a:schemeClr val="dk1"/>
          </a:effectRef>
          <a:fontRef idx="minor">
            <a:schemeClr val="tx1"/>
          </a:fontRef>
        </p:style>
      </p:cxnSp>
      <p:cxnSp>
        <p:nvCxnSpPr>
          <p:cNvPr id="21" name="Rett linje 20">
            <a:extLst>
              <a:ext uri="{FF2B5EF4-FFF2-40B4-BE49-F238E27FC236}">
                <a16:creationId xmlns:a16="http://schemas.microsoft.com/office/drawing/2014/main" id="{ACE92394-6EAB-4C19-94EF-3E80518A0A94}"/>
              </a:ext>
            </a:extLst>
          </p:cNvPr>
          <p:cNvCxnSpPr/>
          <p:nvPr/>
        </p:nvCxnSpPr>
        <p:spPr>
          <a:xfrm>
            <a:off x="1964531" y="4722019"/>
            <a:ext cx="0" cy="128587"/>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Rett linje 22">
            <a:extLst>
              <a:ext uri="{FF2B5EF4-FFF2-40B4-BE49-F238E27FC236}">
                <a16:creationId xmlns:a16="http://schemas.microsoft.com/office/drawing/2014/main" id="{E680861B-237E-49A6-902A-17DC49D9A42B}"/>
              </a:ext>
            </a:extLst>
          </p:cNvPr>
          <p:cNvCxnSpPr/>
          <p:nvPr/>
        </p:nvCxnSpPr>
        <p:spPr>
          <a:xfrm>
            <a:off x="3309938" y="4139950"/>
            <a:ext cx="0" cy="126206"/>
          </a:xfrm>
          <a:prstGeom prst="line">
            <a:avLst/>
          </a:prstGeom>
        </p:spPr>
        <p:style>
          <a:lnRef idx="1">
            <a:schemeClr val="dk1"/>
          </a:lnRef>
          <a:fillRef idx="0">
            <a:schemeClr val="dk1"/>
          </a:fillRef>
          <a:effectRef idx="0">
            <a:schemeClr val="dk1"/>
          </a:effectRef>
          <a:fontRef idx="minor">
            <a:schemeClr val="tx1"/>
          </a:fontRef>
        </p:style>
      </p:cxnSp>
      <p:pic>
        <p:nvPicPr>
          <p:cNvPr id="24" name="Bilde 23">
            <a:extLst>
              <a:ext uri="{FF2B5EF4-FFF2-40B4-BE49-F238E27FC236}">
                <a16:creationId xmlns:a16="http://schemas.microsoft.com/office/drawing/2014/main" id="{FF3A1567-C799-445E-9CD5-7DCD890853E3}"/>
              </a:ext>
            </a:extLst>
          </p:cNvPr>
          <p:cNvPicPr>
            <a:picLocks noChangeAspect="1"/>
          </p:cNvPicPr>
          <p:nvPr/>
        </p:nvPicPr>
        <p:blipFill rotWithShape="1">
          <a:blip r:embed="rId10"/>
          <a:srcRect l="35746" r="53483"/>
          <a:stretch/>
        </p:blipFill>
        <p:spPr>
          <a:xfrm>
            <a:off x="6705600" y="574439"/>
            <a:ext cx="1752592" cy="4086459"/>
          </a:xfrm>
          <a:prstGeom prst="rect">
            <a:avLst/>
          </a:prstGeom>
        </p:spPr>
      </p:pic>
      <p:cxnSp>
        <p:nvCxnSpPr>
          <p:cNvPr id="26" name="Rett linje 25">
            <a:extLst>
              <a:ext uri="{FF2B5EF4-FFF2-40B4-BE49-F238E27FC236}">
                <a16:creationId xmlns:a16="http://schemas.microsoft.com/office/drawing/2014/main" id="{8AE5D271-17C3-4929-BDB5-17279900E647}"/>
              </a:ext>
            </a:extLst>
          </p:cNvPr>
          <p:cNvCxnSpPr>
            <a:cxnSpLocks/>
          </p:cNvCxnSpPr>
          <p:nvPr/>
        </p:nvCxnSpPr>
        <p:spPr>
          <a:xfrm>
            <a:off x="6705600" y="1054100"/>
            <a:ext cx="0" cy="3148953"/>
          </a:xfrm>
          <a:prstGeom prst="line">
            <a:avLst/>
          </a:prstGeom>
          <a:ln w="28575">
            <a:solidFill>
              <a:schemeClr val="bg1">
                <a:lumMod val="6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914819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19BBEBF-544D-4EEC-8BA4-405A52D487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7" name="think-cell Slide" r:id="rId6" imgW="353" imgH="353" progId="TCLayout.ActiveDocument.1">
                  <p:embed/>
                </p:oleObj>
              </mc:Choice>
              <mc:Fallback>
                <p:oleObj name="think-cell Slide" r:id="rId6" imgW="353" imgH="353" progId="TCLayout.ActiveDocument.1">
                  <p:embed/>
                  <p:pic>
                    <p:nvPicPr>
                      <p:cNvPr id="9" name="Object 8" hidden="1">
                        <a:extLst>
                          <a:ext uri="{FF2B5EF4-FFF2-40B4-BE49-F238E27FC236}">
                            <a16:creationId xmlns:a16="http://schemas.microsoft.com/office/drawing/2014/main" id="{119BBEBF-544D-4EEC-8BA4-405A52D487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57A43C8-B701-460B-BEE5-5BC7599717F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b="1">
              <a:latin typeface="Lato Regular"/>
              <a:ea typeface="+mj-ea"/>
              <a:cs typeface="+mj-cs"/>
              <a:sym typeface="Lato Regular"/>
            </a:endParaRPr>
          </a:p>
        </p:txBody>
      </p:sp>
      <p:sp>
        <p:nvSpPr>
          <p:cNvPr id="3" name="Tittel 2">
            <a:extLst>
              <a:ext uri="{FF2B5EF4-FFF2-40B4-BE49-F238E27FC236}">
                <a16:creationId xmlns:a16="http://schemas.microsoft.com/office/drawing/2014/main" id="{80BDEA9D-71BD-4F11-AEB5-1A975A1E0426}"/>
              </a:ext>
            </a:extLst>
          </p:cNvPr>
          <p:cNvSpPr>
            <a:spLocks noGrp="1"/>
          </p:cNvSpPr>
          <p:nvPr>
            <p:ph type="title"/>
          </p:nvPr>
        </p:nvSpPr>
        <p:spPr/>
        <p:txBody>
          <a:bodyPr/>
          <a:lstStyle/>
          <a:p>
            <a:r>
              <a:rPr lang="en-US" dirty="0"/>
              <a:t>Electronics</a:t>
            </a:r>
          </a:p>
        </p:txBody>
      </p:sp>
      <p:sp>
        <p:nvSpPr>
          <p:cNvPr id="4" name="Plassholder for dato 3">
            <a:extLst>
              <a:ext uri="{FF2B5EF4-FFF2-40B4-BE49-F238E27FC236}">
                <a16:creationId xmlns:a16="http://schemas.microsoft.com/office/drawing/2014/main" id="{784B5BDB-B176-497E-B758-48083AFF0A5F}"/>
              </a:ext>
            </a:extLst>
          </p:cNvPr>
          <p:cNvSpPr>
            <a:spLocks noGrp="1"/>
          </p:cNvSpPr>
          <p:nvPr>
            <p:ph type="dt" sz="half" idx="1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58970512-AFCF-461A-ACB5-D6A6EB013EA8}" type="datetime1">
              <a:rPr kumimoji="0" lang="en-US" sz="500" b="0" i="0" u="none" strike="noStrike" kern="1200" cap="none" spc="0" normalizeH="0" baseline="0" noProof="0" smtClean="0">
                <a:ln>
                  <a:noFill/>
                </a:ln>
                <a:solidFill>
                  <a:srgbClr val="000000"/>
                </a:solidFill>
                <a:effectLst/>
                <a:uLnTx/>
                <a:uFillTx/>
                <a:latin typeface="Lato Regular"/>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11/21</a:t>
            </a:fld>
            <a:endParaRPr kumimoji="0" lang="en-US" sz="500" b="0" i="0" u="none" strike="noStrike" kern="1200" cap="none" spc="0" normalizeH="0" baseline="0" noProof="0">
              <a:ln>
                <a:noFill/>
              </a:ln>
              <a:solidFill>
                <a:srgbClr val="000000"/>
              </a:solidFill>
              <a:effectLst/>
              <a:uLnTx/>
              <a:uFillTx/>
              <a:latin typeface="Lato Regular"/>
              <a:ea typeface="+mn-ea"/>
              <a:cs typeface="+mn-cs"/>
            </a:endParaRPr>
          </a:p>
        </p:txBody>
      </p:sp>
      <p:sp>
        <p:nvSpPr>
          <p:cNvPr id="5" name="Plassholder for bunntekst 4">
            <a:extLst>
              <a:ext uri="{FF2B5EF4-FFF2-40B4-BE49-F238E27FC236}">
                <a16:creationId xmlns:a16="http://schemas.microsoft.com/office/drawing/2014/main" id="{B6A093F4-AB30-4A1E-ACA5-61B16A44AB6A}"/>
              </a:ext>
            </a:extLst>
          </p:cNvPr>
          <p:cNvSpPr>
            <a:spLocks noGrp="1"/>
          </p:cNvSpPr>
          <p:nvPr>
            <p:ph type="ftr" sz="quarter" idx="15"/>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000000"/>
                </a:solidFill>
                <a:effectLst/>
                <a:uLnTx/>
                <a:uFillTx/>
                <a:latin typeface="Lato Regular"/>
                <a:ea typeface="+mn-ea"/>
                <a:cs typeface="+mn-cs"/>
              </a:rPr>
              <a:t>/  Footer</a:t>
            </a:r>
          </a:p>
        </p:txBody>
      </p:sp>
      <p:sp>
        <p:nvSpPr>
          <p:cNvPr id="6" name="Plassholder for lysbildenummer 5">
            <a:extLst>
              <a:ext uri="{FF2B5EF4-FFF2-40B4-BE49-F238E27FC236}">
                <a16:creationId xmlns:a16="http://schemas.microsoft.com/office/drawing/2014/main" id="{F4CCC6F6-2E0F-47E6-BFB0-CBC6E03C66FE}"/>
              </a:ext>
            </a:extLst>
          </p:cNvPr>
          <p:cNvSpPr>
            <a:spLocks noGrp="1"/>
          </p:cNvSpPr>
          <p:nvPr>
            <p:ph type="sldNum" sz="quarter" idx="16"/>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BE74CFF-2C60-4519-94DA-E8FC82378F73}" type="slidenum">
              <a:rPr kumimoji="0" lang="en-US" sz="500" b="0" i="0" u="none" strike="noStrike" kern="1200" cap="none" spc="0" normalizeH="0" baseline="0" noProof="0" smtClean="0">
                <a:ln>
                  <a:noFill/>
                </a:ln>
                <a:solidFill>
                  <a:srgbClr val="000000"/>
                </a:solidFill>
                <a:effectLst/>
                <a:uLnTx/>
                <a:uFillTx/>
                <a:latin typeface="Lato Regular"/>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US" sz="500" b="0" i="0" u="none" strike="noStrike" kern="1200" cap="none" spc="0" normalizeH="0" baseline="0" noProof="0">
              <a:ln>
                <a:noFill/>
              </a:ln>
              <a:solidFill>
                <a:srgbClr val="000000"/>
              </a:solidFill>
              <a:effectLst/>
              <a:uLnTx/>
              <a:uFillTx/>
              <a:latin typeface="Lato Regular"/>
              <a:ea typeface="+mn-ea"/>
              <a:cs typeface="+mn-cs"/>
            </a:endParaRPr>
          </a:p>
        </p:txBody>
      </p:sp>
      <p:sp>
        <p:nvSpPr>
          <p:cNvPr id="7" name="Plassholder for innhold 6">
            <a:extLst>
              <a:ext uri="{FF2B5EF4-FFF2-40B4-BE49-F238E27FC236}">
                <a16:creationId xmlns:a16="http://schemas.microsoft.com/office/drawing/2014/main" id="{F140D386-C8C2-486F-9228-AC4ED36F2B31}"/>
              </a:ext>
            </a:extLst>
          </p:cNvPr>
          <p:cNvSpPr>
            <a:spLocks noGrp="1"/>
          </p:cNvSpPr>
          <p:nvPr>
            <p:ph idx="17"/>
          </p:nvPr>
        </p:nvSpPr>
        <p:spPr>
          <a:xfrm>
            <a:off x="432054" y="1410121"/>
            <a:ext cx="5270941" cy="3744000"/>
          </a:xfrm>
        </p:spPr>
        <p:txBody>
          <a:bodyPr vert="horz" lIns="0" tIns="0" rIns="0" bIns="0" rtlCol="0" anchor="t">
            <a:normAutofit/>
          </a:bodyPr>
          <a:lstStyle/>
          <a:p>
            <a:pPr marL="0" indent="0">
              <a:buNone/>
            </a:pPr>
            <a:endParaRPr lang="en-US" sz="1200" i="1" dirty="0">
              <a:solidFill>
                <a:schemeClr val="accent2"/>
              </a:solidFill>
            </a:endParaRPr>
          </a:p>
          <a:p>
            <a:pPr marL="0" indent="0">
              <a:buNone/>
            </a:pPr>
            <a:endParaRPr lang="en-US" sz="1200" dirty="0"/>
          </a:p>
          <a:p>
            <a:pPr marL="0" indent="0">
              <a:buNone/>
            </a:pPr>
            <a:endParaRPr lang="en-US" sz="1000" dirty="0"/>
          </a:p>
          <a:p>
            <a:pPr marL="179705" indent="-179705"/>
            <a:endParaRPr lang="en-US" sz="1000" dirty="0"/>
          </a:p>
        </p:txBody>
      </p:sp>
      <p:cxnSp>
        <p:nvCxnSpPr>
          <p:cNvPr id="21" name="Rett linje 20">
            <a:extLst>
              <a:ext uri="{FF2B5EF4-FFF2-40B4-BE49-F238E27FC236}">
                <a16:creationId xmlns:a16="http://schemas.microsoft.com/office/drawing/2014/main" id="{ACE92394-6EAB-4C19-94EF-3E80518A0A94}"/>
              </a:ext>
            </a:extLst>
          </p:cNvPr>
          <p:cNvCxnSpPr/>
          <p:nvPr/>
        </p:nvCxnSpPr>
        <p:spPr>
          <a:xfrm>
            <a:off x="1964531" y="4722019"/>
            <a:ext cx="0" cy="128587"/>
          </a:xfrm>
          <a:prstGeom prst="line">
            <a:avLst/>
          </a:prstGeom>
        </p:spPr>
        <p:style>
          <a:lnRef idx="1">
            <a:schemeClr val="accent1"/>
          </a:lnRef>
          <a:fillRef idx="0">
            <a:schemeClr val="accent1"/>
          </a:fillRef>
          <a:effectRef idx="0">
            <a:schemeClr val="accent1"/>
          </a:effectRef>
          <a:fontRef idx="minor">
            <a:schemeClr val="tx1"/>
          </a:fontRef>
        </p:style>
      </p:cxnSp>
      <p:pic>
        <p:nvPicPr>
          <p:cNvPr id="2" name="Bilde 1">
            <a:extLst>
              <a:ext uri="{FF2B5EF4-FFF2-40B4-BE49-F238E27FC236}">
                <a16:creationId xmlns:a16="http://schemas.microsoft.com/office/drawing/2014/main" id="{FECA301E-0761-4FFA-A3C6-5482E20E8FB7}"/>
              </a:ext>
            </a:extLst>
          </p:cNvPr>
          <p:cNvPicPr>
            <a:picLocks noChangeAspect="1"/>
          </p:cNvPicPr>
          <p:nvPr/>
        </p:nvPicPr>
        <p:blipFill>
          <a:blip r:embed="rId8"/>
          <a:stretch>
            <a:fillRect/>
          </a:stretch>
        </p:blipFill>
        <p:spPr>
          <a:xfrm>
            <a:off x="3441001" y="2325692"/>
            <a:ext cx="5270942" cy="2505452"/>
          </a:xfrm>
          <a:prstGeom prst="rect">
            <a:avLst/>
          </a:prstGeom>
        </p:spPr>
      </p:pic>
      <p:sp>
        <p:nvSpPr>
          <p:cNvPr id="20" name="Plassholder for innhold 6">
            <a:extLst>
              <a:ext uri="{FF2B5EF4-FFF2-40B4-BE49-F238E27FC236}">
                <a16:creationId xmlns:a16="http://schemas.microsoft.com/office/drawing/2014/main" id="{63CA62AD-5A7C-4C6E-AF7B-C0D69C67DCA0}"/>
              </a:ext>
            </a:extLst>
          </p:cNvPr>
          <p:cNvSpPr txBox="1">
            <a:spLocks/>
          </p:cNvSpPr>
          <p:nvPr/>
        </p:nvSpPr>
        <p:spPr>
          <a:xfrm>
            <a:off x="328854" y="1347066"/>
            <a:ext cx="5270941" cy="3744000"/>
          </a:xfrm>
          <a:prstGeom prst="rect">
            <a:avLst/>
          </a:prstGeom>
        </p:spPr>
        <p:txBody>
          <a:bodyPr vert="horz" lIns="0" tIns="0" rIns="0" bIns="0" rtlCol="0" anchor="t">
            <a:normAutofit/>
          </a:bodyPr>
          <a:lstStyle>
            <a:lvl1pPr marL="180000" indent="-180000" algn="l" defTabSz="914400" rtl="0" eaLnBrk="1" latinLnBrk="0" hangingPunct="1">
              <a:lnSpc>
                <a:spcPct val="114000"/>
              </a:lnSpc>
              <a:spcBef>
                <a:spcPts val="400"/>
              </a:spcBef>
              <a:buFont typeface="Arial" panose="020B0604020202020204" pitchFamily="34" charset="0"/>
              <a:buChar char="•"/>
              <a:defRPr sz="1600" kern="1200">
                <a:solidFill>
                  <a:schemeClr val="dk2"/>
                </a:solidFill>
                <a:latin typeface="+mn-lt"/>
                <a:ea typeface="+mn-ea"/>
                <a:cs typeface="+mn-cs"/>
              </a:defRPr>
            </a:lvl1pPr>
            <a:lvl2pPr marL="649800" indent="-180000" algn="l" defTabSz="914400" rtl="0" eaLnBrk="1" latinLnBrk="0" hangingPunct="1">
              <a:lnSpc>
                <a:spcPct val="114000"/>
              </a:lnSpc>
              <a:spcBef>
                <a:spcPts val="400"/>
              </a:spcBef>
              <a:buFont typeface="Arial" panose="020B0604020202020204" pitchFamily="34" charset="0"/>
              <a:buChar char="•"/>
              <a:defRPr sz="1600" kern="1200">
                <a:solidFill>
                  <a:schemeClr val="dk2"/>
                </a:solidFill>
                <a:latin typeface="+mn-lt"/>
                <a:ea typeface="+mn-ea"/>
                <a:cs typeface="+mn-cs"/>
              </a:defRPr>
            </a:lvl2pPr>
            <a:lvl3pPr marL="1143000" indent="-216000" algn="l" defTabSz="914400" rtl="0" eaLnBrk="1" latinLnBrk="0" hangingPunct="1">
              <a:lnSpc>
                <a:spcPct val="114000"/>
              </a:lnSpc>
              <a:spcBef>
                <a:spcPts val="400"/>
              </a:spcBef>
              <a:buFont typeface="Arial" panose="020B0604020202020204" pitchFamily="34" charset="0"/>
              <a:buChar char="•"/>
              <a:defRPr sz="1600" kern="1200">
                <a:solidFill>
                  <a:schemeClr val="dk2"/>
                </a:solidFill>
                <a:latin typeface="+mn-lt"/>
                <a:ea typeface="+mn-ea"/>
                <a:cs typeface="+mn-cs"/>
              </a:defRPr>
            </a:lvl3pPr>
            <a:lvl4pPr marL="1600200" indent="-216000" algn="l" defTabSz="914400" rtl="0" eaLnBrk="1" latinLnBrk="0" hangingPunct="1">
              <a:lnSpc>
                <a:spcPct val="114000"/>
              </a:lnSpc>
              <a:spcBef>
                <a:spcPts val="400"/>
              </a:spcBef>
              <a:buFont typeface="Arial" panose="020B0604020202020204" pitchFamily="34" charset="0"/>
              <a:buChar char="•"/>
              <a:defRPr sz="1600" kern="1200">
                <a:solidFill>
                  <a:schemeClr val="dk2"/>
                </a:solidFill>
                <a:latin typeface="+mn-lt"/>
                <a:ea typeface="+mn-ea"/>
                <a:cs typeface="+mn-cs"/>
              </a:defRPr>
            </a:lvl4pPr>
            <a:lvl5pPr marL="2057400" indent="-216000" algn="l" defTabSz="914400" rtl="0" eaLnBrk="1" latinLnBrk="0" hangingPunct="1">
              <a:lnSpc>
                <a:spcPct val="114000"/>
              </a:lnSpc>
              <a:spcBef>
                <a:spcPts val="400"/>
              </a:spcBef>
              <a:buFont typeface="Arial" panose="020B0604020202020204" pitchFamily="34" charset="0"/>
              <a:buChar char="•"/>
              <a:defRPr sz="1600" kern="1200">
                <a:solidFill>
                  <a:schemeClr val="dk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Tx/>
              <a:buChar char="-"/>
            </a:pPr>
            <a:r>
              <a:rPr lang="en-GB" sz="1200" dirty="0"/>
              <a:t>4 Motor system (A,B,C,D)</a:t>
            </a:r>
          </a:p>
          <a:p>
            <a:pPr marL="469800" lvl="1" indent="0">
              <a:buNone/>
            </a:pPr>
            <a:r>
              <a:rPr lang="en-GB" sz="1200" dirty="0"/>
              <a:t>«Smart» motors communicating with control box</a:t>
            </a:r>
          </a:p>
          <a:p>
            <a:pPr marL="469800" lvl="1" indent="0">
              <a:buNone/>
            </a:pPr>
            <a:r>
              <a:rPr lang="en-GB" sz="1200" dirty="0"/>
              <a:t>Allowing the Stressless Plus system function with synchronous movement</a:t>
            </a:r>
          </a:p>
          <a:p>
            <a:pPr>
              <a:buFontTx/>
              <a:buChar char="-"/>
            </a:pPr>
            <a:endParaRPr lang="en-GB" sz="1200" dirty="0"/>
          </a:p>
          <a:p>
            <a:pPr>
              <a:buFontTx/>
              <a:buChar char="-"/>
            </a:pPr>
            <a:r>
              <a:rPr lang="en-GB" sz="1200" dirty="0"/>
              <a:t>Control box with Stressless software</a:t>
            </a:r>
          </a:p>
          <a:p>
            <a:pPr>
              <a:buFontTx/>
              <a:buChar char="-"/>
            </a:pPr>
            <a:endParaRPr lang="en-GB" sz="1200" dirty="0"/>
          </a:p>
          <a:p>
            <a:pPr>
              <a:buFontTx/>
              <a:buChar char="-"/>
            </a:pPr>
            <a:r>
              <a:rPr lang="en-GB" sz="1200" dirty="0"/>
              <a:t>Control panel with “two phase” button</a:t>
            </a:r>
          </a:p>
          <a:p>
            <a:pPr>
              <a:buFontTx/>
              <a:buChar char="-"/>
            </a:pPr>
            <a:endParaRPr lang="en-GB" sz="1200" dirty="0"/>
          </a:p>
          <a:p>
            <a:pPr>
              <a:buFontTx/>
              <a:buChar char="-"/>
            </a:pPr>
            <a:r>
              <a:rPr lang="en-GB" sz="1200" dirty="0"/>
              <a:t>Battery pack</a:t>
            </a:r>
          </a:p>
          <a:p>
            <a:pPr>
              <a:buFontTx/>
              <a:buChar char="-"/>
            </a:pPr>
            <a:endParaRPr lang="en-GB" sz="1200" dirty="0"/>
          </a:p>
          <a:p>
            <a:pPr>
              <a:buFontTx/>
              <a:buChar char="-"/>
            </a:pPr>
            <a:r>
              <a:rPr lang="en-GB" sz="1200" dirty="0"/>
              <a:t>Magnetic power supply</a:t>
            </a:r>
          </a:p>
          <a:p>
            <a:pPr>
              <a:buFontTx/>
              <a:buChar char="-"/>
            </a:pPr>
            <a:endParaRPr lang="en-GB" sz="1200" dirty="0"/>
          </a:p>
          <a:p>
            <a:pPr>
              <a:buFontTx/>
              <a:buChar char="-"/>
            </a:pPr>
            <a:endParaRPr lang="en-GB" sz="1200" dirty="0"/>
          </a:p>
          <a:p>
            <a:pPr marL="469800" lvl="1" indent="0">
              <a:buNone/>
            </a:pPr>
            <a:endParaRPr lang="en-GB" sz="1200" dirty="0"/>
          </a:p>
          <a:p>
            <a:pPr marL="469800" lvl="1" indent="0">
              <a:buNone/>
            </a:pPr>
            <a:endParaRPr lang="en-GB" sz="1200" dirty="0"/>
          </a:p>
          <a:p>
            <a:pPr marL="469800" lvl="1" indent="0">
              <a:buNone/>
            </a:pPr>
            <a:endParaRPr lang="en-GB" sz="1200" dirty="0"/>
          </a:p>
          <a:p>
            <a:pPr marL="0" indent="0">
              <a:buFont typeface="Arial" panose="020B0604020202020204" pitchFamily="34" charset="0"/>
              <a:buNone/>
            </a:pPr>
            <a:endParaRPr lang="en-GB" sz="1200" dirty="0"/>
          </a:p>
          <a:p>
            <a:pPr marL="0" indent="0">
              <a:buFont typeface="Arial" panose="020B0604020202020204" pitchFamily="34" charset="0"/>
              <a:buNone/>
            </a:pPr>
            <a:endParaRPr lang="en-GB" sz="1200" i="1" dirty="0">
              <a:solidFill>
                <a:schemeClr val="accent2"/>
              </a:solidFill>
            </a:endParaRPr>
          </a:p>
          <a:p>
            <a:pPr marL="0" indent="0">
              <a:buFont typeface="Arial" panose="020B0604020202020204" pitchFamily="34" charset="0"/>
              <a:buNone/>
            </a:pPr>
            <a:endParaRPr lang="en-GB" sz="1200" dirty="0"/>
          </a:p>
          <a:p>
            <a:pPr marL="0" indent="0">
              <a:buFont typeface="Arial" panose="020B0604020202020204" pitchFamily="34" charset="0"/>
              <a:buNone/>
            </a:pPr>
            <a:endParaRPr lang="en-GB" sz="1000" dirty="0"/>
          </a:p>
          <a:p>
            <a:pPr marL="179705" indent="-179705"/>
            <a:endParaRPr lang="en-GB" sz="1000" dirty="0"/>
          </a:p>
        </p:txBody>
      </p:sp>
      <p:sp>
        <p:nvSpPr>
          <p:cNvPr id="11" name="TekstSylinder 10">
            <a:extLst>
              <a:ext uri="{FF2B5EF4-FFF2-40B4-BE49-F238E27FC236}">
                <a16:creationId xmlns:a16="http://schemas.microsoft.com/office/drawing/2014/main" id="{9D44812F-9F0F-4ED4-B33D-0464E652C33F}"/>
              </a:ext>
            </a:extLst>
          </p:cNvPr>
          <p:cNvSpPr txBox="1"/>
          <p:nvPr/>
        </p:nvSpPr>
        <p:spPr>
          <a:xfrm>
            <a:off x="5127401" y="3663675"/>
            <a:ext cx="296876" cy="300082"/>
          </a:xfrm>
          <a:prstGeom prst="rect">
            <a:avLst/>
          </a:prstGeom>
          <a:noFill/>
        </p:spPr>
        <p:txBody>
          <a:bodyPr wrap="none" rtlCol="0">
            <a:spAutoFit/>
          </a:bodyPr>
          <a:lstStyle/>
          <a:p>
            <a:r>
              <a:rPr lang="nb-NO" dirty="0">
                <a:solidFill>
                  <a:srgbClr val="FF0000"/>
                </a:solidFill>
              </a:rPr>
              <a:t>A</a:t>
            </a:r>
          </a:p>
        </p:txBody>
      </p:sp>
      <p:sp>
        <p:nvSpPr>
          <p:cNvPr id="22" name="TekstSylinder 21">
            <a:extLst>
              <a:ext uri="{FF2B5EF4-FFF2-40B4-BE49-F238E27FC236}">
                <a16:creationId xmlns:a16="http://schemas.microsoft.com/office/drawing/2014/main" id="{9C52E736-90EE-423C-B53A-E593D50D36B6}"/>
              </a:ext>
            </a:extLst>
          </p:cNvPr>
          <p:cNvSpPr txBox="1"/>
          <p:nvPr/>
        </p:nvSpPr>
        <p:spPr>
          <a:xfrm>
            <a:off x="5875636" y="4140539"/>
            <a:ext cx="284052" cy="300082"/>
          </a:xfrm>
          <a:prstGeom prst="rect">
            <a:avLst/>
          </a:prstGeom>
          <a:noFill/>
        </p:spPr>
        <p:txBody>
          <a:bodyPr wrap="none" rtlCol="0">
            <a:spAutoFit/>
          </a:bodyPr>
          <a:lstStyle/>
          <a:p>
            <a:r>
              <a:rPr lang="nb-NO" dirty="0">
                <a:solidFill>
                  <a:srgbClr val="FF0000"/>
                </a:solidFill>
              </a:rPr>
              <a:t>B</a:t>
            </a:r>
          </a:p>
        </p:txBody>
      </p:sp>
      <p:sp>
        <p:nvSpPr>
          <p:cNvPr id="25" name="TekstSylinder 24">
            <a:extLst>
              <a:ext uri="{FF2B5EF4-FFF2-40B4-BE49-F238E27FC236}">
                <a16:creationId xmlns:a16="http://schemas.microsoft.com/office/drawing/2014/main" id="{17859095-FA2B-4687-89D4-A078BFFA4786}"/>
              </a:ext>
            </a:extLst>
          </p:cNvPr>
          <p:cNvSpPr txBox="1"/>
          <p:nvPr/>
        </p:nvSpPr>
        <p:spPr>
          <a:xfrm>
            <a:off x="7205383" y="4257515"/>
            <a:ext cx="292068" cy="300082"/>
          </a:xfrm>
          <a:prstGeom prst="rect">
            <a:avLst/>
          </a:prstGeom>
          <a:noFill/>
        </p:spPr>
        <p:txBody>
          <a:bodyPr wrap="none" rtlCol="0">
            <a:spAutoFit/>
          </a:bodyPr>
          <a:lstStyle/>
          <a:p>
            <a:r>
              <a:rPr lang="nb-NO" dirty="0">
                <a:solidFill>
                  <a:srgbClr val="FF0000"/>
                </a:solidFill>
              </a:rPr>
              <a:t>C</a:t>
            </a:r>
          </a:p>
        </p:txBody>
      </p:sp>
      <p:sp>
        <p:nvSpPr>
          <p:cNvPr id="27" name="TekstSylinder 26">
            <a:extLst>
              <a:ext uri="{FF2B5EF4-FFF2-40B4-BE49-F238E27FC236}">
                <a16:creationId xmlns:a16="http://schemas.microsoft.com/office/drawing/2014/main" id="{24BF5A7E-9526-4965-BABE-CFE0F8B226DB}"/>
              </a:ext>
            </a:extLst>
          </p:cNvPr>
          <p:cNvSpPr txBox="1"/>
          <p:nvPr/>
        </p:nvSpPr>
        <p:spPr>
          <a:xfrm>
            <a:off x="7882826" y="4257515"/>
            <a:ext cx="306494" cy="300082"/>
          </a:xfrm>
          <a:prstGeom prst="rect">
            <a:avLst/>
          </a:prstGeom>
          <a:noFill/>
        </p:spPr>
        <p:txBody>
          <a:bodyPr wrap="none" rtlCol="0">
            <a:spAutoFit/>
          </a:bodyPr>
          <a:lstStyle/>
          <a:p>
            <a:r>
              <a:rPr lang="nb-NO" dirty="0">
                <a:solidFill>
                  <a:srgbClr val="FF0000"/>
                </a:solidFill>
              </a:rPr>
              <a:t>D</a:t>
            </a:r>
          </a:p>
        </p:txBody>
      </p:sp>
    </p:spTree>
    <p:extLst>
      <p:ext uri="{BB962C8B-B14F-4D97-AF65-F5344CB8AC3E}">
        <p14:creationId xmlns:p14="http://schemas.microsoft.com/office/powerpoint/2010/main" val="31766730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955758" y="313767"/>
            <a:ext cx="1535277" cy="374477"/>
          </a:xfrm>
          <a:prstGeom prst="rect">
            <a:avLst/>
          </a:prstGeom>
        </p:spPr>
        <p:txBody>
          <a:bodyPr vert="horz" wrap="square" lIns="0" tIns="6111" rIns="0" bIns="0" rtlCol="0">
            <a:spAutoFit/>
          </a:bodyPr>
          <a:lstStyle/>
          <a:p>
            <a:pPr marL="18330">
              <a:spcBef>
                <a:spcPts val="48"/>
              </a:spcBef>
            </a:pPr>
            <a:r>
              <a:rPr sz="1155" b="1" spc="-79" dirty="0">
                <a:solidFill>
                  <a:srgbClr val="231F20"/>
                </a:solidFill>
                <a:latin typeface="Tahoma"/>
                <a:cs typeface="Tahoma"/>
              </a:rPr>
              <a:t>Assembl</a:t>
            </a:r>
            <a:r>
              <a:rPr sz="1155" b="1" spc="-75" dirty="0">
                <a:solidFill>
                  <a:srgbClr val="231F20"/>
                </a:solidFill>
                <a:latin typeface="Tahoma"/>
                <a:cs typeface="Tahoma"/>
              </a:rPr>
              <a:t>y</a:t>
            </a:r>
            <a:r>
              <a:rPr sz="1155" b="1" spc="-77" dirty="0">
                <a:solidFill>
                  <a:srgbClr val="231F20"/>
                </a:solidFill>
                <a:latin typeface="Tahoma"/>
                <a:cs typeface="Tahoma"/>
              </a:rPr>
              <a:t> </a:t>
            </a:r>
            <a:r>
              <a:rPr sz="1155" b="1" spc="-96" dirty="0">
                <a:solidFill>
                  <a:srgbClr val="231F20"/>
                </a:solidFill>
                <a:latin typeface="Tahoma"/>
                <a:cs typeface="Tahoma"/>
              </a:rPr>
              <a:t>an</a:t>
            </a:r>
            <a:r>
              <a:rPr sz="1155" b="1" spc="-94" dirty="0">
                <a:solidFill>
                  <a:srgbClr val="231F20"/>
                </a:solidFill>
                <a:latin typeface="Tahoma"/>
                <a:cs typeface="Tahoma"/>
              </a:rPr>
              <a:t>d</a:t>
            </a:r>
            <a:r>
              <a:rPr sz="1155" b="1" spc="-53" dirty="0">
                <a:solidFill>
                  <a:srgbClr val="231F20"/>
                </a:solidFill>
                <a:latin typeface="Tahoma"/>
                <a:cs typeface="Tahoma"/>
              </a:rPr>
              <a:t> </a:t>
            </a:r>
            <a:r>
              <a:rPr sz="1155" b="1" spc="-87" dirty="0">
                <a:solidFill>
                  <a:srgbClr val="231F20"/>
                </a:solidFill>
                <a:latin typeface="Tahoma"/>
                <a:cs typeface="Tahoma"/>
              </a:rPr>
              <a:t>use</a:t>
            </a:r>
            <a:endParaRPr sz="1155">
              <a:latin typeface="Tahoma"/>
              <a:cs typeface="Tahoma"/>
            </a:endParaRPr>
          </a:p>
          <a:p>
            <a:pPr marL="18330">
              <a:spcBef>
                <a:spcPts val="58"/>
              </a:spcBef>
            </a:pPr>
            <a:r>
              <a:rPr sz="1155" spc="2" dirty="0">
                <a:solidFill>
                  <a:srgbClr val="E3873E"/>
                </a:solidFill>
                <a:latin typeface="Tahoma"/>
                <a:cs typeface="Tahoma"/>
              </a:rPr>
              <a:t>Stressles</a:t>
            </a:r>
            <a:r>
              <a:rPr sz="1155" dirty="0">
                <a:solidFill>
                  <a:srgbClr val="E3873E"/>
                </a:solidFill>
                <a:latin typeface="Tahoma"/>
                <a:cs typeface="Tahoma"/>
              </a:rPr>
              <a:t>s</a:t>
            </a:r>
            <a:r>
              <a:rPr sz="1010" spc="-133" baseline="31746" dirty="0">
                <a:solidFill>
                  <a:srgbClr val="E3873E"/>
                </a:solidFill>
                <a:latin typeface="Tahoma"/>
                <a:cs typeface="Tahoma"/>
              </a:rPr>
              <a:t>®</a:t>
            </a:r>
            <a:r>
              <a:rPr sz="1010" spc="18" baseline="31746" dirty="0">
                <a:solidFill>
                  <a:srgbClr val="E3873E"/>
                </a:solidFill>
                <a:latin typeface="Tahoma"/>
                <a:cs typeface="Tahoma"/>
              </a:rPr>
              <a:t> </a:t>
            </a:r>
            <a:r>
              <a:rPr sz="1155" spc="77" dirty="0">
                <a:solidFill>
                  <a:srgbClr val="E3873E"/>
                </a:solidFill>
                <a:latin typeface="Tahoma"/>
                <a:cs typeface="Tahoma"/>
              </a:rPr>
              <a:t>Mi</a:t>
            </a:r>
            <a:r>
              <a:rPr sz="1155" spc="41" dirty="0">
                <a:solidFill>
                  <a:srgbClr val="E3873E"/>
                </a:solidFill>
                <a:latin typeface="Tahoma"/>
                <a:cs typeface="Tahoma"/>
              </a:rPr>
              <a:t>k</a:t>
            </a:r>
            <a:r>
              <a:rPr sz="1155" spc="-5" dirty="0">
                <a:solidFill>
                  <a:srgbClr val="E3873E"/>
                </a:solidFill>
                <a:latin typeface="Tahoma"/>
                <a:cs typeface="Tahoma"/>
              </a:rPr>
              <a:t>e</a:t>
            </a:r>
            <a:r>
              <a:rPr sz="1155" spc="-140" dirty="0">
                <a:solidFill>
                  <a:srgbClr val="E3873E"/>
                </a:solidFill>
                <a:latin typeface="Tahoma"/>
                <a:cs typeface="Tahoma"/>
              </a:rPr>
              <a:t> </a:t>
            </a:r>
            <a:r>
              <a:rPr sz="1155" spc="34" dirty="0">
                <a:solidFill>
                  <a:srgbClr val="E3873E"/>
                </a:solidFill>
                <a:latin typeface="Tahoma"/>
                <a:cs typeface="Tahoma"/>
              </a:rPr>
              <a:t>&amp;</a:t>
            </a:r>
            <a:r>
              <a:rPr sz="1155" spc="-140" dirty="0">
                <a:solidFill>
                  <a:srgbClr val="E3873E"/>
                </a:solidFill>
                <a:latin typeface="Tahoma"/>
                <a:cs typeface="Tahoma"/>
              </a:rPr>
              <a:t> </a:t>
            </a:r>
            <a:r>
              <a:rPr sz="1155" spc="53" dirty="0">
                <a:solidFill>
                  <a:srgbClr val="E3873E"/>
                </a:solidFill>
                <a:latin typeface="Tahoma"/>
                <a:cs typeface="Tahoma"/>
              </a:rPr>
              <a:t>Max</a:t>
            </a:r>
            <a:endParaRPr sz="1155">
              <a:latin typeface="Tahoma"/>
              <a:cs typeface="Tahoma"/>
            </a:endParaRPr>
          </a:p>
        </p:txBody>
      </p:sp>
      <p:grpSp>
        <p:nvGrpSpPr>
          <p:cNvPr id="3" name="object 3"/>
          <p:cNvGrpSpPr/>
          <p:nvPr/>
        </p:nvGrpSpPr>
        <p:grpSpPr>
          <a:xfrm>
            <a:off x="5392714" y="219980"/>
            <a:ext cx="779096" cy="428349"/>
            <a:chOff x="5483999" y="457199"/>
            <a:chExt cx="1619250" cy="890269"/>
          </a:xfrm>
        </p:grpSpPr>
        <p:pic>
          <p:nvPicPr>
            <p:cNvPr id="4" name="object 4"/>
            <p:cNvPicPr/>
            <p:nvPr/>
          </p:nvPicPr>
          <p:blipFill>
            <a:blip r:embed="rId2" cstate="print"/>
            <a:stretch>
              <a:fillRect/>
            </a:stretch>
          </p:blipFill>
          <p:spPr>
            <a:xfrm>
              <a:off x="5483999" y="457199"/>
              <a:ext cx="1618792" cy="889965"/>
            </a:xfrm>
            <a:prstGeom prst="rect">
              <a:avLst/>
            </a:prstGeom>
          </p:spPr>
        </p:pic>
        <p:pic>
          <p:nvPicPr>
            <p:cNvPr id="5" name="object 5"/>
            <p:cNvPicPr/>
            <p:nvPr/>
          </p:nvPicPr>
          <p:blipFill>
            <a:blip r:embed="rId3" cstate="print"/>
            <a:stretch>
              <a:fillRect/>
            </a:stretch>
          </p:blipFill>
          <p:spPr>
            <a:xfrm>
              <a:off x="5685265" y="681911"/>
              <a:ext cx="1252223" cy="321443"/>
            </a:xfrm>
            <a:prstGeom prst="rect">
              <a:avLst/>
            </a:prstGeom>
          </p:spPr>
        </p:pic>
      </p:grpSp>
      <p:pic>
        <p:nvPicPr>
          <p:cNvPr id="6" name="object 6"/>
          <p:cNvPicPr/>
          <p:nvPr/>
        </p:nvPicPr>
        <p:blipFill>
          <a:blip r:embed="rId4" cstate="print"/>
          <a:stretch>
            <a:fillRect/>
          </a:stretch>
        </p:blipFill>
        <p:spPr>
          <a:xfrm>
            <a:off x="3142473" y="1021927"/>
            <a:ext cx="2889281" cy="3631639"/>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11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_43cRlFR1qLQ1D3I1IB9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kWt0M7XTraRwXMBbeNs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jtFVsmnTOK1AZY3AeTcO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l_gMaGaQwqfvWBfxYzTr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jg2xsqHRS6cvXO5QMWV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5s8pLyyQNiZ1BzECrMp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oHUYMRcQ2extczB0DRP_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_M9zijZTGqfYSIf4qqbB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2debtSEORyaMcq9zTfBc_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ig9MPqWS2OxEa7VTcJW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sG84GGmSGK6UL1cp1MK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Vh77AppTZWKDUCV_Og.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IvFD3pFRgaFxKnF1LEl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JZWZIoaQyWb4babzpwn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JZWZIoaQyWb4babzpwn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JZWZIoaQyWb4babzpwn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5JZWZIoaQyWb4babzpwn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JZWZIoaQyWb4babzpwn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JZWZIoaQyWb4babzpwn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0O2Kj.HRneJk8pgMsnS8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5l2U0mDSW.tVtwqE1kL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gT_wD9YTNCB9.fL.W4reQ"/>
</p:tagLst>
</file>

<file path=ppt/theme/theme1.xml><?xml version="1.0" encoding="utf-8"?>
<a:theme xmlns:a="http://schemas.openxmlformats.org/drawingml/2006/main" name="Office-tema">
  <a:themeElements>
    <a:clrScheme name="Stressless 2">
      <a:dk1>
        <a:srgbClr val="000000"/>
      </a:dk1>
      <a:lt1>
        <a:srgbClr val="FFFFFF"/>
      </a:lt1>
      <a:dk2>
        <a:srgbClr val="000000"/>
      </a:dk2>
      <a:lt2>
        <a:srgbClr val="FFFFFF"/>
      </a:lt2>
      <a:accent1>
        <a:srgbClr val="CFB686"/>
      </a:accent1>
      <a:accent2>
        <a:srgbClr val="E28633"/>
      </a:accent2>
      <a:accent3>
        <a:srgbClr val="4C4F54"/>
      </a:accent3>
      <a:accent4>
        <a:srgbClr val="A72036"/>
      </a:accent4>
      <a:accent5>
        <a:srgbClr val="A6BBCB"/>
      </a:accent5>
      <a:accent6>
        <a:srgbClr val="A6B248"/>
      </a:accent6>
      <a:hlink>
        <a:srgbClr val="1C25DE"/>
      </a:hlink>
      <a:folHlink>
        <a:srgbClr val="0000DB"/>
      </a:folHlink>
    </a:clrScheme>
    <a:fontScheme name="Lato">
      <a:majorFont>
        <a:latin typeface="Lato Regular"/>
        <a:ea typeface=""/>
        <a:cs typeface=""/>
      </a:majorFont>
      <a:minorFont>
        <a:latin typeface="Lato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st grey">
      <a:srgbClr val="A6BBCB"/>
    </a:custClr>
    <a:custClr name="Dawn yellow">
      <a:srgbClr val="F6C34A"/>
    </a:custClr>
    <a:custClr name="Moss green">
      <a:srgbClr val="A6B344"/>
    </a:custClr>
    <a:custClr name="Autumn red">
      <a:srgbClr val="A72136"/>
    </a:custClr>
    <a:custClr name="Dusk orange">
      <a:srgbClr val="E38633"/>
    </a:custClr>
    <a:custClr name="Grafite grey">
      <a:srgbClr val="4A4F55"/>
    </a:custClr>
    <a:custClr name="Sand beige">
      <a:srgbClr val="D0B786"/>
    </a:custClr>
    <a:custClr name="Night blue">
      <a:srgbClr val="1D3661"/>
    </a:custClr>
  </a:custClrLst>
  <a:extLst>
    <a:ext uri="{05A4C25C-085E-4340-85A3-A5531E510DB2}">
      <thm15:themeFamily xmlns:thm15="http://schemas.microsoft.com/office/thememl/2012/main" name="Stressless_PPT_2019.potx" id="{A9231524-A2AC-41DD-8D21-E2E7D2F787F8}" vid="{FA54BDE0-3965-4568-BDE2-92616F197364}"/>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9452CE5C20A8C429E8DB930A05CBEA1" ma:contentTypeVersion="2" ma:contentTypeDescription="Create a new document." ma:contentTypeScope="" ma:versionID="307b85b22b8a23a9bee8d8b29581275d">
  <xsd:schema xmlns:xsd="http://www.w3.org/2001/XMLSchema" xmlns:xs="http://www.w3.org/2001/XMLSchema" xmlns:p="http://schemas.microsoft.com/office/2006/metadata/properties" xmlns:ns2="63031e4e-ea5e-4874-aa84-cfd00343aa79" targetNamespace="http://schemas.microsoft.com/office/2006/metadata/properties" ma:root="true" ma:fieldsID="cc8d3b2a9054536e4171010a660848e5" ns2:_="">
    <xsd:import namespace="63031e4e-ea5e-4874-aa84-cfd00343aa79"/>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31e4e-ea5e-4874-aa84-cfd00343aa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40365D-5F12-47AC-A339-4DA632FF41EE}">
  <ds:schemaRefs>
    <ds:schemaRef ds:uri="http://purl.org/dc/elements/1.1/"/>
    <ds:schemaRef ds:uri="http://schemas.microsoft.com/office/2006/metadata/properties"/>
    <ds:schemaRef ds:uri="63031e4e-ea5e-4874-aa84-cfd00343aa79"/>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9D6FDECE-0A64-4FD1-AAF5-45691D691AD5}">
  <ds:schemaRefs>
    <ds:schemaRef ds:uri="http://schemas.microsoft.com/sharepoint/v3/contenttype/forms"/>
  </ds:schemaRefs>
</ds:datastoreItem>
</file>

<file path=customXml/itemProps3.xml><?xml version="1.0" encoding="utf-8"?>
<ds:datastoreItem xmlns:ds="http://schemas.openxmlformats.org/officeDocument/2006/customXml" ds:itemID="{74699C63-631A-4A01-94FD-F9C4C4D050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31e4e-ea5e-4874-aa84-cfd00343aa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tressless_PPT_2019</Template>
  <TotalTime>577</TotalTime>
  <Words>1375</Words>
  <Application>Microsoft Macintosh PowerPoint</Application>
  <PresentationFormat>Custom</PresentationFormat>
  <Paragraphs>273</Paragraphs>
  <Slides>29</Slides>
  <Notes>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1" baseType="lpstr">
      <vt:lpstr>Abadi</vt:lpstr>
      <vt:lpstr>Arial</vt:lpstr>
      <vt:lpstr>Calibri</vt:lpstr>
      <vt:lpstr>Calibri Light</vt:lpstr>
      <vt:lpstr>Lato Light</vt:lpstr>
      <vt:lpstr>Lato Regular</vt:lpstr>
      <vt:lpstr>Miriam</vt:lpstr>
      <vt:lpstr>Tahoma</vt:lpstr>
      <vt:lpstr>Times New Roman</vt:lpstr>
      <vt:lpstr>Wingdings</vt:lpstr>
      <vt:lpstr>Office-tema</vt:lpstr>
      <vt:lpstr>think-cell Slide</vt:lpstr>
      <vt:lpstr>STRESSLESS MAX &amp; Mike</vt:lpstr>
      <vt:lpstr>PowerPoint Presentation</vt:lpstr>
      <vt:lpstr>PowerPoint Presentation</vt:lpstr>
      <vt:lpstr>PowerPoint Presentation</vt:lpstr>
      <vt:lpstr>Size story</vt:lpstr>
      <vt:lpstr>Construction</vt:lpstr>
      <vt:lpstr>functionality &amp; control panel</vt:lpstr>
      <vt:lpstr>Electron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boot</vt:lpstr>
      <vt:lpstr>Spare parts</vt:lpstr>
      <vt:lpstr>Spare parts</vt:lpstr>
      <vt:lpstr>Service fil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nne Strand</dc:creator>
  <cp:lastModifiedBy>Mark Fillhouer</cp:lastModifiedBy>
  <cp:revision>13</cp:revision>
  <dcterms:created xsi:type="dcterms:W3CDTF">2019-01-17T12:33:32Z</dcterms:created>
  <dcterms:modified xsi:type="dcterms:W3CDTF">2021-04-12T03:1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452CE5C20A8C429E8DB930A05CBEA1</vt:lpwstr>
  </property>
</Properties>
</file>